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wdp" ContentType="image/vnd.ms-photo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olors1.xml" ContentType="application/vnd.ms-office.chartcolorstyle+xml"/>
  <Override PartName="/ppt/charts/colors2.xml" ContentType="application/vnd.ms-office.chartcolorstyle+xml"/>
  <Override PartName="/ppt/charts/colors3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harts/style3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7"/>
  </p:notesMasterIdLst>
  <p:sldIdLst>
    <p:sldId id="275" r:id="rId3"/>
    <p:sldId id="276" r:id="rId4"/>
    <p:sldId id="277" r:id="rId5"/>
    <p:sldId id="280" r:id="rId6"/>
    <p:sldId id="305" r:id="rId8"/>
    <p:sldId id="306" r:id="rId9"/>
    <p:sldId id="307" r:id="rId10"/>
    <p:sldId id="281" r:id="rId11"/>
    <p:sldId id="285" r:id="rId12"/>
    <p:sldId id="286" r:id="rId13"/>
    <p:sldId id="292" r:id="rId14"/>
    <p:sldId id="291" r:id="rId15"/>
    <p:sldId id="293" r:id="rId16"/>
    <p:sldId id="294" r:id="rId17"/>
    <p:sldId id="295" r:id="rId18"/>
    <p:sldId id="296" r:id="rId19"/>
    <p:sldId id="297" r:id="rId20"/>
    <p:sldId id="298" r:id="rId21"/>
    <p:sldId id="299" r:id="rId22"/>
    <p:sldId id="301" r:id="rId23"/>
    <p:sldId id="283" r:id="rId24"/>
    <p:sldId id="269" r:id="rId25"/>
  </p:sldIdLst>
  <p:sldSz cx="9144000" cy="5143500" type="screen16x9"/>
  <p:notesSz cx="6805295" cy="993902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087" autoAdjust="0"/>
    <p:restoredTop sz="84192" autoAdjust="0"/>
  </p:normalViewPr>
  <p:slideViewPr>
    <p:cSldViewPr>
      <p:cViewPr varScale="1">
        <p:scale>
          <a:sx n="78" d="100"/>
          <a:sy n="78" d="100"/>
        </p:scale>
        <p:origin x="1224" y="48"/>
      </p:cViewPr>
      <p:guideLst>
        <p:guide orient="horz" pos="1706"/>
        <p:guide pos="287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notesMaster" Target="notesMasters/notesMaster1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8" Type="http://schemas.openxmlformats.org/officeDocument/2006/relationships/tableStyles" Target="tableStyles.xml"/><Relationship Id="rId27" Type="http://schemas.openxmlformats.org/officeDocument/2006/relationships/viewProps" Target="viewProps.xml"/><Relationship Id="rId26" Type="http://schemas.openxmlformats.org/officeDocument/2006/relationships/presProps" Target="presProps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Workbook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Workbook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Workbook3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Workbook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package" Target="../embeddings/Workbook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Workbook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0" vertOverflow="ellipsis" vert="horz" wrap="square" anchor="ctr" anchorCtr="1"/>
          <a:lstStyle/>
          <a:p>
            <a:pPr defTabSz="914400">
              <a:defRPr lang="zh-CN" sz="12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sz="1200"/>
              <a:t>厨电工厂 </a:t>
            </a:r>
            <a:r>
              <a:rPr lang="en-US" altLang="zh-CN" sz="1200"/>
              <a:t>-</a:t>
            </a:r>
            <a:r>
              <a:rPr sz="1200"/>
              <a:t>机器人冲压机效率分析 </a:t>
            </a:r>
            <a:r>
              <a:rPr lang="en-US" altLang="zh-CN" sz="1200"/>
              <a:t>-</a:t>
            </a:r>
            <a:r>
              <a:rPr sz="1200"/>
              <a:t>监测</a:t>
            </a:r>
            <a:endParaRPr altLang="en-US" sz="120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 号机器人</c:v>
                </c:pt>
              </c:strCache>
            </c:strRef>
          </c:tx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行程</c:v>
                </c:pt>
                <c:pt idx="1">
                  <c:v>行程</c:v>
                </c:pt>
                <c:pt idx="2">
                  <c:v>行程</c:v>
                </c:pt>
                <c:pt idx="3">
                  <c:v>行程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号冲压机</c:v>
                </c:pt>
              </c:strCache>
            </c:strRef>
          </c:tx>
          <c:spPr>
            <a:solidFill>
              <a:schemeClr val="accent2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行程</c:v>
                </c:pt>
                <c:pt idx="1">
                  <c:v>行程</c:v>
                </c:pt>
                <c:pt idx="2">
                  <c:v>行程</c:v>
                </c:pt>
                <c:pt idx="3">
                  <c:v>行程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号机器人</c:v>
                </c:pt>
              </c:strCache>
            </c:strRef>
          </c:tx>
          <c:spPr>
            <a:solidFill>
              <a:schemeClr val="accent3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行程</c:v>
                </c:pt>
                <c:pt idx="1">
                  <c:v>行程</c:v>
                </c:pt>
                <c:pt idx="2">
                  <c:v>行程</c:v>
                </c:pt>
                <c:pt idx="3">
                  <c:v>行程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5"/>
        <c:overlap val="0"/>
        <c:axId val="698170118"/>
        <c:axId val="968161797"/>
      </c:barChart>
      <c:catAx>
        <c:axId val="698170118"/>
        <c:scaling>
          <c:orientation val="minMax"/>
        </c:scaling>
        <c:delete val="0"/>
        <c:axPos val="l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968161797"/>
        <c:crosses val="autoZero"/>
        <c:auto val="1"/>
        <c:lblAlgn val="ctr"/>
        <c:lblOffset val="100"/>
        <c:noMultiLvlLbl val="0"/>
      </c:catAx>
      <c:valAx>
        <c:axId val="968161797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69817011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0" vertOverflow="ellipsis" vert="horz" wrap="square" anchor="ctr" anchorCtr="1"/>
          <a:lstStyle/>
          <a:p>
            <a:pPr defTabSz="914400">
              <a:defRPr lang="zh-CN"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t>复位时间对比图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759259259259259"/>
          <c:y val="0.00680889695869269"/>
          <c:w val="0.918518518518519"/>
          <c:h val="0.5922378574670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出位</c:v>
                </c:pt>
              </c:strCache>
            </c:strRef>
          </c:tx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转盘 1</c:v>
                </c:pt>
                <c:pt idx="1">
                  <c:v>转盘 2</c:v>
                </c:pt>
                <c:pt idx="2">
                  <c:v>转盘 3</c:v>
                </c:pt>
                <c:pt idx="3">
                  <c:v>转盘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工作</c:v>
                </c:pt>
              </c:strCache>
            </c:strRef>
          </c:tx>
          <c:spPr>
            <a:solidFill>
              <a:schemeClr val="accent2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转盘 1</c:v>
                </c:pt>
                <c:pt idx="1">
                  <c:v>转盘 2</c:v>
                </c:pt>
                <c:pt idx="2">
                  <c:v>转盘 3</c:v>
                </c:pt>
                <c:pt idx="3">
                  <c:v>转盘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复位</c:v>
                </c:pt>
              </c:strCache>
            </c:strRef>
          </c:tx>
          <c:spPr>
            <a:solidFill>
              <a:schemeClr val="accent3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转盘 1</c:v>
                </c:pt>
                <c:pt idx="1">
                  <c:v>转盘 2</c:v>
                </c:pt>
                <c:pt idx="2">
                  <c:v>转盘 3</c:v>
                </c:pt>
                <c:pt idx="3">
                  <c:v>转盘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39411120"/>
        <c:axId val="299969888"/>
      </c:barChart>
      <c:catAx>
        <c:axId val="93941112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99969888"/>
        <c:crosses val="autoZero"/>
        <c:auto val="1"/>
        <c:lblAlgn val="ctr"/>
        <c:lblOffset val="100"/>
        <c:noMultiLvlLbl val="0"/>
      </c:catAx>
      <c:valAx>
        <c:axId val="299969888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9394111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0" vertOverflow="ellipsis" vert="horz" wrap="square" anchor="ctr" anchorCtr="1"/>
          <a:lstStyle/>
          <a:p>
            <a:pPr defTabSz="914400">
              <a:defRPr lang="zh-CN" sz="10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000"/>
              <a:t>CPU</a:t>
            </a:r>
            <a:r>
              <a:rPr altLang="en-US" sz="1000"/>
              <a:t>实时资源</a:t>
            </a:r>
            <a:endParaRPr altLang="en-US" sz="100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使用率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正在使用</c:v>
                </c:pt>
                <c:pt idx="1">
                  <c:v>空闲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2</c:v>
                </c:pt>
                <c:pt idx="1">
                  <c:v>3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0" vertOverflow="ellipsis" vert="horz" wrap="square" anchor="ctr" anchorCtr="1"/>
          <a:lstStyle/>
          <a:p>
            <a:pPr>
              <a:defRPr lang="zh-CN" sz="7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1"/>
        <c:txPr>
          <a:bodyPr rot="0" spcFirstLastPara="0" vertOverflow="ellipsis" vert="horz" wrap="square" anchor="ctr" anchorCtr="1"/>
          <a:lstStyle/>
          <a:p>
            <a:pPr>
              <a:defRPr lang="zh-CN" sz="7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</c:legendEntry>
      <c:layout>
        <c:manualLayout>
          <c:xMode val="edge"/>
          <c:yMode val="edge"/>
          <c:x val="0.719516407599309"/>
          <c:y val="0.454682779456193"/>
          <c:w val="0.239032815198618"/>
          <c:h val="0.32024169184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zh-CN" sz="7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统</c:v>
                </c:pt>
              </c:strCache>
            </c:strRef>
          </c:tx>
          <c:spPr>
            <a:ln w="22225" cap="rnd">
              <a:solidFill>
                <a:schemeClr val="accent1"/>
              </a:solidFill>
            </a:ln>
            <a:effectLst>
              <a:glow rad="139700">
                <a:schemeClr val="accent1">
                  <a:satMod val="175000"/>
                  <a:alpha val="14000"/>
                </a:schemeClr>
              </a:glow>
            </a:effectLst>
          </c:spPr>
          <c:marker>
            <c:symbol val="none"/>
          </c:marker>
          <c:dLbls>
            <c:delete val="1"/>
          </c:dLbls>
          <c:cat>
            <c:numRef>
              <c:f>Sheet1!$A$2:$A$5</c:f>
              <c:numCache>
                <c:formatCode>h:mm</c:formatCode>
                <c:ptCount val="4"/>
                <c:pt idx="0" c:formatCode="h:mm">
                  <c:v>0.395833333333333</c:v>
                </c:pt>
                <c:pt idx="1" c:formatCode="h:mm">
                  <c:v>0.402777777777778</c:v>
                </c:pt>
                <c:pt idx="2" c:formatCode="h:mm">
                  <c:v>0.409722222222222</c:v>
                </c:pt>
                <c:pt idx="3" c:formatCode="h:mm">
                  <c:v>0.416666666666667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用户</c:v>
                </c:pt>
              </c:strCache>
            </c:strRef>
          </c:tx>
          <c:spPr>
            <a:ln w="22225" cap="rnd">
              <a:solidFill>
                <a:schemeClr val="accent2"/>
              </a:solidFill>
            </a:ln>
            <a:effectLst>
              <a:glow rad="139700">
                <a:schemeClr val="accent2">
                  <a:satMod val="175000"/>
                  <a:alpha val="14000"/>
                </a:schemeClr>
              </a:glow>
            </a:effectLst>
          </c:spPr>
          <c:marker>
            <c:symbol val="none"/>
          </c:marker>
          <c:dLbls>
            <c:delete val="1"/>
          </c:dLbls>
          <c:cat>
            <c:numRef>
              <c:f>Sheet1!$A$2:$A$5</c:f>
              <c:numCache>
                <c:formatCode>h:mm</c:formatCode>
                <c:ptCount val="4"/>
                <c:pt idx="0" c:formatCode="h:mm">
                  <c:v>0.395833333333333</c:v>
                </c:pt>
                <c:pt idx="1" c:formatCode="h:mm">
                  <c:v>0.402777777777778</c:v>
                </c:pt>
                <c:pt idx="2" c:formatCode="h:mm">
                  <c:v>0.409722222222222</c:v>
                </c:pt>
                <c:pt idx="3" c:formatCode="h:mm">
                  <c:v>0.416666666666667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仿真</c:v>
                </c:pt>
              </c:strCache>
            </c:strRef>
          </c:tx>
          <c:spPr>
            <a:ln w="22225" cap="rnd">
              <a:solidFill>
                <a:schemeClr val="accent3"/>
              </a:solidFill>
            </a:ln>
            <a:effectLst>
              <a:glow rad="139700">
                <a:schemeClr val="accent3">
                  <a:satMod val="175000"/>
                  <a:alpha val="14000"/>
                </a:schemeClr>
              </a:glow>
            </a:effectLst>
          </c:spPr>
          <c:marker>
            <c:symbol val="none"/>
          </c:marker>
          <c:dLbls>
            <c:delete val="1"/>
          </c:dLbls>
          <c:cat>
            <c:numRef>
              <c:f>Sheet1!$A$2:$A$5</c:f>
              <c:numCache>
                <c:formatCode>h:mm</c:formatCode>
                <c:ptCount val="4"/>
                <c:pt idx="0" c:formatCode="h:mm">
                  <c:v>0.395833333333333</c:v>
                </c:pt>
                <c:pt idx="1" c:formatCode="h:mm">
                  <c:v>0.402777777777778</c:v>
                </c:pt>
                <c:pt idx="2" c:formatCode="h:mm">
                  <c:v>0.409722222222222</c:v>
                </c:pt>
                <c:pt idx="3" c:formatCode="h:mm">
                  <c:v>0.416666666666667</c:v>
                </c:pt>
              </c:numCache>
            </c:num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0"/>
        <c:smooth val="0"/>
        <c:axId val="214457557"/>
        <c:axId val="812553075"/>
      </c:lineChart>
      <c:catAx>
        <c:axId val="214457557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6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812553075"/>
        <c:crosses val="autoZero"/>
        <c:auto val="1"/>
        <c:lblAlgn val="ctr"/>
        <c:lblOffset val="100"/>
        <c:noMultiLvlLbl val="0"/>
      </c:catAx>
      <c:valAx>
        <c:axId val="812553075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6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45755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0"/>
        <c:txPr>
          <a:bodyPr rot="0" spcFirstLastPara="0" vertOverflow="ellipsis" vert="horz" wrap="square" anchor="ctr" anchorCtr="1"/>
          <a:lstStyle/>
          <a:p>
            <a:pPr>
              <a:defRPr lang="zh-CN" sz="6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1"/>
        <c:txPr>
          <a:bodyPr rot="0" spcFirstLastPara="0" vertOverflow="ellipsis" vert="horz" wrap="square" anchor="ctr" anchorCtr="1"/>
          <a:lstStyle/>
          <a:p>
            <a:pPr>
              <a:defRPr lang="zh-CN" sz="6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2"/>
        <c:txPr>
          <a:bodyPr rot="0" spcFirstLastPara="0" vertOverflow="ellipsis" vert="horz" wrap="square" anchor="ctr" anchorCtr="1"/>
          <a:lstStyle/>
          <a:p>
            <a:pPr>
              <a:defRPr lang="zh-CN" sz="6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</c:legendEntry>
      <c:layout/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zh-CN" sz="600" b="0" i="0" u="none" strike="noStrike" kern="1200" baseline="0">
              <a:solidFill>
                <a:schemeClr val="l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solidFill>
      <a:schemeClr val="dk1">
        <a:lumMod val="75000"/>
        <a:lumOff val="25000"/>
      </a:schemeClr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 lang="zh-CN" sz="600"/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0" vertOverflow="ellipsis" vert="horz" wrap="square" anchor="ctr" anchorCtr="1"/>
          <a:lstStyle/>
          <a:p>
            <a:pPr defTabSz="914400">
              <a:defRPr lang="zh-CN" sz="10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altLang="en-US" sz="1000"/>
              <a:t>空间 实时资源</a:t>
            </a:r>
            <a:endParaRPr altLang="en-US" sz="100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使用率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正在使用</c:v>
                </c:pt>
                <c:pt idx="1">
                  <c:v>空闲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2</c:v>
                </c:pt>
                <c:pt idx="1">
                  <c:v>3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0" vertOverflow="ellipsis" vert="horz" wrap="square" anchor="ctr" anchorCtr="1"/>
          <a:lstStyle/>
          <a:p>
            <a:pPr>
              <a:defRPr lang="zh-CN" sz="7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1"/>
        <c:txPr>
          <a:bodyPr rot="0" spcFirstLastPara="0" vertOverflow="ellipsis" vert="horz" wrap="square" anchor="ctr" anchorCtr="1"/>
          <a:lstStyle/>
          <a:p>
            <a:pPr>
              <a:defRPr lang="zh-CN" sz="7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</c:legendEntry>
      <c:layout>
        <c:manualLayout>
          <c:xMode val="edge"/>
          <c:yMode val="edge"/>
          <c:x val="0.719516407599309"/>
          <c:y val="0.454682779456193"/>
          <c:w val="0.239032815198618"/>
          <c:h val="0.32024169184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zh-CN" sz="7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统</c:v>
                </c:pt>
              </c:strCache>
            </c:strRef>
          </c:tx>
          <c:spPr>
            <a:ln w="22225" cap="rnd">
              <a:solidFill>
                <a:schemeClr val="accent1"/>
              </a:solidFill>
            </a:ln>
            <a:effectLst>
              <a:glow rad="139700">
                <a:schemeClr val="accent1">
                  <a:satMod val="175000"/>
                  <a:alpha val="14000"/>
                </a:schemeClr>
              </a:glow>
            </a:effectLst>
          </c:spPr>
          <c:marker>
            <c:symbol val="none"/>
          </c:marker>
          <c:dLbls>
            <c:delete val="1"/>
          </c:dLbls>
          <c:cat>
            <c:numRef>
              <c:f>Sheet1!$A$2:$A$5</c:f>
              <c:numCache>
                <c:formatCode>h:mm</c:formatCode>
                <c:ptCount val="4"/>
                <c:pt idx="0" c:formatCode="h:mm">
                  <c:v>0.395833333333333</c:v>
                </c:pt>
                <c:pt idx="1" c:formatCode="h:mm">
                  <c:v>0.402777777777778</c:v>
                </c:pt>
                <c:pt idx="2" c:formatCode="h:mm">
                  <c:v>0.409722222222222</c:v>
                </c:pt>
                <c:pt idx="3" c:formatCode="h:mm">
                  <c:v>0.416666666666667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用户</c:v>
                </c:pt>
              </c:strCache>
            </c:strRef>
          </c:tx>
          <c:spPr>
            <a:ln w="22225" cap="rnd">
              <a:solidFill>
                <a:schemeClr val="accent2"/>
              </a:solidFill>
            </a:ln>
            <a:effectLst>
              <a:glow rad="139700">
                <a:schemeClr val="accent2">
                  <a:satMod val="175000"/>
                  <a:alpha val="14000"/>
                </a:schemeClr>
              </a:glow>
            </a:effectLst>
          </c:spPr>
          <c:marker>
            <c:symbol val="none"/>
          </c:marker>
          <c:dLbls>
            <c:delete val="1"/>
          </c:dLbls>
          <c:cat>
            <c:numRef>
              <c:f>Sheet1!$A$2:$A$5</c:f>
              <c:numCache>
                <c:formatCode>h:mm</c:formatCode>
                <c:ptCount val="4"/>
                <c:pt idx="0" c:formatCode="h:mm">
                  <c:v>0.395833333333333</c:v>
                </c:pt>
                <c:pt idx="1" c:formatCode="h:mm">
                  <c:v>0.402777777777778</c:v>
                </c:pt>
                <c:pt idx="2" c:formatCode="h:mm">
                  <c:v>0.409722222222222</c:v>
                </c:pt>
                <c:pt idx="3" c:formatCode="h:mm">
                  <c:v>0.416666666666667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</c:v>
                </c:pt>
                <c:pt idx="2">
                  <c:v>1.8</c:v>
                </c:pt>
                <c:pt idx="3">
                  <c:v>1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仿真</c:v>
                </c:pt>
              </c:strCache>
            </c:strRef>
          </c:tx>
          <c:spPr>
            <a:ln w="22225" cap="rnd">
              <a:solidFill>
                <a:schemeClr val="accent3"/>
              </a:solidFill>
            </a:ln>
            <a:effectLst>
              <a:glow rad="139700">
                <a:schemeClr val="accent3">
                  <a:satMod val="175000"/>
                  <a:alpha val="14000"/>
                </a:schemeClr>
              </a:glow>
            </a:effectLst>
          </c:spPr>
          <c:marker>
            <c:symbol val="none"/>
          </c:marker>
          <c:dLbls>
            <c:delete val="1"/>
          </c:dLbls>
          <c:cat>
            <c:numRef>
              <c:f>Sheet1!$A$2:$A$5</c:f>
              <c:numCache>
                <c:formatCode>h:mm</c:formatCode>
                <c:ptCount val="4"/>
                <c:pt idx="0" c:formatCode="h:mm">
                  <c:v>0.395833333333333</c:v>
                </c:pt>
                <c:pt idx="1" c:formatCode="h:mm">
                  <c:v>0.402777777777778</c:v>
                </c:pt>
                <c:pt idx="2" c:formatCode="h:mm">
                  <c:v>0.409722222222222</c:v>
                </c:pt>
                <c:pt idx="3" c:formatCode="h:mm">
                  <c:v>0.416666666666667</c:v>
                </c:pt>
              </c:numCache>
            </c:num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0"/>
        <c:smooth val="0"/>
        <c:axId val="214457557"/>
        <c:axId val="812553075"/>
      </c:lineChart>
      <c:catAx>
        <c:axId val="214457557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6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812553075"/>
        <c:crosses val="autoZero"/>
        <c:auto val="1"/>
        <c:lblAlgn val="ctr"/>
        <c:lblOffset val="100"/>
        <c:noMultiLvlLbl val="0"/>
      </c:catAx>
      <c:valAx>
        <c:axId val="812553075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6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45755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0"/>
        <c:txPr>
          <a:bodyPr rot="0" spcFirstLastPara="0" vertOverflow="ellipsis" vert="horz" wrap="square" anchor="ctr" anchorCtr="1"/>
          <a:lstStyle/>
          <a:p>
            <a:pPr>
              <a:defRPr lang="zh-CN" sz="6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1"/>
        <c:txPr>
          <a:bodyPr rot="0" spcFirstLastPara="0" vertOverflow="ellipsis" vert="horz" wrap="square" anchor="ctr" anchorCtr="1"/>
          <a:lstStyle/>
          <a:p>
            <a:pPr>
              <a:defRPr lang="zh-CN" sz="6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</c:legendEntry>
      <c:legendEntry>
        <c:idx val="2"/>
        <c:txPr>
          <a:bodyPr rot="0" spcFirstLastPara="0" vertOverflow="ellipsis" vert="horz" wrap="square" anchor="ctr" anchorCtr="1"/>
          <a:lstStyle/>
          <a:p>
            <a:pPr>
              <a:defRPr lang="zh-CN" sz="6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</c:legendEntry>
      <c:layout/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zh-CN" sz="600" b="0" i="0" u="none" strike="noStrike" kern="1200" baseline="0">
              <a:solidFill>
                <a:schemeClr val="l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solidFill>
      <a:schemeClr val="dk1">
        <a:lumMod val="75000"/>
        <a:lumOff val="25000"/>
      </a:schemeClr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 lang="zh-CN" sz="600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00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36">
  <cs:axisTitle>
    <cs:lnRef idx="0"/>
    <cs:fillRef idx="0"/>
    <cs:effectRef idx="0"/>
    <cs:fontRef idx="minor">
      <a:schemeClr val="lt1">
        <a:lumMod val="75000"/>
      </a:schemeClr>
    </cs:fontRef>
    <cs:defRPr sz="900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900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>
        <a:lumMod val="75000"/>
      </a:schemeClr>
    </cs:fontRef>
    <cs:defRPr sz="900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2225" cap="rnd">
        <a:solidFill>
          <a:schemeClr val="phClr"/>
        </a:solidFill>
      </a:ln>
      <a:effectLst>
        <a:glow rad="139700">
          <a:schemeClr val="phClr">
            <a:satMod val="175000"/>
            <a:alpha val="1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</a:schemeClr>
            </a:gs>
            <a:gs pos="0">
              <a:schemeClr val="dk1">
                <a:lumMod val="65000"/>
                <a:lumOff val="3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  <a:alpha val="25000"/>
              </a:schemeClr>
            </a:gs>
            <a:gs pos="0">
              <a:schemeClr val="dk1">
                <a:lumMod val="65000"/>
                <a:lumOff val="35000"/>
                <a:alpha val="2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400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36">
  <cs:axisTitle>
    <cs:lnRef idx="0"/>
    <cs:fillRef idx="0"/>
    <cs:effectRef idx="0"/>
    <cs:fontRef idx="minor">
      <a:schemeClr val="lt1">
        <a:lumMod val="75000"/>
      </a:schemeClr>
    </cs:fontRef>
    <cs:defRPr sz="900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900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>
        <a:lumMod val="75000"/>
      </a:schemeClr>
    </cs:fontRef>
    <cs:defRPr sz="900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2225" cap="rnd">
        <a:solidFill>
          <a:schemeClr val="phClr"/>
        </a:solidFill>
      </a:ln>
      <a:effectLst>
        <a:glow rad="139700">
          <a:schemeClr val="phClr">
            <a:satMod val="175000"/>
            <a:alpha val="1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</a:schemeClr>
            </a:gs>
            <a:gs pos="0">
              <a:schemeClr val="dk1">
                <a:lumMod val="65000"/>
                <a:lumOff val="3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  <a:alpha val="25000"/>
              </a:schemeClr>
            </a:gs>
            <a:gs pos="0">
              <a:schemeClr val="dk1">
                <a:lumMod val="65000"/>
                <a:lumOff val="35000"/>
                <a:alpha val="2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400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421DA0-F7A5-49C3-BCAF-ABBB4E3B44D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1463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2AD585-9CBF-41E1-B6E0-ED92E0DD3AB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2AD585-9CBF-41E1-B6E0-ED92E0DD3A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2AD585-9CBF-41E1-B6E0-ED92E0DD3A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2AD585-9CBF-41E1-B6E0-ED92E0DD3A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2AD585-9CBF-41E1-B6E0-ED92E0DD3A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2AD585-9CBF-41E1-B6E0-ED92E0DD3A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2AD585-9CBF-41E1-B6E0-ED92E0DD3A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2AD585-9CBF-41E1-B6E0-ED92E0DD3A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2AD585-9CBF-41E1-B6E0-ED92E0DD3A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2AD585-9CBF-41E1-B6E0-ED92E0DD3A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63449A-1A46-42A6-A60D-14C1D0BF400D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63449A-1A46-42A6-A60D-14C1D0BF400D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2AD585-9CBF-41E1-B6E0-ED92E0DD3A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2AD585-9CBF-41E1-B6E0-ED92E0DD3A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2AD585-9CBF-41E1-B6E0-ED92E0DD3A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2AD585-9CBF-41E1-B6E0-ED92E0DD3A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2AD585-9CBF-41E1-B6E0-ED92E0DD3A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2AD585-9CBF-41E1-B6E0-ED92E0DD3A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屏幕快照 2010-12-08 下午11.10.40.pn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166"/>
          <a:stretch>
            <a:fillRect/>
          </a:stretch>
        </p:blipFill>
        <p:spPr bwMode="auto">
          <a:xfrm>
            <a:off x="0" y="9625"/>
            <a:ext cx="1116531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屏幕快照 2010-12-08 下午11.10.40.pn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166"/>
          <a:stretch>
            <a:fillRect/>
          </a:stretch>
        </p:blipFill>
        <p:spPr bwMode="auto">
          <a:xfrm>
            <a:off x="0" y="9625"/>
            <a:ext cx="1116531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2" y="205978"/>
            <a:ext cx="8230791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noProof="1" smtClean="0"/>
              <a:t>单击此处编辑母版标题样式</a:t>
            </a:r>
            <a:endParaRPr lang="zh-CN" altLang="en-US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2" y="1200152"/>
            <a:ext cx="8230791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noProof="1" smtClean="0"/>
              <a:t>单击此处编辑母版文本样式</a:t>
            </a:r>
            <a:endParaRPr lang="zh-CN" altLang="en-US" noProof="1" smtClean="0"/>
          </a:p>
          <a:p>
            <a:pPr lvl="1"/>
            <a:r>
              <a:rPr lang="zh-CN" altLang="en-US" noProof="1" smtClean="0"/>
              <a:t>第二级</a:t>
            </a:r>
            <a:endParaRPr lang="zh-CN" altLang="en-US" noProof="1" smtClean="0"/>
          </a:p>
          <a:p>
            <a:pPr lvl="2"/>
            <a:r>
              <a:rPr lang="zh-CN" altLang="en-US" noProof="1" smtClean="0"/>
              <a:t>第三级</a:t>
            </a:r>
            <a:endParaRPr lang="zh-CN" altLang="en-US" noProof="1" smtClean="0"/>
          </a:p>
          <a:p>
            <a:pPr lvl="3"/>
            <a:r>
              <a:rPr lang="zh-CN" altLang="en-US" noProof="1" smtClean="0"/>
              <a:t>第四级</a:t>
            </a:r>
            <a:endParaRPr lang="zh-CN" altLang="en-US" noProof="1" smtClean="0"/>
          </a:p>
          <a:p>
            <a:pPr lvl="4"/>
            <a:r>
              <a:rPr lang="zh-CN" altLang="en-US" noProof="1" smtClean="0"/>
              <a:t>第五级</a:t>
            </a:r>
            <a:endParaRPr lang="zh-CN" altLang="en-US" noProof="1"/>
          </a:p>
        </p:txBody>
      </p:sp>
      <p:sp>
        <p:nvSpPr>
          <p:cNvPr id="4" name="日期占位符 1027"/>
          <p:cNvSpPr>
            <a:spLocks noGrp="1"/>
          </p:cNvSpPr>
          <p:nvPr>
            <p:ph type="dt" sz="half" idx="10"/>
          </p:nvPr>
        </p:nvSpPr>
        <p:spPr>
          <a:xfrm>
            <a:off x="457200" y="4683919"/>
            <a:ext cx="2133600" cy="357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1028"/>
          <p:cNvSpPr>
            <a:spLocks noGrp="1"/>
          </p:cNvSpPr>
          <p:nvPr>
            <p:ph type="ftr" sz="quarter" idx="11"/>
          </p:nvPr>
        </p:nvSpPr>
        <p:spPr>
          <a:xfrm>
            <a:off x="3124202" y="4683919"/>
            <a:ext cx="2896791" cy="357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1029"/>
          <p:cNvSpPr>
            <a:spLocks noGrp="1"/>
          </p:cNvSpPr>
          <p:nvPr>
            <p:ph type="sldNum" sz="quarter" idx="12"/>
          </p:nvPr>
        </p:nvSpPr>
        <p:spPr>
          <a:xfrm>
            <a:off x="6554391" y="4683919"/>
            <a:ext cx="2133600" cy="357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31A5B8-F9D2-430E-8823-A3BE39255F09}" type="slidenum">
              <a:rPr lang="zh-CN" altLang="en-US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  <p:pic>
        <p:nvPicPr>
          <p:cNvPr id="7" name="图片 6" descr="屏幕快照 2010-12-08 下午11.10.40.pn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166"/>
          <a:stretch>
            <a:fillRect/>
          </a:stretch>
        </p:blipFill>
        <p:spPr bwMode="auto">
          <a:xfrm>
            <a:off x="0" y="9625"/>
            <a:ext cx="1116531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showMasterSp="0">
  <p:cSld name="空白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53" r="34077" b="34300"/>
          <a:stretch>
            <a:fillRect/>
          </a:stretch>
        </p:blipFill>
        <p:spPr bwMode="auto">
          <a:xfrm>
            <a:off x="1" y="-64293"/>
            <a:ext cx="9272587" cy="5207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KSO_FD"/>
          <p:cNvSpPr>
            <a:spLocks noGrp="1"/>
          </p:cNvSpPr>
          <p:nvPr>
            <p:ph type="dt" sz="half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209CE7-C191-49CB-93DE-563C8614E8C5}" type="datetimeFigureOut">
              <a:rPr lang="zh-CN" altLang="en-US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KSO_FT"/>
          <p:cNvSpPr>
            <a:spLocks noGrp="1"/>
          </p:cNvSpPr>
          <p:nvPr>
            <p:ph type="ftr" sz="quarte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KSO_FN"/>
          <p:cNvSpPr>
            <a:spLocks noGrp="1"/>
          </p:cNvSpPr>
          <p:nvPr>
            <p:ph type="sldNum" sz="quarter" idx="12"/>
          </p:nvPr>
        </p:nvSpPr>
        <p:spPr>
          <a:xfrm>
            <a:off x="6457951" y="4767264"/>
            <a:ext cx="20574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C43DECF-45A5-4EE1-9BD0-997758B71414}" type="slidenum">
              <a:rPr lang="zh-CN" altLang="en-US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F811161F-F185-44CC-B798-64191C271242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C2B2FDC9-85EB-4FF7-BA55-FA397F7598A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</p:spPr>
        <p:txBody>
          <a:bodyPr anchor="ctr" anchorCtr="0"/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</p:spPr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</p:spPr>
        <p:txBody>
          <a:bodyPr/>
          <a:lstStyle/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</p:spPr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image" Target="../media/image3.emf"/><Relationship Id="rId8" Type="http://schemas.openxmlformats.org/officeDocument/2006/relationships/oleObject" Target="../embeddings/oleObject1.bin"/><Relationship Id="rId7" Type="http://schemas.openxmlformats.org/officeDocument/2006/relationships/tags" Target="../tags/tag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vmlDrawing" Target="../drawings/vmlDrawing1.vml"/><Relationship Id="rId10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193" y="1197"/>
          <a:ext cx="1192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8" name="think-cell Slide" r:id="rId8" imgW="12700" imgH="12700" progId="TCLayout.ActiveDocument.1">
                  <p:embed/>
                </p:oleObj>
              </mc:Choice>
              <mc:Fallback>
                <p:oleObj name="think-cell Slide" r:id="rId8" imgW="12700" imgH="12700" progId="TCLayout.ActiveDocument.1">
                  <p:embed/>
                  <p:pic>
                    <p:nvPicPr>
                      <p:cNvPr id="0" name="图片 19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197"/>
                        <a:ext cx="1192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图片 3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1188" y="57249"/>
            <a:ext cx="910651" cy="280571"/>
          </a:xfrm>
          <a:prstGeom prst="rect">
            <a:avLst/>
          </a:prstGeom>
        </p:spPr>
      </p:pic>
      <p:sp>
        <p:nvSpPr>
          <p:cNvPr id="5" name="Freeform 12"/>
          <p:cNvSpPr/>
          <p:nvPr userDrawn="1"/>
        </p:nvSpPr>
        <p:spPr>
          <a:xfrm>
            <a:off x="10" y="437381"/>
            <a:ext cx="9036000" cy="72000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-1" fmla="*/ 0 w 9457509"/>
              <a:gd name="connsiteY0-2" fmla="*/ 0 h 196306"/>
              <a:gd name="connsiteX1-3" fmla="*/ 9457509 w 9457509"/>
              <a:gd name="connsiteY1-4" fmla="*/ 39189 h 196306"/>
              <a:gd name="connsiteX2-5" fmla="*/ 9297557 w 9457509"/>
              <a:gd name="connsiteY2-6" fmla="*/ 196306 h 196306"/>
              <a:gd name="connsiteX3-7" fmla="*/ 0 w 9457509"/>
              <a:gd name="connsiteY3-8" fmla="*/ 195943 h 196306"/>
              <a:gd name="connsiteX0-9" fmla="*/ 13063 w 9457509"/>
              <a:gd name="connsiteY0-10" fmla="*/ 4716 h 157117"/>
              <a:gd name="connsiteX1-11" fmla="*/ 9457509 w 9457509"/>
              <a:gd name="connsiteY1-12" fmla="*/ 0 h 157117"/>
              <a:gd name="connsiteX2-13" fmla="*/ 9297557 w 9457509"/>
              <a:gd name="connsiteY2-14" fmla="*/ 157117 h 157117"/>
              <a:gd name="connsiteX3-15" fmla="*/ 0 w 9457509"/>
              <a:gd name="connsiteY3-16" fmla="*/ 156754 h 157117"/>
              <a:gd name="connsiteX0-17" fmla="*/ 13063 w 9449163"/>
              <a:gd name="connsiteY0-18" fmla="*/ 0 h 152401"/>
              <a:gd name="connsiteX1-19" fmla="*/ 9449163 w 9449163"/>
              <a:gd name="connsiteY1-20" fmla="*/ 0 h 152401"/>
              <a:gd name="connsiteX2-21" fmla="*/ 9297557 w 9449163"/>
              <a:gd name="connsiteY2-22" fmla="*/ 152401 h 152401"/>
              <a:gd name="connsiteX3-23" fmla="*/ 0 w 9449163"/>
              <a:gd name="connsiteY3-24" fmla="*/ 152038 h 152401"/>
              <a:gd name="connsiteX0-25" fmla="*/ 13063 w 9449163"/>
              <a:gd name="connsiteY0-26" fmla="*/ 0 h 152400"/>
              <a:gd name="connsiteX1-27" fmla="*/ 9449163 w 9449163"/>
              <a:gd name="connsiteY1-28" fmla="*/ 0 h 152400"/>
              <a:gd name="connsiteX2-29" fmla="*/ 9372963 w 9449163"/>
              <a:gd name="connsiteY2-30" fmla="*/ 152400 h 152400"/>
              <a:gd name="connsiteX3-31" fmla="*/ 0 w 9449163"/>
              <a:gd name="connsiteY3-32" fmla="*/ 152038 h 152400"/>
              <a:gd name="connsiteX0-33" fmla="*/ 13063 w 9449163"/>
              <a:gd name="connsiteY0-34" fmla="*/ 0 h 152400"/>
              <a:gd name="connsiteX1-35" fmla="*/ 9449163 w 9449163"/>
              <a:gd name="connsiteY1-36" fmla="*/ 0 h 152400"/>
              <a:gd name="connsiteX2-37" fmla="*/ 9415032 w 9449163"/>
              <a:gd name="connsiteY2-38" fmla="*/ 152400 h 152400"/>
              <a:gd name="connsiteX3-39" fmla="*/ 0 w 9449163"/>
              <a:gd name="connsiteY3-40" fmla="*/ 152038 h 152400"/>
              <a:gd name="connsiteX0-41" fmla="*/ 12269 w 9449163"/>
              <a:gd name="connsiteY0-42" fmla="*/ 0 h 152400"/>
              <a:gd name="connsiteX1-43" fmla="*/ 9449163 w 9449163"/>
              <a:gd name="connsiteY1-44" fmla="*/ 0 h 152400"/>
              <a:gd name="connsiteX2-45" fmla="*/ 9415032 w 9449163"/>
              <a:gd name="connsiteY2-46" fmla="*/ 152400 h 152400"/>
              <a:gd name="connsiteX3-47" fmla="*/ 0 w 9449163"/>
              <a:gd name="connsiteY3-48" fmla="*/ 152038 h 152400"/>
              <a:gd name="connsiteX0-49" fmla="*/ 0 w 9436894"/>
              <a:gd name="connsiteY0-50" fmla="*/ 0 h 152400"/>
              <a:gd name="connsiteX1-51" fmla="*/ 9436894 w 9436894"/>
              <a:gd name="connsiteY1-52" fmla="*/ 0 h 152400"/>
              <a:gd name="connsiteX2-53" fmla="*/ 9402763 w 9436894"/>
              <a:gd name="connsiteY2-54" fmla="*/ 152400 h 152400"/>
              <a:gd name="connsiteX3-55" fmla="*/ 0 w 9436894"/>
              <a:gd name="connsiteY3-56" fmla="*/ 152038 h 1524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91415" tIns="45708" rIns="91415" bIns="45708" rtlCol="0" anchor="ctr"/>
          <a:lstStyle/>
          <a:p>
            <a:pPr algn="ctr" defTabSz="1307465">
              <a:defRPr/>
            </a:pPr>
            <a:endParaRPr lang="fr-FR" sz="2400" kern="0">
              <a:solidFill>
                <a:prstClr val="black"/>
              </a:solidFill>
              <a:latin typeface="Verdana" panose="020B0604030504040204"/>
              <a:ea typeface="华文细黑" panose="02010600040101010101" charset="-122"/>
            </a:endParaRPr>
          </a:p>
        </p:txBody>
      </p:sp>
      <p:sp>
        <p:nvSpPr>
          <p:cNvPr id="6" name="Freeform 9"/>
          <p:cNvSpPr/>
          <p:nvPr userDrawn="1"/>
        </p:nvSpPr>
        <p:spPr bwMode="auto">
          <a:xfrm>
            <a:off x="8698713" y="4807993"/>
            <a:ext cx="441721" cy="335507"/>
          </a:xfrm>
          <a:custGeom>
            <a:avLst/>
            <a:gdLst>
              <a:gd name="T0" fmla="*/ 397 w 524"/>
              <a:gd name="T1" fmla="*/ 0 h 398"/>
              <a:gd name="T2" fmla="*/ 0 w 524"/>
              <a:gd name="T3" fmla="*/ 398 h 398"/>
              <a:gd name="T4" fmla="*/ 524 w 524"/>
              <a:gd name="T5" fmla="*/ 398 h 398"/>
              <a:gd name="T6" fmla="*/ 524 w 524"/>
              <a:gd name="T7" fmla="*/ 130 h 398"/>
              <a:gd name="T8" fmla="*/ 397 w 524"/>
              <a:gd name="T9" fmla="*/ 0 h 3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4" h="398">
                <a:moveTo>
                  <a:pt x="397" y="0"/>
                </a:moveTo>
                <a:lnTo>
                  <a:pt x="0" y="398"/>
                </a:lnTo>
                <a:lnTo>
                  <a:pt x="524" y="398"/>
                </a:lnTo>
                <a:lnTo>
                  <a:pt x="524" y="130"/>
                </a:lnTo>
                <a:lnTo>
                  <a:pt x="397" y="0"/>
                </a:lnTo>
                <a:close/>
              </a:path>
            </a:pathLst>
          </a:custGeom>
          <a:solidFill>
            <a:srgbClr val="015AA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15" tIns="45708" rIns="91415" bIns="45708" numCol="1" anchor="t" anchorCtr="0" compatLnSpc="1"/>
          <a:lstStyle/>
          <a:p>
            <a:pPr defTabSz="913765"/>
            <a:endParaRPr lang="en-US" sz="1200" dirty="0">
              <a:solidFill>
                <a:prstClr val="black"/>
              </a:solidFill>
              <a:latin typeface="Arial Narrow" panose="020B0606020202030204" pitchFamily="34" charset="0"/>
              <a:ea typeface="华文细黑" panose="02010600040101010101" charset="-122"/>
            </a:endParaRPr>
          </a:p>
        </p:txBody>
      </p:sp>
      <p:sp>
        <p:nvSpPr>
          <p:cNvPr id="7" name="SlideNumber"/>
          <p:cNvSpPr/>
          <p:nvPr userDrawn="1"/>
        </p:nvSpPr>
        <p:spPr>
          <a:xfrm>
            <a:off x="8848611" y="4994866"/>
            <a:ext cx="255578" cy="68580"/>
          </a:xfrm>
          <a:prstGeom prst="roundRect">
            <a:avLst/>
          </a:prstGeom>
          <a:noFill/>
          <a:ln w="19050" cap="flat" cmpd="sng" algn="ctr">
            <a:noFill/>
            <a:prstDash val="solid"/>
          </a:ln>
          <a:effectLst/>
        </p:spPr>
        <p:txBody>
          <a:bodyPr wrap="none" lIns="0" tIns="0" rIns="0" bIns="0" rtlCol="0" anchor="ctr" anchorCtr="0"/>
          <a:lstStyle/>
          <a:p>
            <a:pPr algn="r" defTabSz="913765">
              <a:defRPr/>
            </a:pPr>
            <a:fld id="{BB69BBE8-4DB2-4642-B003-B220ACD5A2FD}" type="slidenum">
              <a:rPr lang="en-US" sz="1200" b="1" kern="0">
                <a:solidFill>
                  <a:srgbClr val="FFFFFF"/>
                </a:solidFill>
                <a:latin typeface="Arial Narrow" panose="020B0606020202030204" pitchFamily="34" charset="0"/>
                <a:ea typeface="华文细黑" panose="02010600040101010101" charset="-122"/>
              </a:rPr>
            </a:fld>
            <a:endParaRPr lang="fr-FR" sz="1200" b="1" kern="0" dirty="0">
              <a:solidFill>
                <a:srgbClr val="FFFFFF"/>
              </a:solidFill>
              <a:latin typeface="Arial Narrow" panose="020B0606020202030204" pitchFamily="34" charset="0"/>
              <a:ea typeface="华文细黑" panose="02010600040101010101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5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5pPr>
      <a:lvl6pPr marL="470535" algn="ctr" rtl="0" fontAlgn="base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6pPr>
      <a:lvl7pPr marL="941070" algn="ctr" rtl="0" fontAlgn="base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7pPr>
      <a:lvl8pPr marL="1411605" algn="ctr" rtl="0" fontAlgn="base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8pPr>
      <a:lvl9pPr marL="1882140" algn="ctr" rtl="0" fontAlgn="base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9pPr>
    </p:titleStyle>
    <p:bodyStyle>
      <a:lvl1pPr marL="353060" indent="-35306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764540" indent="-29400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176655" indent="-23558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647190" indent="-23558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17725" indent="-23558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88260" indent="-235585" algn="l" defTabSz="9410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058795" indent="-235585" algn="l" defTabSz="9410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29330" indent="-235585" algn="l" defTabSz="9410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3999865" indent="-235585" algn="l" defTabSz="9410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4107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0535" algn="l" defTabSz="94107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41070" algn="l" defTabSz="94107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11605" algn="l" defTabSz="94107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82140" algn="l" defTabSz="94107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52675" algn="l" defTabSz="94107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23210" algn="l" defTabSz="94107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93745" algn="l" defTabSz="94107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64280" algn="l" defTabSz="94107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12.png"/><Relationship Id="rId2" Type="http://schemas.openxmlformats.org/officeDocument/2006/relationships/image" Target="../media/image23.png"/><Relationship Id="rId1" Type="http://schemas.openxmlformats.org/officeDocument/2006/relationships/chart" Target="../charts/chart1.xml"/></Relationships>
</file>

<file path=ppt/slides/_rels/slide1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7.xml"/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24.png"/><Relationship Id="rId1" Type="http://schemas.openxmlformats.org/officeDocument/2006/relationships/chart" Target="../charts/chart2.xml"/></Relationships>
</file>

<file path=ppt/slides/_rels/slide12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5.xml"/><Relationship Id="rId3" Type="http://schemas.microsoft.com/office/2007/relationships/hdphoto" Target="../media/hdphoto1.wdp"/><Relationship Id="rId2" Type="http://schemas.openxmlformats.org/officeDocument/2006/relationships/image" Target="../media/image15.png"/><Relationship Id="rId1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5.xml"/><Relationship Id="rId4" Type="http://schemas.openxmlformats.org/officeDocument/2006/relationships/image" Target="../media/image28.png"/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0.xml"/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30.png"/><Relationship Id="rId1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2.xml"/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14.png"/><Relationship Id="rId1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5.xml"/><Relationship Id="rId4" Type="http://schemas.openxmlformats.org/officeDocument/2006/relationships/chart" Target="../charts/chart6.xml"/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chart" Target="../charts/char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32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slideLayout" Target="../slideLayouts/slideLayout5.xml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image" Target="../media/image5.emf"/></Relationships>
</file>

<file path=ppt/slides/_rels/slide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image" Target="../media/image7.png"/><Relationship Id="rId7" Type="http://schemas.openxmlformats.org/officeDocument/2006/relationships/image" Target="../media/image6.png"/><Relationship Id="rId6" Type="http://schemas.openxmlformats.org/officeDocument/2006/relationships/image" Target="../media/image8.png"/><Relationship Id="rId5" Type="http://schemas.microsoft.com/office/2007/relationships/hdphoto" Target="../media/hdphoto1.wdp"/><Relationship Id="rId4" Type="http://schemas.openxmlformats.org/officeDocument/2006/relationships/image" Target="../media/image15.png"/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0" Type="http://schemas.openxmlformats.org/officeDocument/2006/relationships/notesSlide" Target="../notesSlides/notesSlide2.xml"/><Relationship Id="rId1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image" Target="../media/image12.png"/><Relationship Id="rId7" Type="http://schemas.openxmlformats.org/officeDocument/2006/relationships/image" Target="../media/image16.png"/><Relationship Id="rId6" Type="http://schemas.openxmlformats.org/officeDocument/2006/relationships/image" Target="../media/image8.png"/><Relationship Id="rId5" Type="http://schemas.microsoft.com/office/2007/relationships/hdphoto" Target="../media/hdphoto1.wdp"/><Relationship Id="rId4" Type="http://schemas.openxmlformats.org/officeDocument/2006/relationships/image" Target="../media/image15.png"/><Relationship Id="rId3" Type="http://schemas.openxmlformats.org/officeDocument/2006/relationships/image" Target="../media/image14.png"/><Relationship Id="rId2" Type="http://schemas.openxmlformats.org/officeDocument/2006/relationships/image" Target="../media/image7.png"/><Relationship Id="rId10" Type="http://schemas.openxmlformats.org/officeDocument/2006/relationships/notesSlide" Target="../notesSlides/notesSlide3.xml"/><Relationship Id="rId1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4.xml"/><Relationship Id="rId6" Type="http://schemas.openxmlformats.org/officeDocument/2006/relationships/slideLayout" Target="../slideLayouts/slideLayout5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39552" y="1131590"/>
            <a:ext cx="7776864" cy="1944216"/>
          </a:xfrm>
          <a:prstGeom prst="rect">
            <a:avLst/>
          </a:prstGeom>
          <a:noFill/>
        </p:spPr>
        <p:txBody>
          <a:bodyPr wrap="square" rtlCol="0" anchor="ctr" anchorCtr="1">
            <a:noAutofit/>
          </a:bodyPr>
          <a:lstStyle/>
          <a:p>
            <a:pPr algn="r"/>
            <a:r>
              <a:rPr lang="en-US" altLang="zh-CN" sz="40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40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门户系统需求</a:t>
            </a:r>
            <a:endParaRPr lang="zh-CN" altLang="en-US" sz="40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r"/>
            <a:r>
              <a:rPr lang="zh-CN" altLang="en-US" sz="40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架构</a:t>
            </a:r>
            <a:r>
              <a:rPr lang="en-US" altLang="zh-CN" sz="40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I</a:t>
            </a:r>
            <a:r>
              <a:rPr lang="zh-CN" altLang="en-US" sz="40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草稿）</a:t>
            </a:r>
            <a:endParaRPr lang="zh-CN" altLang="en-US" sz="40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76056" y="3507854"/>
            <a:ext cx="3672408" cy="1152128"/>
          </a:xfrm>
          <a:prstGeom prst="rect">
            <a:avLst/>
          </a:prstGeom>
          <a:noFill/>
        </p:spPr>
        <p:txBody>
          <a:bodyPr wrap="square" rtlCol="0" anchor="ctr" anchorCtr="1">
            <a:noAutofit/>
          </a:bodyPr>
          <a:lstStyle/>
          <a:p>
            <a:pPr algn="ctr"/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工厂</a:t>
            </a: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 </a:t>
            </a:r>
            <a:r>
              <a:rPr lang="zh-CN" altLang="en-US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马骏</a:t>
            </a:r>
            <a:endParaRPr lang="en-US" altLang="zh-CN" sz="16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2018.06.22</a:t>
            </a:r>
            <a:endParaRPr lang="zh-CN" altLang="en-US" sz="16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图表 27"/>
          <p:cNvGraphicFramePr/>
          <p:nvPr/>
        </p:nvGraphicFramePr>
        <p:xfrm>
          <a:off x="2767330" y="2473325"/>
          <a:ext cx="5657850" cy="17100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6" name="标题 7"/>
          <p:cNvSpPr txBox="1"/>
          <p:nvPr/>
        </p:nvSpPr>
        <p:spPr>
          <a:xfrm>
            <a:off x="1793" y="62359"/>
            <a:ext cx="9109101" cy="349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58011" bIns="0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47053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94107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141160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188214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l" defTabSz="796925"/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普通开发者</a:t>
            </a:r>
            <a:endParaRPr lang="zh-CN" altLang="en-US" sz="2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 flipV="1">
            <a:off x="481965" y="63309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/>
          <p:cNvSpPr/>
          <p:nvPr/>
        </p:nvSpPr>
        <p:spPr>
          <a:xfrm>
            <a:off x="249555" y="633095"/>
            <a:ext cx="2085340" cy="427799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4" name="矩形 23"/>
          <p:cNvSpPr/>
          <p:nvPr/>
        </p:nvSpPr>
        <p:spPr>
          <a:xfrm>
            <a:off x="241300" y="122872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平台模型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241300" y="817245"/>
            <a:ext cx="2049780" cy="2921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开发模板导入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240665" y="1645920"/>
            <a:ext cx="2049780" cy="2921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我的设备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cxnSp>
        <p:nvCxnSpPr>
          <p:cNvPr id="2" name="直接连接符 1"/>
          <p:cNvCxnSpPr/>
          <p:nvPr/>
        </p:nvCxnSpPr>
        <p:spPr>
          <a:xfrm flipV="1">
            <a:off x="688340" y="491045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圆角矩形 3"/>
          <p:cNvSpPr/>
          <p:nvPr/>
        </p:nvSpPr>
        <p:spPr>
          <a:xfrm>
            <a:off x="2386330" y="633730"/>
            <a:ext cx="6395085" cy="360045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2456815" y="676275"/>
            <a:ext cx="638175" cy="27495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具栏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六边形 6"/>
          <p:cNvSpPr/>
          <p:nvPr/>
        </p:nvSpPr>
        <p:spPr>
          <a:xfrm>
            <a:off x="3094990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模型属性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8" name="六边形 7"/>
          <p:cNvSpPr/>
          <p:nvPr/>
        </p:nvSpPr>
        <p:spPr>
          <a:xfrm>
            <a:off x="3993515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图像库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9" name="六边形 8"/>
          <p:cNvSpPr/>
          <p:nvPr/>
        </p:nvSpPr>
        <p:spPr>
          <a:xfrm>
            <a:off x="4881880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列表组件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11" name="六边形 10"/>
          <p:cNvSpPr/>
          <p:nvPr/>
        </p:nvSpPr>
        <p:spPr>
          <a:xfrm>
            <a:off x="5790565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图像组件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12" name="六边形 11"/>
          <p:cNvSpPr/>
          <p:nvPr/>
        </p:nvSpPr>
        <p:spPr>
          <a:xfrm>
            <a:off x="6688455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监测点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13" name="六边形 12"/>
          <p:cNvSpPr/>
          <p:nvPr/>
        </p:nvSpPr>
        <p:spPr>
          <a:xfrm>
            <a:off x="7592695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。。。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2334895" y="4551045"/>
            <a:ext cx="6395085" cy="360045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2385060" y="4593590"/>
            <a:ext cx="638175" cy="27495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对象类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2980055" y="4580255"/>
            <a:ext cx="7620" cy="2952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圆角矩形 16"/>
          <p:cNvSpPr/>
          <p:nvPr/>
        </p:nvSpPr>
        <p:spPr>
          <a:xfrm>
            <a:off x="285115" y="2063115"/>
            <a:ext cx="1879600" cy="253047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grpSp>
        <p:nvGrpSpPr>
          <p:cNvPr id="41" name="组合 40"/>
          <p:cNvGrpSpPr/>
          <p:nvPr/>
        </p:nvGrpSpPr>
        <p:grpSpPr>
          <a:xfrm>
            <a:off x="537210" y="2226310"/>
            <a:ext cx="1456690" cy="1239520"/>
            <a:chOff x="847" y="3389"/>
            <a:chExt cx="2294" cy="1952"/>
          </a:xfrm>
        </p:grpSpPr>
        <p:sp>
          <p:nvSpPr>
            <p:cNvPr id="18" name="文本框 17"/>
            <p:cNvSpPr txBox="1"/>
            <p:nvPr/>
          </p:nvSpPr>
          <p:spPr>
            <a:xfrm>
              <a:off x="847" y="3389"/>
              <a:ext cx="2295" cy="1952"/>
            </a:xfrm>
            <a:prstGeom prst="rect">
              <a:avLst/>
            </a:prstGeom>
            <a:noFill/>
          </p:spPr>
          <p:txBody>
            <a:bodyPr wrap="none" rtlCol="0" anchor="ctr" anchorCtr="1">
              <a:noAutofit/>
            </a:bodyPr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我的设备</a:t>
              </a: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   胶州工厂</a:t>
              </a: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    黄岛厨电</a:t>
              </a: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          </a:t>
              </a:r>
              <a:r>
                <a:rPr lang="en-US" altLang="zh-CN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号机器人</a:t>
              </a: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26" name="直接连接符 25"/>
            <p:cNvCxnSpPr/>
            <p:nvPr/>
          </p:nvCxnSpPr>
          <p:spPr>
            <a:xfrm flipH="1">
              <a:off x="1406" y="3912"/>
              <a:ext cx="1" cy="65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/>
            <p:cNvCxnSpPr/>
            <p:nvPr/>
          </p:nvCxnSpPr>
          <p:spPr>
            <a:xfrm>
              <a:off x="1406" y="4109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直接连接符 36"/>
            <p:cNvCxnSpPr/>
            <p:nvPr/>
          </p:nvCxnSpPr>
          <p:spPr>
            <a:xfrm flipH="1">
              <a:off x="1743" y="4690"/>
              <a:ext cx="1" cy="65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接连接符 37"/>
            <p:cNvCxnSpPr/>
            <p:nvPr/>
          </p:nvCxnSpPr>
          <p:spPr>
            <a:xfrm>
              <a:off x="1744" y="5016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直接连接符 38"/>
            <p:cNvCxnSpPr/>
            <p:nvPr/>
          </p:nvCxnSpPr>
          <p:spPr>
            <a:xfrm>
              <a:off x="1744" y="5341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连接符 39"/>
            <p:cNvCxnSpPr/>
            <p:nvPr/>
          </p:nvCxnSpPr>
          <p:spPr>
            <a:xfrm>
              <a:off x="1406" y="4563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剪去同侧角的矩形 41"/>
          <p:cNvSpPr/>
          <p:nvPr/>
        </p:nvSpPr>
        <p:spPr>
          <a:xfrm>
            <a:off x="3257550" y="4519930"/>
            <a:ext cx="669925" cy="340995"/>
          </a:xfrm>
          <a:prstGeom prst="snip2Same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tx1"/>
                </a:solidFill>
              </a:rPr>
              <a:t>1</a:t>
            </a:r>
            <a:r>
              <a:rPr lang="zh-CN" altLang="en-US" sz="900">
                <a:solidFill>
                  <a:schemeClr val="tx1"/>
                </a:solidFill>
              </a:rPr>
              <a:t>号机器人模型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285115" y="4583430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我的产线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46" name="剪去同侧角的矩形 45"/>
          <p:cNvSpPr/>
          <p:nvPr/>
        </p:nvSpPr>
        <p:spPr>
          <a:xfrm>
            <a:off x="5469255" y="4527550"/>
            <a:ext cx="778510" cy="340995"/>
          </a:xfrm>
          <a:prstGeom prst="snip2Same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tx1"/>
                </a:solidFill>
              </a:rPr>
              <a:t>2</a:t>
            </a:r>
            <a:r>
              <a:rPr lang="zh-CN" altLang="en-US" sz="900">
                <a:solidFill>
                  <a:schemeClr val="tx1"/>
                </a:solidFill>
              </a:rPr>
              <a:t>号机器人模型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49" name="椭圆形标注 48"/>
          <p:cNvSpPr/>
          <p:nvPr/>
        </p:nvSpPr>
        <p:spPr>
          <a:xfrm>
            <a:off x="4241165" y="3841115"/>
            <a:ext cx="914400" cy="611505"/>
          </a:xfrm>
          <a:prstGeom prst="wedgeEllipseCallout">
            <a:avLst>
              <a:gd name="adj1" fmla="val -86666"/>
              <a:gd name="adj2" fmla="val 60903"/>
            </a:avLst>
          </a:prstGeom>
          <a:noFill/>
          <a:ln w="28575" cmpd="thickThin">
            <a:solidFill>
              <a:schemeClr val="accent1">
                <a:shade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厨电工厂</a:t>
            </a:r>
            <a:r>
              <a:rPr lang="en-US" altLang="zh-CN" sz="900">
                <a:solidFill>
                  <a:schemeClr val="tx1"/>
                </a:solidFill>
              </a:rPr>
              <a:t>1</a:t>
            </a:r>
            <a:r>
              <a:rPr lang="zh-CN" altLang="en-US" sz="900">
                <a:solidFill>
                  <a:schemeClr val="tx1"/>
                </a:solidFill>
              </a:rPr>
              <a:t>号机器人设备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50" name="椭圆形标注 49"/>
          <p:cNvSpPr/>
          <p:nvPr/>
        </p:nvSpPr>
        <p:spPr>
          <a:xfrm>
            <a:off x="6606540" y="3821430"/>
            <a:ext cx="914400" cy="611505"/>
          </a:xfrm>
          <a:prstGeom prst="wedgeEllipseCallout">
            <a:avLst>
              <a:gd name="adj1" fmla="val -86666"/>
              <a:gd name="adj2" fmla="val 60903"/>
            </a:avLst>
          </a:prstGeom>
          <a:noFill/>
          <a:ln w="28575" cmpd="thickThin">
            <a:solidFill>
              <a:schemeClr val="accent1">
                <a:shade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厨电工厂</a:t>
            </a:r>
            <a:r>
              <a:rPr lang="en-US" altLang="zh-CN" sz="900">
                <a:solidFill>
                  <a:schemeClr val="tx1"/>
                </a:solidFill>
              </a:rPr>
              <a:t>2</a:t>
            </a:r>
            <a:r>
              <a:rPr lang="zh-CN" altLang="en-US" sz="900">
                <a:solidFill>
                  <a:schemeClr val="tx1"/>
                </a:solidFill>
              </a:rPr>
              <a:t>号</a:t>
            </a:r>
            <a:r>
              <a:rPr lang="en-US" altLang="zh-CN" sz="900">
                <a:solidFill>
                  <a:schemeClr val="tx1"/>
                </a:solidFill>
              </a:rPr>
              <a:t>ABB</a:t>
            </a:r>
            <a:r>
              <a:rPr lang="zh-CN" altLang="en-US" sz="900">
                <a:solidFill>
                  <a:schemeClr val="tx1"/>
                </a:solidFill>
              </a:rPr>
              <a:t>机器人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311910" y="3317875"/>
            <a:ext cx="613410" cy="29654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en-US" altLang="zh-CN" sz="9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号机器人</a:t>
            </a:r>
            <a:endParaRPr lang="zh-CN" altLang="en-US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1311910" y="3544570"/>
            <a:ext cx="613410" cy="29654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en-US" altLang="zh-CN" sz="9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号冲压机</a:t>
            </a:r>
            <a:endParaRPr lang="zh-CN" altLang="en-US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7920" y="1388745"/>
            <a:ext cx="521335" cy="951865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57550" y="1503045"/>
            <a:ext cx="796290" cy="723265"/>
          </a:xfrm>
          <a:prstGeom prst="rect">
            <a:avLst/>
          </a:prstGeom>
        </p:spPr>
      </p:pic>
      <p:pic>
        <p:nvPicPr>
          <p:cNvPr id="22" name="图片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5250" y="1503045"/>
            <a:ext cx="797560" cy="724535"/>
          </a:xfrm>
          <a:prstGeom prst="rect">
            <a:avLst/>
          </a:prstGeom>
        </p:spPr>
      </p:pic>
      <p:sp>
        <p:nvSpPr>
          <p:cNvPr id="25" name="燕尾形 24"/>
          <p:cNvSpPr/>
          <p:nvPr/>
        </p:nvSpPr>
        <p:spPr>
          <a:xfrm>
            <a:off x="4241165" y="1621790"/>
            <a:ext cx="485775" cy="485775"/>
          </a:xfrm>
          <a:prstGeom prst="chevron">
            <a:avLst/>
          </a:prstGeom>
          <a:solidFill>
            <a:schemeClr val="accent5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7" name="燕尾形 26"/>
          <p:cNvSpPr/>
          <p:nvPr/>
        </p:nvSpPr>
        <p:spPr>
          <a:xfrm>
            <a:off x="5867400" y="1621790"/>
            <a:ext cx="485775" cy="485775"/>
          </a:xfrm>
          <a:prstGeom prst="chevron">
            <a:avLst/>
          </a:prstGeom>
          <a:solidFill>
            <a:schemeClr val="accent2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0" name="剪去同侧角的矩形 29"/>
          <p:cNvSpPr/>
          <p:nvPr/>
        </p:nvSpPr>
        <p:spPr>
          <a:xfrm>
            <a:off x="6678295" y="4547235"/>
            <a:ext cx="778510" cy="340995"/>
          </a:xfrm>
          <a:prstGeom prst="snip2Same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tx1"/>
                </a:solidFill>
              </a:rPr>
              <a:t>2</a:t>
            </a:r>
            <a:r>
              <a:rPr lang="zh-CN" altLang="en-US" sz="900">
                <a:solidFill>
                  <a:schemeClr val="tx1"/>
                </a:solidFill>
              </a:rPr>
              <a:t>号机器人模型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32" name="椭圆形标注 31"/>
          <p:cNvSpPr/>
          <p:nvPr/>
        </p:nvSpPr>
        <p:spPr>
          <a:xfrm>
            <a:off x="7815580" y="3841115"/>
            <a:ext cx="914400" cy="611505"/>
          </a:xfrm>
          <a:prstGeom prst="wedgeEllipseCallout">
            <a:avLst>
              <a:gd name="adj1" fmla="val -86666"/>
              <a:gd name="adj2" fmla="val 60903"/>
            </a:avLst>
          </a:prstGeom>
          <a:noFill/>
          <a:ln w="28575" cmpd="thickThin">
            <a:solidFill>
              <a:schemeClr val="accent1">
                <a:shade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厨电工厂</a:t>
            </a:r>
            <a:r>
              <a:rPr lang="en-US" altLang="zh-CN" sz="900">
                <a:solidFill>
                  <a:schemeClr val="tx1"/>
                </a:solidFill>
              </a:rPr>
              <a:t>1</a:t>
            </a:r>
            <a:r>
              <a:rPr lang="zh-CN" altLang="en-US" sz="900">
                <a:solidFill>
                  <a:schemeClr val="tx1"/>
                </a:solidFill>
              </a:rPr>
              <a:t>号冲压机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33" name="圆角矩形 32"/>
          <p:cNvSpPr/>
          <p:nvPr/>
        </p:nvSpPr>
        <p:spPr>
          <a:xfrm>
            <a:off x="2701290" y="1202690"/>
            <a:ext cx="5662295" cy="1137920"/>
          </a:xfrm>
          <a:prstGeom prst="round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50" grpId="0" animBg="1"/>
      <p:bldP spid="3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7"/>
          <p:cNvSpPr txBox="1"/>
          <p:nvPr/>
        </p:nvSpPr>
        <p:spPr>
          <a:xfrm>
            <a:off x="1793" y="62359"/>
            <a:ext cx="9109101" cy="349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58011" bIns="0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47053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94107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141160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188214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l" defTabSz="796925"/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普通开发者</a:t>
            </a:r>
            <a:endParaRPr lang="zh-CN" altLang="en-US" sz="2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 flipV="1">
            <a:off x="481965" y="63309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/>
          <p:cNvSpPr/>
          <p:nvPr/>
        </p:nvSpPr>
        <p:spPr>
          <a:xfrm>
            <a:off x="249555" y="633095"/>
            <a:ext cx="2085340" cy="427799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9" name="矩形 28"/>
          <p:cNvSpPr/>
          <p:nvPr/>
        </p:nvSpPr>
        <p:spPr>
          <a:xfrm>
            <a:off x="241300" y="817245"/>
            <a:ext cx="2049780" cy="2921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开发模板导入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249555" y="122872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我的设备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cxnSp>
        <p:nvCxnSpPr>
          <p:cNvPr id="2" name="直接连接符 1"/>
          <p:cNvCxnSpPr/>
          <p:nvPr/>
        </p:nvCxnSpPr>
        <p:spPr>
          <a:xfrm flipV="1">
            <a:off x="688340" y="491045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圆角矩形 3"/>
          <p:cNvSpPr/>
          <p:nvPr/>
        </p:nvSpPr>
        <p:spPr>
          <a:xfrm>
            <a:off x="2386330" y="633730"/>
            <a:ext cx="6395085" cy="360045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2456815" y="676275"/>
            <a:ext cx="638175" cy="27495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具栏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六边形 6"/>
          <p:cNvSpPr/>
          <p:nvPr/>
        </p:nvSpPr>
        <p:spPr>
          <a:xfrm>
            <a:off x="3094990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模型属性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8" name="六边形 7"/>
          <p:cNvSpPr/>
          <p:nvPr/>
        </p:nvSpPr>
        <p:spPr>
          <a:xfrm>
            <a:off x="3993515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图像库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9" name="六边形 8"/>
          <p:cNvSpPr/>
          <p:nvPr/>
        </p:nvSpPr>
        <p:spPr>
          <a:xfrm>
            <a:off x="4881880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列表组件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11" name="六边形 10"/>
          <p:cNvSpPr/>
          <p:nvPr/>
        </p:nvSpPr>
        <p:spPr>
          <a:xfrm>
            <a:off x="5790565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图像组件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12" name="六边形 11"/>
          <p:cNvSpPr/>
          <p:nvPr/>
        </p:nvSpPr>
        <p:spPr>
          <a:xfrm>
            <a:off x="6688455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监测点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13" name="六边形 12"/>
          <p:cNvSpPr/>
          <p:nvPr/>
        </p:nvSpPr>
        <p:spPr>
          <a:xfrm>
            <a:off x="7592695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。。。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2334895" y="4551045"/>
            <a:ext cx="6395085" cy="360045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2385060" y="4593590"/>
            <a:ext cx="638175" cy="27495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对象类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2980055" y="4580255"/>
            <a:ext cx="7620" cy="2952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剪去同侧角的矩形 41"/>
          <p:cNvSpPr/>
          <p:nvPr/>
        </p:nvSpPr>
        <p:spPr>
          <a:xfrm>
            <a:off x="3257550" y="4519930"/>
            <a:ext cx="669925" cy="340995"/>
          </a:xfrm>
          <a:prstGeom prst="snip2Same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tx1"/>
                </a:solidFill>
              </a:rPr>
              <a:t>1</a:t>
            </a:r>
            <a:r>
              <a:rPr lang="zh-CN" altLang="en-US" sz="900">
                <a:solidFill>
                  <a:schemeClr val="tx1"/>
                </a:solidFill>
              </a:rPr>
              <a:t>号机器人模型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241300" y="1591945"/>
            <a:ext cx="2049780" cy="2921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我的产线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46" name="剪去同侧角的矩形 45"/>
          <p:cNvSpPr/>
          <p:nvPr/>
        </p:nvSpPr>
        <p:spPr>
          <a:xfrm>
            <a:off x="5469255" y="4527550"/>
            <a:ext cx="778510" cy="340995"/>
          </a:xfrm>
          <a:prstGeom prst="snip2Same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tx1"/>
                </a:solidFill>
              </a:rPr>
              <a:t>2</a:t>
            </a:r>
            <a:r>
              <a:rPr lang="zh-CN" altLang="en-US" sz="900">
                <a:solidFill>
                  <a:schemeClr val="tx1"/>
                </a:solidFill>
              </a:rPr>
              <a:t>号机器人模型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30" name="剪去同侧角的矩形 29"/>
          <p:cNvSpPr/>
          <p:nvPr/>
        </p:nvSpPr>
        <p:spPr>
          <a:xfrm>
            <a:off x="6678295" y="4547235"/>
            <a:ext cx="778510" cy="340995"/>
          </a:xfrm>
          <a:prstGeom prst="snip2Same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tx1"/>
                </a:solidFill>
              </a:rPr>
              <a:t>2</a:t>
            </a:r>
            <a:r>
              <a:rPr lang="zh-CN" altLang="en-US" sz="900">
                <a:solidFill>
                  <a:schemeClr val="tx1"/>
                </a:solidFill>
              </a:rPr>
              <a:t>号机器人模型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34" name="圆角矩形 33"/>
          <p:cNvSpPr/>
          <p:nvPr/>
        </p:nvSpPr>
        <p:spPr>
          <a:xfrm>
            <a:off x="285115" y="2063115"/>
            <a:ext cx="1879600" cy="253047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grpSp>
        <p:nvGrpSpPr>
          <p:cNvPr id="36" name="组合 35"/>
          <p:cNvGrpSpPr/>
          <p:nvPr/>
        </p:nvGrpSpPr>
        <p:grpSpPr>
          <a:xfrm>
            <a:off x="537210" y="2226310"/>
            <a:ext cx="1457325" cy="1673225"/>
            <a:chOff x="847" y="3389"/>
            <a:chExt cx="2295" cy="2635"/>
          </a:xfrm>
        </p:grpSpPr>
        <p:sp>
          <p:nvSpPr>
            <p:cNvPr id="44" name="文本框 43"/>
            <p:cNvSpPr txBox="1"/>
            <p:nvPr/>
          </p:nvSpPr>
          <p:spPr>
            <a:xfrm>
              <a:off x="847" y="3389"/>
              <a:ext cx="2295" cy="1952"/>
            </a:xfrm>
            <a:prstGeom prst="rect">
              <a:avLst/>
            </a:prstGeom>
            <a:noFill/>
          </p:spPr>
          <p:txBody>
            <a:bodyPr wrap="none" rtlCol="0" anchor="ctr" anchorCtr="1">
              <a:noAutofit/>
            </a:bodyPr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我的产线</a:t>
              </a: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   胶州工厂</a:t>
              </a:r>
              <a:r>
                <a:rPr lang="en-US" altLang="zh-CN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号线</a:t>
              </a: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    黄岛厨电</a:t>
              </a:r>
              <a:r>
                <a:rPr lang="en-US" altLang="zh-CN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-</a:t>
              </a: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冲压线</a:t>
              </a: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          焊缝转盘</a:t>
              </a:r>
              <a:r>
                <a:rPr lang="en-US" altLang="zh-CN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endParaRPr lang="en-US" altLang="zh-CN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45" name="直接连接符 44"/>
            <p:cNvCxnSpPr/>
            <p:nvPr/>
          </p:nvCxnSpPr>
          <p:spPr>
            <a:xfrm flipH="1">
              <a:off x="1406" y="3912"/>
              <a:ext cx="1" cy="65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直接连接符 46"/>
            <p:cNvCxnSpPr/>
            <p:nvPr/>
          </p:nvCxnSpPr>
          <p:spPr>
            <a:xfrm>
              <a:off x="1406" y="4109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直接连接符 47"/>
            <p:cNvCxnSpPr/>
            <p:nvPr/>
          </p:nvCxnSpPr>
          <p:spPr>
            <a:xfrm flipH="1">
              <a:off x="1743" y="4690"/>
              <a:ext cx="1" cy="65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直接连接符 50"/>
            <p:cNvCxnSpPr/>
            <p:nvPr/>
          </p:nvCxnSpPr>
          <p:spPr>
            <a:xfrm>
              <a:off x="1744" y="5016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直接连接符 51"/>
            <p:cNvCxnSpPr/>
            <p:nvPr/>
          </p:nvCxnSpPr>
          <p:spPr>
            <a:xfrm>
              <a:off x="1744" y="5341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直接连接符 52"/>
            <p:cNvCxnSpPr/>
            <p:nvPr/>
          </p:nvCxnSpPr>
          <p:spPr>
            <a:xfrm>
              <a:off x="1406" y="4563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直接连接符 55"/>
            <p:cNvCxnSpPr/>
            <p:nvPr/>
          </p:nvCxnSpPr>
          <p:spPr>
            <a:xfrm flipH="1">
              <a:off x="1744" y="5373"/>
              <a:ext cx="1" cy="65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直接连接符 56"/>
            <p:cNvCxnSpPr/>
            <p:nvPr/>
          </p:nvCxnSpPr>
          <p:spPr>
            <a:xfrm>
              <a:off x="1744" y="6024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文本框 53"/>
          <p:cNvSpPr txBox="1"/>
          <p:nvPr/>
        </p:nvSpPr>
        <p:spPr>
          <a:xfrm>
            <a:off x="1311910" y="3317875"/>
            <a:ext cx="613410" cy="29654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焊缝转盘</a:t>
            </a:r>
            <a:r>
              <a:rPr lang="en-US" altLang="zh-CN" sz="9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en-US" altLang="zh-CN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文本框 54"/>
          <p:cNvSpPr txBox="1"/>
          <p:nvPr/>
        </p:nvSpPr>
        <p:spPr>
          <a:xfrm>
            <a:off x="1250950" y="3751580"/>
            <a:ext cx="613410" cy="29654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旋转台定位</a:t>
            </a:r>
            <a:endParaRPr lang="zh-CN" altLang="en-US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文本框 58"/>
          <p:cNvSpPr txBox="1"/>
          <p:nvPr/>
        </p:nvSpPr>
        <p:spPr>
          <a:xfrm>
            <a:off x="4180205" y="1109345"/>
            <a:ext cx="2807970" cy="482600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厨电冲压线 转盘工艺效率分析</a:t>
            </a:r>
            <a:endParaRPr lang="zh-CN" altLang="en-US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61" name="表格 60"/>
          <p:cNvGraphicFramePr/>
          <p:nvPr/>
        </p:nvGraphicFramePr>
        <p:xfrm>
          <a:off x="2456815" y="1579245"/>
          <a:ext cx="2802890" cy="23761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2400"/>
                <a:gridCol w="395605"/>
                <a:gridCol w="984885"/>
              </a:tblGrid>
              <a:tr h="39306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000" b="0">
                          <a:solidFill>
                            <a:srgbClr val="000000"/>
                          </a:solidFill>
                          <a:ea typeface="宋体" panose="02010600030101010101" pitchFamily="2" charset="-122"/>
                        </a:rPr>
                        <a:t>变量名称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000" b="0">
                          <a:solidFill>
                            <a:srgbClr val="000000"/>
                          </a:solidFill>
                          <a:ea typeface="宋体" panose="02010600030101010101" pitchFamily="2" charset="-122"/>
                        </a:rPr>
                        <a:t>单位/状态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0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实时数值</a:t>
                      </a:r>
                      <a:endParaRPr lang="zh-CN" altLang="en-US" sz="10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23812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0">
                          <a:solidFill>
                            <a:srgbClr val="000000"/>
                          </a:solidFill>
                          <a:ea typeface="宋体" panose="02010600030101010101" pitchFamily="2" charset="-122"/>
                        </a:rPr>
                        <a:t>转盘1</a:t>
                      </a: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 </a:t>
                      </a:r>
                      <a:r>
                        <a:rPr lang="zh-CN" sz="900" b="0">
                          <a:solidFill>
                            <a:srgbClr val="000000"/>
                          </a:solidFill>
                          <a:ea typeface="宋体" panose="02010600030101010101" pitchFamily="2" charset="-122"/>
                        </a:rPr>
                        <a:t>工位1调整伺服报警中</a:t>
                      </a: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vert="horz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ON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M500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368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0">
                          <a:solidFill>
                            <a:srgbClr val="000000"/>
                          </a:solidFill>
                          <a:ea typeface="宋体" panose="02010600030101010101" pitchFamily="2" charset="-122"/>
                        </a:rPr>
                        <a:t>转盘1</a:t>
                      </a:r>
                      <a:r>
                        <a:rPr lang="en-US" sz="9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 </a:t>
                      </a:r>
                      <a:r>
                        <a:rPr lang="zh-CN" sz="900" b="0">
                          <a:solidFill>
                            <a:srgbClr val="000000"/>
                          </a:solidFill>
                          <a:ea typeface="宋体" panose="02010600030101010101" pitchFamily="2" charset="-122"/>
                        </a:rPr>
                        <a:t>工位2调整伺服报警中</a:t>
                      </a:r>
                      <a:endParaRPr lang="en-US" altLang="en-US" sz="9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vert="horz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ON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M501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734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000" b="0">
                          <a:solidFill>
                            <a:srgbClr val="000000"/>
                          </a:solidFill>
                          <a:ea typeface="宋体" panose="02010600030101010101" pitchFamily="2" charset="-122"/>
                        </a:rPr>
                        <a:t>转盘1</a:t>
                      </a:r>
                      <a:r>
                        <a:rPr lang="en-US" sz="10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 </a:t>
                      </a:r>
                      <a:r>
                        <a:rPr lang="zh-CN" sz="1000" b="0">
                          <a:solidFill>
                            <a:srgbClr val="000000"/>
                          </a:solidFill>
                          <a:ea typeface="宋体" panose="02010600030101010101" pitchFamily="2" charset="-122"/>
                        </a:rPr>
                        <a:t>工位3调整伺服报警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ON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M502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4737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000" b="0">
                          <a:solidFill>
                            <a:srgbClr val="000000"/>
                          </a:solidFill>
                          <a:ea typeface="宋体" panose="02010600030101010101" pitchFamily="2" charset="-122"/>
                        </a:rPr>
                        <a:t>转盘1</a:t>
                      </a:r>
                      <a:r>
                        <a:rPr lang="en-US" sz="10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 </a:t>
                      </a:r>
                      <a:r>
                        <a:rPr lang="zh-CN" sz="1000" b="0">
                          <a:solidFill>
                            <a:srgbClr val="000000"/>
                          </a:solidFill>
                          <a:ea typeface="宋体" panose="02010600030101010101" pitchFamily="2" charset="-122"/>
                        </a:rPr>
                        <a:t>旋转条件达成，</a:t>
                      </a:r>
                      <a:endParaRPr lang="zh-CN" sz="1000" b="0">
                        <a:solidFill>
                          <a:srgbClr val="000000"/>
                        </a:solidFill>
                        <a:ea typeface="宋体" panose="02010600030101010101" pitchFamily="2" charset="-122"/>
                      </a:endParaRPr>
                    </a:p>
                    <a:p>
                      <a:pPr indent="0" algn="ctr">
                        <a:buNone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 </a:t>
                      </a:r>
                      <a:r>
                        <a:rPr lang="zh-CN" sz="1000" b="0">
                          <a:solidFill>
                            <a:srgbClr val="000000"/>
                          </a:solidFill>
                          <a:ea typeface="宋体" panose="02010600030101010101" pitchFamily="2" charset="-122"/>
                        </a:rPr>
                        <a:t>等待机器人复位时间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ON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M52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62" name="图表 61"/>
          <p:cNvGraphicFramePr/>
          <p:nvPr/>
        </p:nvGraphicFramePr>
        <p:xfrm>
          <a:off x="5469255" y="1591945"/>
          <a:ext cx="3429000" cy="23628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pic>
        <p:nvPicPr>
          <p:cNvPr id="63" name="图片 6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7365" y="4106545"/>
            <a:ext cx="5850890" cy="80391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圆角矩形 13"/>
          <p:cNvSpPr/>
          <p:nvPr/>
        </p:nvSpPr>
        <p:spPr>
          <a:xfrm>
            <a:off x="2457450" y="1108710"/>
            <a:ext cx="6390640" cy="3802380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pic>
        <p:nvPicPr>
          <p:cNvPr id="36" name="图片 3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294120" y="2116455"/>
            <a:ext cx="1620520" cy="1311910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6" name="标题 7"/>
          <p:cNvSpPr txBox="1"/>
          <p:nvPr/>
        </p:nvSpPr>
        <p:spPr>
          <a:xfrm>
            <a:off x="1793" y="62359"/>
            <a:ext cx="9109101" cy="349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58011" bIns="0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47053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94107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141160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188214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l" defTabSz="796925"/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普通开发者</a:t>
            </a:r>
            <a:endParaRPr lang="zh-CN" altLang="en-US" sz="2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 flipV="1">
            <a:off x="481965" y="63309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/>
          <p:cNvSpPr/>
          <p:nvPr/>
        </p:nvSpPr>
        <p:spPr>
          <a:xfrm>
            <a:off x="249555" y="633095"/>
            <a:ext cx="2085340" cy="427799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4" name="矩形 23"/>
          <p:cNvSpPr/>
          <p:nvPr/>
        </p:nvSpPr>
        <p:spPr>
          <a:xfrm>
            <a:off x="241300" y="122872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平台模型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241300" y="817245"/>
            <a:ext cx="2049780" cy="2921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开发模板导入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240665" y="1645920"/>
            <a:ext cx="2049780" cy="292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我的设备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cxnSp>
        <p:nvCxnSpPr>
          <p:cNvPr id="2" name="直接连接符 1"/>
          <p:cNvCxnSpPr/>
          <p:nvPr/>
        </p:nvCxnSpPr>
        <p:spPr>
          <a:xfrm flipV="1">
            <a:off x="688340" y="491045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圆角矩形 3"/>
          <p:cNvSpPr/>
          <p:nvPr/>
        </p:nvSpPr>
        <p:spPr>
          <a:xfrm>
            <a:off x="2386330" y="633730"/>
            <a:ext cx="6395085" cy="360045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2456815" y="676275"/>
            <a:ext cx="638175" cy="27495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我的应用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六边形 6"/>
          <p:cNvSpPr/>
          <p:nvPr/>
        </p:nvSpPr>
        <p:spPr>
          <a:xfrm>
            <a:off x="3094990" y="690245"/>
            <a:ext cx="164147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机器人能耗分析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8" name="六边形 7"/>
          <p:cNvSpPr/>
          <p:nvPr/>
        </p:nvSpPr>
        <p:spPr>
          <a:xfrm>
            <a:off x="4972050" y="704215"/>
            <a:ext cx="1630680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厨电工厂产线监控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9" name="六边形 8"/>
          <p:cNvSpPr/>
          <p:nvPr/>
        </p:nvSpPr>
        <p:spPr>
          <a:xfrm>
            <a:off x="6792595" y="690245"/>
            <a:ext cx="1847850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现代机器人码垛操作分析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3842385" y="3621405"/>
            <a:ext cx="638175" cy="27495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发布到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海尔内部</a:t>
            </a:r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市场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267335" y="2034540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我的产线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249555" y="2425700"/>
            <a:ext cx="2049780" cy="2921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应用发布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pic>
        <p:nvPicPr>
          <p:cNvPr id="104" name="图片 10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350895" y="2115820"/>
            <a:ext cx="1620520" cy="1311910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34" name="文本框 33"/>
          <p:cNvSpPr txBox="1"/>
          <p:nvPr/>
        </p:nvSpPr>
        <p:spPr>
          <a:xfrm>
            <a:off x="6863080" y="3621405"/>
            <a:ext cx="638175" cy="27495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发布到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OSMO</a:t>
            </a: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公有云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市场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5" name="Picture 2" descr="C:\Users\wangzhh\Desktop\企业云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2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6863134" y="2628811"/>
            <a:ext cx="1124388" cy="91356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7"/>
          <p:cNvSpPr txBox="1"/>
          <p:nvPr/>
        </p:nvSpPr>
        <p:spPr>
          <a:xfrm>
            <a:off x="1793" y="62359"/>
            <a:ext cx="9109101" cy="349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58011" bIns="0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47053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94107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141160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188214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l" defTabSz="796925"/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 </a:t>
            </a:r>
            <a:r>
              <a:rPr lang="zh-CN" altLang="en-US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深度开发者</a:t>
            </a:r>
            <a:endParaRPr lang="zh-CN" altLang="en-US" sz="2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 flipV="1">
            <a:off x="481965" y="63309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/>
          <p:cNvSpPr/>
          <p:nvPr/>
        </p:nvSpPr>
        <p:spPr>
          <a:xfrm>
            <a:off x="249555" y="633095"/>
            <a:ext cx="2085340" cy="427799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4" name="矩形 23"/>
          <p:cNvSpPr/>
          <p:nvPr/>
        </p:nvSpPr>
        <p:spPr>
          <a:xfrm>
            <a:off x="241300" y="1228725"/>
            <a:ext cx="2049780" cy="2921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平台模型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241300" y="817245"/>
            <a:ext cx="2049780" cy="2921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资源申请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cxnSp>
        <p:nvCxnSpPr>
          <p:cNvPr id="2" name="直接连接符 1"/>
          <p:cNvCxnSpPr/>
          <p:nvPr/>
        </p:nvCxnSpPr>
        <p:spPr>
          <a:xfrm flipV="1">
            <a:off x="688340" y="491045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圆角矩形 3"/>
          <p:cNvSpPr/>
          <p:nvPr/>
        </p:nvSpPr>
        <p:spPr>
          <a:xfrm>
            <a:off x="2386330" y="633730"/>
            <a:ext cx="6395085" cy="360045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2456815" y="676275"/>
            <a:ext cx="638175" cy="27495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我的资源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六边形 6"/>
          <p:cNvSpPr/>
          <p:nvPr/>
        </p:nvSpPr>
        <p:spPr>
          <a:xfrm>
            <a:off x="3094990" y="690245"/>
            <a:ext cx="1641475" cy="247015"/>
          </a:xfrm>
          <a:prstGeom prst="hexagon">
            <a:avLst/>
          </a:prstGeom>
          <a:solidFill>
            <a:schemeClr val="accent4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tx1"/>
                </a:solidFill>
              </a:rPr>
              <a:t>CPU  4</a:t>
            </a:r>
            <a:r>
              <a:rPr lang="zh-CN" altLang="en-US" sz="900">
                <a:solidFill>
                  <a:schemeClr val="tx1"/>
                </a:solidFill>
              </a:rPr>
              <a:t>核    </a:t>
            </a:r>
            <a:r>
              <a:rPr lang="en-US" altLang="zh-CN" sz="900">
                <a:solidFill>
                  <a:schemeClr val="tx1"/>
                </a:solidFill>
              </a:rPr>
              <a:t>3G </a:t>
            </a:r>
            <a:r>
              <a:rPr lang="zh-CN" altLang="en-US" sz="900">
                <a:solidFill>
                  <a:schemeClr val="tx1"/>
                </a:solidFill>
              </a:rPr>
              <a:t>内存   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8" name="六边形 7"/>
          <p:cNvSpPr/>
          <p:nvPr/>
        </p:nvSpPr>
        <p:spPr>
          <a:xfrm>
            <a:off x="4912995" y="690245"/>
            <a:ext cx="1630680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厨电工厂产线监控（</a:t>
            </a:r>
            <a:r>
              <a:rPr lang="en-US" altLang="zh-CN" sz="900">
                <a:solidFill>
                  <a:schemeClr val="tx1"/>
                </a:solidFill>
              </a:rPr>
              <a:t>30</a:t>
            </a:r>
            <a:r>
              <a:rPr lang="zh-CN" altLang="en-US" sz="900">
                <a:solidFill>
                  <a:schemeClr val="tx1"/>
                </a:solidFill>
              </a:rPr>
              <a:t>用户订购     ）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9" name="六边形 8"/>
          <p:cNvSpPr/>
          <p:nvPr/>
        </p:nvSpPr>
        <p:spPr>
          <a:xfrm>
            <a:off x="6792595" y="690245"/>
            <a:ext cx="1847850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现代机器人码垛操作分析</a:t>
            </a:r>
            <a:endParaRPr lang="zh-CN" altLang="en-US" sz="900">
              <a:solidFill>
                <a:schemeClr val="tx1"/>
              </a:solidFill>
            </a:endParaRPr>
          </a:p>
          <a:p>
            <a:pPr algn="ctr"/>
            <a:r>
              <a:rPr lang="zh-CN" altLang="en-US" sz="900">
                <a:solidFill>
                  <a:schemeClr val="tx1"/>
                </a:solidFill>
              </a:rPr>
              <a:t>（</a:t>
            </a:r>
            <a:r>
              <a:rPr lang="en-US" altLang="zh-CN" sz="900">
                <a:solidFill>
                  <a:schemeClr val="tx1"/>
                </a:solidFill>
              </a:rPr>
              <a:t>20</a:t>
            </a:r>
            <a:r>
              <a:rPr lang="zh-CN" altLang="en-US" sz="900">
                <a:solidFill>
                  <a:schemeClr val="tx1"/>
                </a:solidFill>
              </a:rPr>
              <a:t>用户订购）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267970" y="3014980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我的产线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250190" y="3406140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大数据对象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267970" y="378142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微服务列表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250190" y="417639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机器学习算法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511810" y="1636395"/>
            <a:ext cx="1509395" cy="124269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grpSp>
        <p:nvGrpSpPr>
          <p:cNvPr id="41" name="组合 40"/>
          <p:cNvGrpSpPr/>
          <p:nvPr/>
        </p:nvGrpSpPr>
        <p:grpSpPr>
          <a:xfrm>
            <a:off x="481965" y="1438910"/>
            <a:ext cx="1623695" cy="1188085"/>
            <a:chOff x="847" y="3389"/>
            <a:chExt cx="2294" cy="1952"/>
          </a:xfrm>
        </p:grpSpPr>
        <p:sp>
          <p:nvSpPr>
            <p:cNvPr id="18" name="文本框 17"/>
            <p:cNvSpPr txBox="1"/>
            <p:nvPr/>
          </p:nvSpPr>
          <p:spPr>
            <a:xfrm>
              <a:off x="847" y="3389"/>
              <a:ext cx="2295" cy="1952"/>
            </a:xfrm>
            <a:prstGeom prst="rect">
              <a:avLst/>
            </a:prstGeom>
            <a:noFill/>
          </p:spPr>
          <p:txBody>
            <a:bodyPr wrap="none" rtlCol="0" anchor="ctr" anchorCtr="1">
              <a:noAutofit/>
            </a:bodyPr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通用设备</a:t>
              </a: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   注塑机</a:t>
              </a: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   机器人</a:t>
              </a: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          现代机器人</a:t>
              </a: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26" name="直接连接符 25"/>
            <p:cNvCxnSpPr/>
            <p:nvPr/>
          </p:nvCxnSpPr>
          <p:spPr>
            <a:xfrm flipH="1">
              <a:off x="1406" y="3912"/>
              <a:ext cx="1" cy="65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/>
            <p:cNvCxnSpPr/>
            <p:nvPr/>
          </p:nvCxnSpPr>
          <p:spPr>
            <a:xfrm>
              <a:off x="1406" y="4109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直接连接符 36"/>
            <p:cNvCxnSpPr/>
            <p:nvPr/>
          </p:nvCxnSpPr>
          <p:spPr>
            <a:xfrm flipH="1">
              <a:off x="1743" y="4690"/>
              <a:ext cx="1" cy="65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接连接符 37"/>
            <p:cNvCxnSpPr/>
            <p:nvPr/>
          </p:nvCxnSpPr>
          <p:spPr>
            <a:xfrm>
              <a:off x="1744" y="5016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直接连接符 38"/>
            <p:cNvCxnSpPr/>
            <p:nvPr/>
          </p:nvCxnSpPr>
          <p:spPr>
            <a:xfrm>
              <a:off x="1744" y="5341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连接符 39"/>
            <p:cNvCxnSpPr/>
            <p:nvPr/>
          </p:nvCxnSpPr>
          <p:spPr>
            <a:xfrm>
              <a:off x="1406" y="4563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矩形 12"/>
          <p:cNvSpPr/>
          <p:nvPr/>
        </p:nvSpPr>
        <p:spPr>
          <a:xfrm>
            <a:off x="241300" y="459295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时序数据调用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456815" y="1109345"/>
            <a:ext cx="1952625" cy="2533650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00575" y="1109345"/>
            <a:ext cx="2192020" cy="2443480"/>
          </a:xfrm>
          <a:prstGeom prst="rect">
            <a:avLst/>
          </a:prstGeom>
        </p:spPr>
      </p:pic>
      <p:pic>
        <p:nvPicPr>
          <p:cNvPr id="22" name="图片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81190" y="1281430"/>
            <a:ext cx="1800225" cy="2580640"/>
          </a:xfrm>
          <a:prstGeom prst="rect">
            <a:avLst/>
          </a:prstGeom>
        </p:spPr>
      </p:pic>
      <p:sp>
        <p:nvSpPr>
          <p:cNvPr id="25" name="文本框 24"/>
          <p:cNvSpPr txBox="1"/>
          <p:nvPr/>
        </p:nvSpPr>
        <p:spPr>
          <a:xfrm>
            <a:off x="6981190" y="993775"/>
            <a:ext cx="1737995" cy="2343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rtlCol="0" anchor="ctr" anchorCtr="1">
            <a:noAutofit/>
          </a:bodyPr>
          <a:p>
            <a:pPr algn="ctr"/>
            <a:r>
              <a: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测试范例</a:t>
            </a:r>
            <a:endParaRPr lang="zh-CN" altLang="en-US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8" name="图片 2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9440" y="3698240"/>
            <a:ext cx="4310380" cy="1121410"/>
          </a:xfrm>
          <a:prstGeom prst="rect">
            <a:avLst/>
          </a:prstGeom>
        </p:spPr>
      </p:pic>
      <p:sp>
        <p:nvSpPr>
          <p:cNvPr id="30" name="文本框 29"/>
          <p:cNvSpPr txBox="1"/>
          <p:nvPr/>
        </p:nvSpPr>
        <p:spPr>
          <a:xfrm>
            <a:off x="2555875" y="3698240"/>
            <a:ext cx="2357755" cy="3289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rtlCol="0" anchor="ctr" anchorCtr="1">
            <a:noAutofit/>
          </a:bodyPr>
          <a:p>
            <a:pPr algn="ctr"/>
            <a:r>
              <a: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机器人微服务与列表</a:t>
            </a:r>
            <a:endParaRPr lang="zh-CN" altLang="en-US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7"/>
          <p:cNvSpPr txBox="1"/>
          <p:nvPr/>
        </p:nvSpPr>
        <p:spPr>
          <a:xfrm>
            <a:off x="1793" y="62359"/>
            <a:ext cx="9109101" cy="349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58011" bIns="0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47053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94107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141160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188214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l" defTabSz="796925"/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 </a:t>
            </a:r>
            <a:r>
              <a:rPr lang="zh-CN" altLang="en-US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深度开发者</a:t>
            </a:r>
            <a:endParaRPr lang="zh-CN" altLang="en-US" sz="2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 flipV="1">
            <a:off x="481965" y="63309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/>
          <p:cNvSpPr/>
          <p:nvPr/>
        </p:nvSpPr>
        <p:spPr>
          <a:xfrm>
            <a:off x="249555" y="633095"/>
            <a:ext cx="2085340" cy="427799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4" name="矩形 23"/>
          <p:cNvSpPr/>
          <p:nvPr/>
        </p:nvSpPr>
        <p:spPr>
          <a:xfrm>
            <a:off x="241300" y="122872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平台模型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241300" y="817245"/>
            <a:ext cx="2049780" cy="2921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资源申请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cxnSp>
        <p:nvCxnSpPr>
          <p:cNvPr id="2" name="直接连接符 1"/>
          <p:cNvCxnSpPr/>
          <p:nvPr/>
        </p:nvCxnSpPr>
        <p:spPr>
          <a:xfrm flipV="1">
            <a:off x="688340" y="491045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圆角矩形 3"/>
          <p:cNvSpPr/>
          <p:nvPr/>
        </p:nvSpPr>
        <p:spPr>
          <a:xfrm>
            <a:off x="2386330" y="633730"/>
            <a:ext cx="6395085" cy="360045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2456815" y="676275"/>
            <a:ext cx="638175" cy="27495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我的资源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六边形 6"/>
          <p:cNvSpPr/>
          <p:nvPr/>
        </p:nvSpPr>
        <p:spPr>
          <a:xfrm>
            <a:off x="3094990" y="690245"/>
            <a:ext cx="1641475" cy="247015"/>
          </a:xfrm>
          <a:prstGeom prst="hexagon">
            <a:avLst/>
          </a:prstGeom>
          <a:solidFill>
            <a:schemeClr val="accent4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tx1"/>
                </a:solidFill>
              </a:rPr>
              <a:t>CPU  4</a:t>
            </a:r>
            <a:r>
              <a:rPr lang="zh-CN" altLang="en-US" sz="900">
                <a:solidFill>
                  <a:schemeClr val="tx1"/>
                </a:solidFill>
              </a:rPr>
              <a:t>核    </a:t>
            </a:r>
            <a:r>
              <a:rPr lang="en-US" altLang="zh-CN" sz="900">
                <a:solidFill>
                  <a:schemeClr val="tx1"/>
                </a:solidFill>
              </a:rPr>
              <a:t>3G </a:t>
            </a:r>
            <a:r>
              <a:rPr lang="zh-CN" altLang="en-US" sz="900">
                <a:solidFill>
                  <a:schemeClr val="tx1"/>
                </a:solidFill>
              </a:rPr>
              <a:t>内存   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8" name="六边形 7"/>
          <p:cNvSpPr/>
          <p:nvPr/>
        </p:nvSpPr>
        <p:spPr>
          <a:xfrm>
            <a:off x="4912995" y="690245"/>
            <a:ext cx="1630680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厨电工厂产线监控（</a:t>
            </a:r>
            <a:r>
              <a:rPr lang="en-US" altLang="zh-CN" sz="900">
                <a:solidFill>
                  <a:schemeClr val="tx1"/>
                </a:solidFill>
              </a:rPr>
              <a:t>30</a:t>
            </a:r>
            <a:r>
              <a:rPr lang="zh-CN" altLang="en-US" sz="900">
                <a:solidFill>
                  <a:schemeClr val="tx1"/>
                </a:solidFill>
              </a:rPr>
              <a:t>用户订购     ）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9" name="六边形 8"/>
          <p:cNvSpPr/>
          <p:nvPr/>
        </p:nvSpPr>
        <p:spPr>
          <a:xfrm>
            <a:off x="6792595" y="690245"/>
            <a:ext cx="1847850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现代机器人码垛操作分析</a:t>
            </a:r>
            <a:endParaRPr lang="zh-CN" altLang="en-US" sz="900">
              <a:solidFill>
                <a:schemeClr val="tx1"/>
              </a:solidFill>
            </a:endParaRPr>
          </a:p>
          <a:p>
            <a:pPr algn="ctr"/>
            <a:r>
              <a:rPr lang="zh-CN" altLang="en-US" sz="900">
                <a:solidFill>
                  <a:schemeClr val="tx1"/>
                </a:solidFill>
              </a:rPr>
              <a:t>（</a:t>
            </a:r>
            <a:r>
              <a:rPr lang="en-US" altLang="zh-CN" sz="900">
                <a:solidFill>
                  <a:schemeClr val="tx1"/>
                </a:solidFill>
              </a:rPr>
              <a:t>20</a:t>
            </a:r>
            <a:r>
              <a:rPr lang="zh-CN" altLang="en-US" sz="900">
                <a:solidFill>
                  <a:schemeClr val="tx1"/>
                </a:solidFill>
              </a:rPr>
              <a:t>用户订购）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249555" y="161353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我的产线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231775" y="2004695"/>
            <a:ext cx="2049780" cy="2921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大数据对象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249555" y="2379980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微服务列表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231775" y="2774950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机器学习算法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222885" y="3191510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时序数据调用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564130" y="1228725"/>
            <a:ext cx="6038850" cy="2303145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4130" y="3531870"/>
            <a:ext cx="3792220" cy="13519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7"/>
          <p:cNvSpPr txBox="1"/>
          <p:nvPr/>
        </p:nvSpPr>
        <p:spPr>
          <a:xfrm>
            <a:off x="1793" y="62359"/>
            <a:ext cx="9109101" cy="349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58011" bIns="0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47053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94107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141160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188214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l" defTabSz="796925"/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 </a:t>
            </a:r>
            <a:r>
              <a:rPr lang="zh-CN" altLang="en-US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购买者 </a:t>
            </a:r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4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业互联网门户支持</a:t>
            </a:r>
            <a:endParaRPr lang="zh-CN" altLang="en-US" sz="14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6" name="直接连接符 15"/>
          <p:cNvCxnSpPr/>
          <p:nvPr/>
        </p:nvCxnSpPr>
        <p:spPr>
          <a:xfrm flipV="1">
            <a:off x="481965" y="63309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矩形 16"/>
          <p:cNvSpPr/>
          <p:nvPr/>
        </p:nvSpPr>
        <p:spPr>
          <a:xfrm>
            <a:off x="249555" y="633095"/>
            <a:ext cx="2085340" cy="427799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1" name="矩形 30"/>
          <p:cNvSpPr/>
          <p:nvPr/>
        </p:nvSpPr>
        <p:spPr>
          <a:xfrm>
            <a:off x="267335" y="701675"/>
            <a:ext cx="2049780" cy="2921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我的设备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cxnSp>
        <p:nvCxnSpPr>
          <p:cNvPr id="20" name="直接连接符 19"/>
          <p:cNvCxnSpPr/>
          <p:nvPr/>
        </p:nvCxnSpPr>
        <p:spPr>
          <a:xfrm flipV="1">
            <a:off x="688340" y="491045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圆角矩形 36"/>
          <p:cNvSpPr/>
          <p:nvPr/>
        </p:nvSpPr>
        <p:spPr>
          <a:xfrm>
            <a:off x="352425" y="1085215"/>
            <a:ext cx="1879600" cy="188849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grpSp>
        <p:nvGrpSpPr>
          <p:cNvPr id="41" name="组合 40"/>
          <p:cNvGrpSpPr/>
          <p:nvPr/>
        </p:nvGrpSpPr>
        <p:grpSpPr>
          <a:xfrm>
            <a:off x="604520" y="1248410"/>
            <a:ext cx="1456690" cy="1239520"/>
            <a:chOff x="847" y="3389"/>
            <a:chExt cx="2294" cy="1952"/>
          </a:xfrm>
        </p:grpSpPr>
        <p:sp>
          <p:nvSpPr>
            <p:cNvPr id="38" name="文本框 37"/>
            <p:cNvSpPr txBox="1"/>
            <p:nvPr/>
          </p:nvSpPr>
          <p:spPr>
            <a:xfrm>
              <a:off x="847" y="3389"/>
              <a:ext cx="2295" cy="1952"/>
            </a:xfrm>
            <a:prstGeom prst="rect">
              <a:avLst/>
            </a:prstGeom>
            <a:noFill/>
          </p:spPr>
          <p:txBody>
            <a:bodyPr wrap="none" rtlCol="0" anchor="ctr" anchorCtr="1">
              <a:noAutofit/>
            </a:bodyPr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我的设备</a:t>
              </a: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   胶州工厂</a:t>
              </a: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    黄岛厨电</a:t>
              </a: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         </a:t>
              </a:r>
              <a:r>
                <a:rPr lang="zh-CN" altLang="en-US" sz="900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en-US" altLang="zh-CN" sz="900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900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号机器人</a:t>
              </a:r>
              <a:endParaRPr lang="zh-CN" altLang="en-US" sz="9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39" name="直接连接符 38"/>
            <p:cNvCxnSpPr/>
            <p:nvPr/>
          </p:nvCxnSpPr>
          <p:spPr>
            <a:xfrm flipH="1">
              <a:off x="1406" y="3912"/>
              <a:ext cx="1" cy="65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连接符 39"/>
            <p:cNvCxnSpPr/>
            <p:nvPr/>
          </p:nvCxnSpPr>
          <p:spPr>
            <a:xfrm>
              <a:off x="1406" y="4109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接连接符 41"/>
            <p:cNvCxnSpPr/>
            <p:nvPr/>
          </p:nvCxnSpPr>
          <p:spPr>
            <a:xfrm flipH="1">
              <a:off x="1743" y="4690"/>
              <a:ext cx="1" cy="65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接连接符 43"/>
            <p:cNvCxnSpPr/>
            <p:nvPr/>
          </p:nvCxnSpPr>
          <p:spPr>
            <a:xfrm>
              <a:off x="1744" y="5016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直接连接符 44"/>
            <p:cNvCxnSpPr/>
            <p:nvPr/>
          </p:nvCxnSpPr>
          <p:spPr>
            <a:xfrm>
              <a:off x="1744" y="5341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接连接符 45"/>
            <p:cNvCxnSpPr/>
            <p:nvPr/>
          </p:nvCxnSpPr>
          <p:spPr>
            <a:xfrm>
              <a:off x="1406" y="4563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矩形 47"/>
          <p:cNvSpPr/>
          <p:nvPr/>
        </p:nvSpPr>
        <p:spPr>
          <a:xfrm>
            <a:off x="285115" y="322135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我的</a:t>
            </a:r>
            <a:r>
              <a:rPr lang="en-US" altLang="zh-CN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APP</a:t>
            </a:r>
            <a:endParaRPr lang="en-US" altLang="zh-CN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52" name="文本框 51"/>
          <p:cNvSpPr txBox="1"/>
          <p:nvPr/>
        </p:nvSpPr>
        <p:spPr>
          <a:xfrm>
            <a:off x="1379220" y="2339975"/>
            <a:ext cx="613410" cy="29654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en-US" altLang="zh-CN" sz="9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号机器人</a:t>
            </a:r>
            <a:endParaRPr lang="zh-CN" altLang="en-US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文本框 52"/>
          <p:cNvSpPr txBox="1"/>
          <p:nvPr/>
        </p:nvSpPr>
        <p:spPr>
          <a:xfrm>
            <a:off x="1379220" y="2566670"/>
            <a:ext cx="613410" cy="29654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en-US" altLang="zh-CN" sz="9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号冲压机</a:t>
            </a:r>
            <a:endParaRPr lang="zh-CN" altLang="en-US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1" name="图片 6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672080" y="798195"/>
            <a:ext cx="5639435" cy="3833495"/>
          </a:xfrm>
          <a:prstGeom prst="rect">
            <a:avLst/>
          </a:prstGeom>
        </p:spPr>
      </p:pic>
      <p:sp>
        <p:nvSpPr>
          <p:cNvPr id="62" name="六边形 61"/>
          <p:cNvSpPr/>
          <p:nvPr/>
        </p:nvSpPr>
        <p:spPr>
          <a:xfrm>
            <a:off x="322580" y="3573145"/>
            <a:ext cx="1847850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现代机器人码垛操作分析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63" name="六边形 62"/>
          <p:cNvSpPr/>
          <p:nvPr/>
        </p:nvSpPr>
        <p:spPr>
          <a:xfrm>
            <a:off x="322580" y="3869690"/>
            <a:ext cx="1847850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标准机器人运行效率分析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64" name="矩形 63"/>
          <p:cNvSpPr/>
          <p:nvPr/>
        </p:nvSpPr>
        <p:spPr>
          <a:xfrm>
            <a:off x="285115" y="444563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更多</a:t>
            </a:r>
            <a:r>
              <a:rPr lang="en-US" altLang="zh-CN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APP</a:t>
            </a:r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。。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7"/>
          <p:cNvSpPr txBox="1"/>
          <p:nvPr/>
        </p:nvSpPr>
        <p:spPr>
          <a:xfrm>
            <a:off x="1793" y="62359"/>
            <a:ext cx="9109101" cy="349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58011" bIns="0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47053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94107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141160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188214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l" defTabSz="796925"/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. </a:t>
            </a:r>
            <a:r>
              <a:rPr lang="zh-CN" altLang="en-US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应用购买者 </a:t>
            </a:r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-</a:t>
            </a:r>
            <a:r>
              <a:rPr lang="zh-CN" altLang="en-US" sz="14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工业互联网门户支持</a:t>
            </a:r>
            <a:endParaRPr lang="zh-CN" altLang="en-US" sz="14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cxnSp>
        <p:nvCxnSpPr>
          <p:cNvPr id="16" name="直接连接符 15"/>
          <p:cNvCxnSpPr/>
          <p:nvPr/>
        </p:nvCxnSpPr>
        <p:spPr>
          <a:xfrm flipV="1">
            <a:off x="481965" y="63309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矩形 16"/>
          <p:cNvSpPr/>
          <p:nvPr/>
        </p:nvSpPr>
        <p:spPr>
          <a:xfrm>
            <a:off x="249555" y="633095"/>
            <a:ext cx="2085340" cy="427799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1" name="矩形 30"/>
          <p:cNvSpPr/>
          <p:nvPr/>
        </p:nvSpPr>
        <p:spPr>
          <a:xfrm>
            <a:off x="267335" y="70167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我的设备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cxnSp>
        <p:nvCxnSpPr>
          <p:cNvPr id="20" name="直接连接符 19"/>
          <p:cNvCxnSpPr/>
          <p:nvPr/>
        </p:nvCxnSpPr>
        <p:spPr>
          <a:xfrm flipV="1">
            <a:off x="688340" y="491045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矩形 47"/>
          <p:cNvSpPr/>
          <p:nvPr/>
        </p:nvSpPr>
        <p:spPr>
          <a:xfrm>
            <a:off x="285115" y="1069340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我的</a:t>
            </a:r>
            <a:r>
              <a:rPr lang="en-US" altLang="zh-CN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APP</a:t>
            </a:r>
            <a:endParaRPr lang="en-US" altLang="zh-CN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62" name="六边形 61"/>
          <p:cNvSpPr/>
          <p:nvPr/>
        </p:nvSpPr>
        <p:spPr>
          <a:xfrm>
            <a:off x="322580" y="1421130"/>
            <a:ext cx="1847850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现代机器人码垛操作分析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63" name="六边形 62"/>
          <p:cNvSpPr/>
          <p:nvPr/>
        </p:nvSpPr>
        <p:spPr>
          <a:xfrm>
            <a:off x="322580" y="1717675"/>
            <a:ext cx="1847850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标准机器人运行效率分析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64" name="矩形 63"/>
          <p:cNvSpPr/>
          <p:nvPr/>
        </p:nvSpPr>
        <p:spPr>
          <a:xfrm>
            <a:off x="285115" y="2293620"/>
            <a:ext cx="2049780" cy="2921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更多</a:t>
            </a:r>
            <a:r>
              <a:rPr lang="en-US" altLang="zh-CN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APP</a:t>
            </a:r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。。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642235" y="701675"/>
            <a:ext cx="5408930" cy="2434590"/>
          </a:xfrm>
          <a:prstGeom prst="rect">
            <a:avLst/>
          </a:prstGeom>
        </p:spPr>
      </p:pic>
      <p:pic>
        <p:nvPicPr>
          <p:cNvPr id="104" name="图片 10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0985" y="3136265"/>
            <a:ext cx="2045335" cy="1656080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3" name="文本框 2"/>
          <p:cNvSpPr txBox="1"/>
          <p:nvPr/>
        </p:nvSpPr>
        <p:spPr>
          <a:xfrm>
            <a:off x="2733675" y="3468370"/>
            <a:ext cx="1407160" cy="914400"/>
          </a:xfrm>
          <a:prstGeom prst="rect">
            <a:avLst/>
          </a:prstGeom>
          <a:noFill/>
        </p:spPr>
        <p:txBody>
          <a:bodyPr wrap="none" rtlCol="0" anchor="ctr" anchorCtr="1">
            <a:noAutofit/>
            <a:scene3d>
              <a:camera prst="orthographicFront"/>
              <a:lightRig rig="threePt" dir="t"/>
            </a:scene3d>
          </a:bodyPr>
          <a:p>
            <a:pPr marL="285750" indent="-285750" algn="l">
              <a:buFont typeface="Wingdings" panose="05000000000000000000" charset="0"/>
              <a:buChar char="Ø"/>
            </a:pPr>
            <a:r>
              <a:rPr lang="zh-CN" altLang="en-US" sz="1200" b="1" dirty="0" smtClean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所有应用</a:t>
            </a:r>
            <a:endParaRPr lang="zh-CN" altLang="en-US" sz="1200" b="1" dirty="0" smtClean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7"/>
          <p:cNvSpPr txBox="1"/>
          <p:nvPr/>
        </p:nvSpPr>
        <p:spPr>
          <a:xfrm>
            <a:off x="1793" y="62359"/>
            <a:ext cx="9109101" cy="349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58011" bIns="0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47053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94107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141160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188214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l" defTabSz="796925"/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. </a:t>
            </a:r>
            <a:r>
              <a:rPr lang="zh-CN" altLang="en-US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平台运营者 </a:t>
            </a:r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-</a:t>
            </a:r>
            <a:r>
              <a:rPr lang="zh-CN" altLang="en-US" sz="14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海尔智研院</a:t>
            </a:r>
            <a:endParaRPr lang="zh-CN" altLang="en-US" sz="14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cxnSp>
        <p:nvCxnSpPr>
          <p:cNvPr id="10" name="直接连接符 9"/>
          <p:cNvCxnSpPr/>
          <p:nvPr/>
        </p:nvCxnSpPr>
        <p:spPr>
          <a:xfrm flipV="1">
            <a:off x="481965" y="63309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/>
          <p:cNvSpPr/>
          <p:nvPr/>
        </p:nvSpPr>
        <p:spPr>
          <a:xfrm>
            <a:off x="249555" y="633095"/>
            <a:ext cx="2085340" cy="427799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4" name="矩形 23"/>
          <p:cNvSpPr/>
          <p:nvPr/>
        </p:nvSpPr>
        <p:spPr>
          <a:xfrm>
            <a:off x="241300" y="122872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平台资源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241300" y="817245"/>
            <a:ext cx="2049780" cy="2921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用户及资源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cxnSp>
        <p:nvCxnSpPr>
          <p:cNvPr id="4" name="直接连接符 3"/>
          <p:cNvCxnSpPr/>
          <p:nvPr/>
        </p:nvCxnSpPr>
        <p:spPr>
          <a:xfrm flipV="1">
            <a:off x="688340" y="491045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圆角矩形 4"/>
          <p:cNvSpPr/>
          <p:nvPr/>
        </p:nvSpPr>
        <p:spPr>
          <a:xfrm>
            <a:off x="2435860" y="1109345"/>
            <a:ext cx="6395085" cy="360045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7" name="文本框 6"/>
          <p:cNvSpPr txBox="1"/>
          <p:nvPr/>
        </p:nvSpPr>
        <p:spPr>
          <a:xfrm>
            <a:off x="2506345" y="1151890"/>
            <a:ext cx="638175" cy="27495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User1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六边形 7"/>
          <p:cNvSpPr/>
          <p:nvPr/>
        </p:nvSpPr>
        <p:spPr>
          <a:xfrm>
            <a:off x="3144520" y="1165860"/>
            <a:ext cx="1641475" cy="247015"/>
          </a:xfrm>
          <a:prstGeom prst="hexagon">
            <a:avLst/>
          </a:prstGeom>
          <a:solidFill>
            <a:schemeClr val="accent4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tx1"/>
                </a:solidFill>
              </a:rPr>
              <a:t>CPU  4</a:t>
            </a:r>
            <a:r>
              <a:rPr lang="zh-CN" altLang="en-US" sz="900">
                <a:solidFill>
                  <a:schemeClr val="tx1"/>
                </a:solidFill>
              </a:rPr>
              <a:t>核    </a:t>
            </a:r>
            <a:r>
              <a:rPr lang="en-US" altLang="zh-CN" sz="900">
                <a:solidFill>
                  <a:schemeClr val="tx1"/>
                </a:solidFill>
              </a:rPr>
              <a:t>3G </a:t>
            </a:r>
            <a:r>
              <a:rPr lang="zh-CN" altLang="en-US" sz="900">
                <a:solidFill>
                  <a:schemeClr val="tx1"/>
                </a:solidFill>
              </a:rPr>
              <a:t>内存   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9" name="六边形 8"/>
          <p:cNvSpPr/>
          <p:nvPr/>
        </p:nvSpPr>
        <p:spPr>
          <a:xfrm>
            <a:off x="4962525" y="1165860"/>
            <a:ext cx="1630680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厨电工厂产线监控（</a:t>
            </a:r>
            <a:r>
              <a:rPr lang="en-US" altLang="zh-CN" sz="900">
                <a:solidFill>
                  <a:schemeClr val="tx1"/>
                </a:solidFill>
              </a:rPr>
              <a:t>30</a:t>
            </a:r>
            <a:r>
              <a:rPr lang="zh-CN" altLang="en-US" sz="900">
                <a:solidFill>
                  <a:schemeClr val="tx1"/>
                </a:solidFill>
              </a:rPr>
              <a:t>用户订购     ）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11" name="六边形 10"/>
          <p:cNvSpPr/>
          <p:nvPr/>
        </p:nvSpPr>
        <p:spPr>
          <a:xfrm>
            <a:off x="6842125" y="1165860"/>
            <a:ext cx="1847850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现代机器人码垛操作分析</a:t>
            </a:r>
            <a:endParaRPr lang="zh-CN" altLang="en-US" sz="900">
              <a:solidFill>
                <a:schemeClr val="tx1"/>
              </a:solidFill>
            </a:endParaRPr>
          </a:p>
          <a:p>
            <a:pPr algn="ctr"/>
            <a:r>
              <a:rPr lang="zh-CN" altLang="en-US" sz="900">
                <a:solidFill>
                  <a:schemeClr val="tx1"/>
                </a:solidFill>
              </a:rPr>
              <a:t>（</a:t>
            </a:r>
            <a:r>
              <a:rPr lang="en-US" altLang="zh-CN" sz="900">
                <a:solidFill>
                  <a:schemeClr val="tx1"/>
                </a:solidFill>
              </a:rPr>
              <a:t>20</a:t>
            </a:r>
            <a:r>
              <a:rPr lang="zh-CN" altLang="en-US" sz="900">
                <a:solidFill>
                  <a:schemeClr val="tx1"/>
                </a:solidFill>
              </a:rPr>
              <a:t>用户订购）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249555" y="161353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APP</a:t>
            </a:r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应用分析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241300" y="200469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模型</a:t>
            </a:r>
            <a:r>
              <a:rPr lang="en-US" altLang="zh-CN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&amp;APP</a:t>
            </a:r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管理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223520" y="239966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服务资源分析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214630" y="281622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时序数据资源分析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2565400" y="734060"/>
            <a:ext cx="1535430" cy="27495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开发者资源 列表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圆角矩形 24"/>
          <p:cNvSpPr/>
          <p:nvPr/>
        </p:nvSpPr>
        <p:spPr>
          <a:xfrm>
            <a:off x="2465705" y="1464310"/>
            <a:ext cx="6395085" cy="360045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6" name="文本框 25"/>
          <p:cNvSpPr txBox="1"/>
          <p:nvPr/>
        </p:nvSpPr>
        <p:spPr>
          <a:xfrm>
            <a:off x="2536190" y="1506855"/>
            <a:ext cx="638175" cy="27495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User2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六边形 26"/>
          <p:cNvSpPr/>
          <p:nvPr/>
        </p:nvSpPr>
        <p:spPr>
          <a:xfrm>
            <a:off x="3174365" y="1520825"/>
            <a:ext cx="1641475" cy="247015"/>
          </a:xfrm>
          <a:prstGeom prst="hexagon">
            <a:avLst/>
          </a:prstGeom>
          <a:solidFill>
            <a:schemeClr val="accent4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tx1"/>
                </a:solidFill>
              </a:rPr>
              <a:t>CPU  4</a:t>
            </a:r>
            <a:r>
              <a:rPr lang="zh-CN" altLang="en-US" sz="900">
                <a:solidFill>
                  <a:schemeClr val="tx1"/>
                </a:solidFill>
              </a:rPr>
              <a:t>核    </a:t>
            </a:r>
            <a:r>
              <a:rPr lang="en-US" altLang="zh-CN" sz="900">
                <a:solidFill>
                  <a:schemeClr val="tx1"/>
                </a:solidFill>
              </a:rPr>
              <a:t>3G </a:t>
            </a:r>
            <a:r>
              <a:rPr lang="zh-CN" altLang="en-US" sz="900">
                <a:solidFill>
                  <a:schemeClr val="tx1"/>
                </a:solidFill>
              </a:rPr>
              <a:t>内存   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28" name="六边形 27"/>
          <p:cNvSpPr/>
          <p:nvPr/>
        </p:nvSpPr>
        <p:spPr>
          <a:xfrm>
            <a:off x="4992370" y="1520825"/>
            <a:ext cx="1630680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厨电工厂产线监控（</a:t>
            </a:r>
            <a:r>
              <a:rPr lang="en-US" altLang="zh-CN" sz="900">
                <a:solidFill>
                  <a:schemeClr val="tx1"/>
                </a:solidFill>
              </a:rPr>
              <a:t>30</a:t>
            </a:r>
            <a:r>
              <a:rPr lang="zh-CN" altLang="en-US" sz="900">
                <a:solidFill>
                  <a:schemeClr val="tx1"/>
                </a:solidFill>
              </a:rPr>
              <a:t>用户订购     ）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30" name="六边形 29"/>
          <p:cNvSpPr/>
          <p:nvPr/>
        </p:nvSpPr>
        <p:spPr>
          <a:xfrm>
            <a:off x="6871970" y="1520825"/>
            <a:ext cx="1847850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现代机器人码垛操作分析</a:t>
            </a:r>
            <a:endParaRPr lang="zh-CN" altLang="en-US" sz="900">
              <a:solidFill>
                <a:schemeClr val="tx1"/>
              </a:solidFill>
            </a:endParaRPr>
          </a:p>
          <a:p>
            <a:pPr algn="ctr"/>
            <a:r>
              <a:rPr lang="zh-CN" altLang="en-US" sz="900">
                <a:solidFill>
                  <a:schemeClr val="tx1"/>
                </a:solidFill>
              </a:rPr>
              <a:t>（</a:t>
            </a:r>
            <a:r>
              <a:rPr lang="en-US" altLang="zh-CN" sz="900">
                <a:solidFill>
                  <a:schemeClr val="tx1"/>
                </a:solidFill>
              </a:rPr>
              <a:t>20</a:t>
            </a:r>
            <a:r>
              <a:rPr lang="zh-CN" altLang="en-US" sz="900">
                <a:solidFill>
                  <a:schemeClr val="tx1"/>
                </a:solidFill>
              </a:rPr>
              <a:t>用户订购）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32" name="圆角矩形 31"/>
          <p:cNvSpPr/>
          <p:nvPr/>
        </p:nvSpPr>
        <p:spPr>
          <a:xfrm>
            <a:off x="2435860" y="1809750"/>
            <a:ext cx="6395085" cy="360045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3" name="文本框 32"/>
          <p:cNvSpPr txBox="1"/>
          <p:nvPr/>
        </p:nvSpPr>
        <p:spPr>
          <a:xfrm>
            <a:off x="2506345" y="1852295"/>
            <a:ext cx="638175" cy="27495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User3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六边形 33"/>
          <p:cNvSpPr/>
          <p:nvPr/>
        </p:nvSpPr>
        <p:spPr>
          <a:xfrm>
            <a:off x="3144520" y="1866265"/>
            <a:ext cx="1641475" cy="247015"/>
          </a:xfrm>
          <a:prstGeom prst="hexagon">
            <a:avLst/>
          </a:prstGeom>
          <a:solidFill>
            <a:schemeClr val="accent4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900">
                <a:solidFill>
                  <a:schemeClr val="tx1"/>
                </a:solidFill>
              </a:rPr>
              <a:t>CPU  4</a:t>
            </a:r>
            <a:r>
              <a:rPr lang="zh-CN" altLang="en-US" sz="900">
                <a:solidFill>
                  <a:schemeClr val="tx1"/>
                </a:solidFill>
              </a:rPr>
              <a:t>核    </a:t>
            </a:r>
            <a:r>
              <a:rPr lang="en-US" altLang="zh-CN" sz="900">
                <a:solidFill>
                  <a:schemeClr val="tx1"/>
                </a:solidFill>
              </a:rPr>
              <a:t>3G </a:t>
            </a:r>
            <a:r>
              <a:rPr lang="zh-CN" altLang="en-US" sz="900">
                <a:solidFill>
                  <a:schemeClr val="tx1"/>
                </a:solidFill>
              </a:rPr>
              <a:t>内存   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35" name="六边形 34"/>
          <p:cNvSpPr/>
          <p:nvPr/>
        </p:nvSpPr>
        <p:spPr>
          <a:xfrm>
            <a:off x="4962525" y="1866265"/>
            <a:ext cx="1630680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厨电工厂产线监控（</a:t>
            </a:r>
            <a:r>
              <a:rPr lang="en-US" altLang="zh-CN" sz="900">
                <a:solidFill>
                  <a:schemeClr val="tx1"/>
                </a:solidFill>
              </a:rPr>
              <a:t>30</a:t>
            </a:r>
            <a:r>
              <a:rPr lang="zh-CN" altLang="en-US" sz="900">
                <a:solidFill>
                  <a:schemeClr val="tx1"/>
                </a:solidFill>
              </a:rPr>
              <a:t>用户订购     ）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36" name="六边形 35"/>
          <p:cNvSpPr/>
          <p:nvPr/>
        </p:nvSpPr>
        <p:spPr>
          <a:xfrm>
            <a:off x="6842125" y="1866265"/>
            <a:ext cx="1847850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现代机器人码垛操作分析</a:t>
            </a:r>
            <a:endParaRPr lang="zh-CN" altLang="en-US" sz="900">
              <a:solidFill>
                <a:schemeClr val="tx1"/>
              </a:solidFill>
            </a:endParaRPr>
          </a:p>
          <a:p>
            <a:pPr algn="ctr"/>
            <a:r>
              <a:rPr lang="zh-CN" altLang="en-US" sz="900">
                <a:solidFill>
                  <a:schemeClr val="tx1"/>
                </a:solidFill>
              </a:rPr>
              <a:t>（</a:t>
            </a:r>
            <a:r>
              <a:rPr lang="en-US" altLang="zh-CN" sz="900">
                <a:solidFill>
                  <a:schemeClr val="tx1"/>
                </a:solidFill>
              </a:rPr>
              <a:t>20</a:t>
            </a:r>
            <a:r>
              <a:rPr lang="zh-CN" altLang="en-US" sz="900">
                <a:solidFill>
                  <a:schemeClr val="tx1"/>
                </a:solidFill>
              </a:rPr>
              <a:t>用户订购）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37" name="文本框 36"/>
          <p:cNvSpPr txBox="1"/>
          <p:nvPr/>
        </p:nvSpPr>
        <p:spPr>
          <a:xfrm>
            <a:off x="2536190" y="2434590"/>
            <a:ext cx="874395" cy="27495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用户 列表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41" name="表格 40"/>
          <p:cNvGraphicFramePr/>
          <p:nvPr/>
        </p:nvGraphicFramePr>
        <p:xfrm>
          <a:off x="2536190" y="2816225"/>
          <a:ext cx="6400165" cy="152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7010"/>
                <a:gridCol w="1082040"/>
                <a:gridCol w="1279525"/>
                <a:gridCol w="1279525"/>
                <a:gridCol w="1279525"/>
              </a:tblGrid>
              <a:tr h="38100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200"/>
                        <a:t>客户</a:t>
                      </a:r>
                      <a:endParaRPr lang="zh-CN" altLang="en-US" sz="120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200"/>
                        <a:t>设备数量</a:t>
                      </a:r>
                      <a:endParaRPr lang="zh-CN" altLang="en-US" sz="120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200"/>
                        <a:t>APP</a:t>
                      </a:r>
                      <a:r>
                        <a:rPr lang="zh-CN" altLang="en-US" sz="1200"/>
                        <a:t>量</a:t>
                      </a:r>
                      <a:endParaRPr lang="zh-CN" altLang="en-US" sz="120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200"/>
                        <a:t>访问次数</a:t>
                      </a:r>
                      <a:endParaRPr lang="zh-CN" altLang="en-US" sz="120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200"/>
                        <a:t>用户粘度指数</a:t>
                      </a:r>
                      <a:endParaRPr lang="zh-CN" altLang="en-US" sz="1200"/>
                    </a:p>
                  </a:txBody>
                  <a:tcPr>
                    <a:solidFill>
                      <a:schemeClr val="accent4"/>
                    </a:solidFill>
                  </a:tcPr>
                </a:tc>
              </a:tr>
              <a:tr h="38100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200"/>
                        <a:t>海尔厨电工厂</a:t>
                      </a:r>
                      <a:endParaRPr lang="zh-CN" altLang="en-US" sz="1200"/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200"/>
                        <a:t>23</a:t>
                      </a:r>
                      <a:endParaRPr lang="en-US" altLang="zh-CN" sz="1200"/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200"/>
                        <a:t>12</a:t>
                      </a:r>
                      <a:endParaRPr lang="en-US" altLang="zh-CN" sz="1200"/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200"/>
                        <a:t>1223</a:t>
                      </a:r>
                      <a:endParaRPr lang="en-US" altLang="zh-CN" sz="1200"/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200"/>
                        <a:t>90%</a:t>
                      </a:r>
                      <a:endParaRPr lang="en-US" altLang="zh-CN" sz="1200"/>
                    </a:p>
                  </a:txBody>
                  <a:tcPr>
                    <a:solidFill>
                      <a:schemeClr val="bg2"/>
                    </a:solidFill>
                  </a:tcPr>
                </a:tc>
              </a:tr>
              <a:tr h="38100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200"/>
                        <a:t>天津波轮工厂</a:t>
                      </a:r>
                      <a:endParaRPr lang="zh-CN" altLang="en-US" sz="1200"/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200"/>
                        <a:t>122</a:t>
                      </a:r>
                      <a:endParaRPr lang="en-US" altLang="zh-CN" sz="1200"/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200"/>
                        <a:t>4</a:t>
                      </a:r>
                      <a:endParaRPr lang="en-US" altLang="zh-CN" sz="1200"/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200"/>
                        <a:t>3342</a:t>
                      </a:r>
                      <a:endParaRPr lang="en-US" altLang="zh-CN" sz="1200"/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200"/>
                        <a:t>78%</a:t>
                      </a:r>
                      <a:endParaRPr lang="en-US" altLang="zh-CN" sz="1200"/>
                    </a:p>
                  </a:txBody>
                  <a:tcPr>
                    <a:solidFill>
                      <a:schemeClr val="bg2"/>
                    </a:solidFill>
                  </a:tcPr>
                </a:tc>
              </a:tr>
              <a:tr h="38100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200"/>
                        <a:t>北京奔驰汽车</a:t>
                      </a:r>
                      <a:endParaRPr lang="zh-CN" altLang="en-US" sz="1200"/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200"/>
                        <a:t>341</a:t>
                      </a:r>
                      <a:endParaRPr lang="en-US" altLang="zh-CN" sz="1200"/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200"/>
                        <a:t>3</a:t>
                      </a:r>
                      <a:endParaRPr lang="en-US" altLang="zh-CN" sz="1200"/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200"/>
                        <a:t>223</a:t>
                      </a:r>
                      <a:endParaRPr lang="en-US" altLang="zh-CN" sz="1200"/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200"/>
                        <a:t>60%</a:t>
                      </a:r>
                      <a:endParaRPr lang="en-US" altLang="zh-CN" sz="1200"/>
                    </a:p>
                  </a:txBody>
                  <a:tcPr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7"/>
          <p:cNvSpPr txBox="1"/>
          <p:nvPr/>
        </p:nvSpPr>
        <p:spPr>
          <a:xfrm>
            <a:off x="1793" y="62359"/>
            <a:ext cx="9109101" cy="349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58011" bIns="0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47053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94107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141160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188214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l" defTabSz="796925"/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. </a:t>
            </a:r>
            <a:r>
              <a:rPr lang="zh-CN" altLang="en-US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平台运营者 </a:t>
            </a:r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-</a:t>
            </a:r>
            <a:r>
              <a:rPr lang="zh-CN" altLang="en-US" sz="14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海尔智研院</a:t>
            </a:r>
            <a:endParaRPr lang="zh-CN" altLang="en-US" sz="14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cxnSp>
        <p:nvCxnSpPr>
          <p:cNvPr id="10" name="直接连接符 9"/>
          <p:cNvCxnSpPr/>
          <p:nvPr/>
        </p:nvCxnSpPr>
        <p:spPr>
          <a:xfrm flipV="1">
            <a:off x="481965" y="63309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/>
          <p:cNvSpPr/>
          <p:nvPr/>
        </p:nvSpPr>
        <p:spPr>
          <a:xfrm>
            <a:off x="249555" y="633095"/>
            <a:ext cx="2085340" cy="427799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4" name="矩形 23"/>
          <p:cNvSpPr/>
          <p:nvPr/>
        </p:nvSpPr>
        <p:spPr>
          <a:xfrm>
            <a:off x="249555" y="1249045"/>
            <a:ext cx="2049780" cy="2921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平台资源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241300" y="817245"/>
            <a:ext cx="2049780" cy="2921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用户及资源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cxnSp>
        <p:nvCxnSpPr>
          <p:cNvPr id="4" name="直接连接符 3"/>
          <p:cNvCxnSpPr/>
          <p:nvPr/>
        </p:nvCxnSpPr>
        <p:spPr>
          <a:xfrm flipV="1">
            <a:off x="688340" y="491045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矩形 42"/>
          <p:cNvSpPr/>
          <p:nvPr/>
        </p:nvSpPr>
        <p:spPr>
          <a:xfrm>
            <a:off x="249555" y="161353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APP</a:t>
            </a:r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应用分析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241300" y="200469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平台设备管理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223520" y="239966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服务资源分析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214630" y="281622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时序数据资源分析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37" name="文本框 36"/>
          <p:cNvSpPr txBox="1"/>
          <p:nvPr/>
        </p:nvSpPr>
        <p:spPr>
          <a:xfrm>
            <a:off x="2486660" y="817245"/>
            <a:ext cx="874395" cy="27495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资源使用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" name="图表 1"/>
          <p:cNvGraphicFramePr/>
          <p:nvPr/>
        </p:nvGraphicFramePr>
        <p:xfrm>
          <a:off x="2605405" y="1249045"/>
          <a:ext cx="1838325" cy="1681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3" name="图表 2"/>
          <p:cNvGraphicFramePr/>
          <p:nvPr/>
        </p:nvGraphicFramePr>
        <p:xfrm>
          <a:off x="2604770" y="3196590"/>
          <a:ext cx="1850390" cy="1282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2" name="直接连接符 11"/>
          <p:cNvCxnSpPr/>
          <p:nvPr/>
        </p:nvCxnSpPr>
        <p:spPr>
          <a:xfrm flipH="1">
            <a:off x="4716145" y="1233805"/>
            <a:ext cx="1905" cy="32816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图表 15"/>
          <p:cNvGraphicFramePr/>
          <p:nvPr/>
        </p:nvGraphicFramePr>
        <p:xfrm>
          <a:off x="4994275" y="1249045"/>
          <a:ext cx="1838325" cy="1681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图表 16"/>
          <p:cNvGraphicFramePr/>
          <p:nvPr/>
        </p:nvGraphicFramePr>
        <p:xfrm>
          <a:off x="4993640" y="3196590"/>
          <a:ext cx="1850390" cy="1282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8" name="直接连接符 17"/>
          <p:cNvCxnSpPr/>
          <p:nvPr/>
        </p:nvCxnSpPr>
        <p:spPr>
          <a:xfrm flipH="1">
            <a:off x="7105015" y="1233805"/>
            <a:ext cx="1905" cy="32816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文本框 18"/>
          <p:cNvSpPr txBox="1"/>
          <p:nvPr/>
        </p:nvSpPr>
        <p:spPr>
          <a:xfrm>
            <a:off x="7277735" y="1233805"/>
            <a:ext cx="1585595" cy="254317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l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报警：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9:20   </a:t>
            </a: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容器进程失败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9:31   CPU</a:t>
            </a: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预警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。。。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7"/>
          <p:cNvSpPr txBox="1"/>
          <p:nvPr/>
        </p:nvSpPr>
        <p:spPr>
          <a:xfrm>
            <a:off x="1793" y="62359"/>
            <a:ext cx="9109101" cy="349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58011" bIns="0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47053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94107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141160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188214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l" defTabSz="796925"/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. </a:t>
            </a:r>
            <a:r>
              <a:rPr lang="zh-CN" altLang="en-US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平台运营者 </a:t>
            </a:r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-</a:t>
            </a:r>
            <a:r>
              <a:rPr lang="zh-CN" altLang="en-US" sz="14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海尔智研院</a:t>
            </a:r>
            <a:endParaRPr lang="zh-CN" altLang="en-US" sz="14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cxnSp>
        <p:nvCxnSpPr>
          <p:cNvPr id="10" name="直接连接符 9"/>
          <p:cNvCxnSpPr/>
          <p:nvPr/>
        </p:nvCxnSpPr>
        <p:spPr>
          <a:xfrm flipV="1">
            <a:off x="481965" y="63309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/>
          <p:cNvSpPr/>
          <p:nvPr/>
        </p:nvSpPr>
        <p:spPr>
          <a:xfrm>
            <a:off x="249555" y="633095"/>
            <a:ext cx="2085340" cy="427799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4" name="矩形 23"/>
          <p:cNvSpPr/>
          <p:nvPr/>
        </p:nvSpPr>
        <p:spPr>
          <a:xfrm>
            <a:off x="241300" y="122872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平台资源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241300" y="817245"/>
            <a:ext cx="2049780" cy="2921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用户及资源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cxnSp>
        <p:nvCxnSpPr>
          <p:cNvPr id="4" name="直接连接符 3"/>
          <p:cNvCxnSpPr/>
          <p:nvPr/>
        </p:nvCxnSpPr>
        <p:spPr>
          <a:xfrm flipV="1">
            <a:off x="688340" y="491045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圆角矩形 4"/>
          <p:cNvSpPr/>
          <p:nvPr/>
        </p:nvSpPr>
        <p:spPr>
          <a:xfrm>
            <a:off x="2435860" y="1109345"/>
            <a:ext cx="5989320" cy="2728595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7" name="文本框 6"/>
          <p:cNvSpPr txBox="1"/>
          <p:nvPr/>
        </p:nvSpPr>
        <p:spPr>
          <a:xfrm>
            <a:off x="2524760" y="734060"/>
            <a:ext cx="1101725" cy="27495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用排名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249555" y="1613535"/>
            <a:ext cx="2049780" cy="292100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APP</a:t>
            </a:r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应用分析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241300" y="200469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平台设备管理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223520" y="239966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服务资源分析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214630" y="281622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时序数据资源分析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graphicFrame>
        <p:nvGraphicFramePr>
          <p:cNvPr id="2" name="表格 1"/>
          <p:cNvGraphicFramePr/>
          <p:nvPr/>
        </p:nvGraphicFramePr>
        <p:xfrm>
          <a:off x="2813685" y="1209675"/>
          <a:ext cx="5227320" cy="23964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39290"/>
                <a:gridCol w="736600"/>
                <a:gridCol w="1026160"/>
                <a:gridCol w="762635"/>
                <a:gridCol w="762635"/>
              </a:tblGrid>
              <a:tr h="51943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名称</a:t>
                      </a:r>
                      <a:endParaRPr lang="zh-CN" altLang="en-US" sz="9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购买量</a:t>
                      </a:r>
                      <a:endParaRPr lang="zh-CN" altLang="en-US" sz="9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者</a:t>
                      </a:r>
                      <a:endParaRPr lang="zh-CN" altLang="en-US" sz="9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排名</a:t>
                      </a:r>
                      <a:endParaRPr lang="zh-CN" altLang="en-US" sz="9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类型</a:t>
                      </a:r>
                      <a:endParaRPr lang="zh-CN" altLang="en-US" sz="9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37528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现代机器人效率分析 </a:t>
                      </a: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V1.0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31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北京现代机器人制造商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设备管理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37592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用机器人管理平台（</a:t>
                      </a: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for  </a:t>
                      </a: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车间）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42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北京和利时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设备管理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37528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厨电车间 冲压产线 能耗管理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3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海尔黄岛厨电工厂信息化组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线管理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37528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综合机器人能耗大数据分析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2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清华大学机器人研究院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设备管理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37528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。。。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。。。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。。。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79512" y="623342"/>
            <a:ext cx="8784976" cy="457200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lstStyle/>
          <a:p>
            <a:pPr algn="ctr"/>
            <a:r>
              <a:rPr lang="zh-CN" altLang="en-US" sz="3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宗旨</a:t>
            </a:r>
            <a:endParaRPr lang="zh-CN" altLang="en-US" sz="3200" b="1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39552" y="1101874"/>
            <a:ext cx="7992888" cy="914400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lstStyle/>
          <a:p>
            <a:pPr algn="ctr"/>
            <a:r>
              <a:rPr lang="zh-CN" altLang="en-US" sz="28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 </a:t>
            </a:r>
            <a:r>
              <a:rPr lang="en-US" altLang="zh-CN" sz="28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iaCloud-PaaS</a:t>
            </a:r>
            <a:r>
              <a:rPr lang="zh-CN" altLang="en-US" sz="28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的落地服务能力 </a:t>
            </a:r>
            <a:endParaRPr lang="zh-CN" altLang="en-US" sz="28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79512" y="2258566"/>
            <a:ext cx="8784976" cy="457200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lstStyle/>
          <a:p>
            <a:pPr algn="ctr"/>
            <a:r>
              <a:rPr lang="zh-CN" altLang="en-US" sz="3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目标</a:t>
            </a:r>
            <a:endParaRPr lang="zh-CN" altLang="en-US" sz="3200" b="1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39552" y="2499866"/>
            <a:ext cx="8280920" cy="2016224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海尔工业互联网门户</a:t>
            </a:r>
            <a:r>
              <a:rPr lang="en-US" altLang="zh-CN" sz="2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2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为标准</a:t>
            </a:r>
            <a:endParaRPr lang="zh-CN" altLang="en-US" sz="24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2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面向不同类型开发者 落地的服务</a:t>
            </a:r>
            <a:endParaRPr lang="zh-CN" altLang="en-US" sz="24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2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单，易用，可视化</a:t>
            </a:r>
            <a:endParaRPr lang="zh-CN" altLang="en-US" sz="24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7"/>
          <p:cNvSpPr txBox="1"/>
          <p:nvPr/>
        </p:nvSpPr>
        <p:spPr>
          <a:xfrm>
            <a:off x="1793" y="62359"/>
            <a:ext cx="9109101" cy="349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58011" bIns="0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47053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94107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141160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188214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l" defTabSz="796925"/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. </a:t>
            </a:r>
            <a:r>
              <a:rPr lang="zh-CN" altLang="en-US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平台运营者 </a:t>
            </a:r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-</a:t>
            </a:r>
            <a:r>
              <a:rPr lang="zh-CN" altLang="en-US" sz="14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海尔智研院</a:t>
            </a:r>
            <a:endParaRPr lang="zh-CN" altLang="en-US" sz="14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cxnSp>
        <p:nvCxnSpPr>
          <p:cNvPr id="10" name="直接连接符 9"/>
          <p:cNvCxnSpPr/>
          <p:nvPr/>
        </p:nvCxnSpPr>
        <p:spPr>
          <a:xfrm flipV="1">
            <a:off x="481965" y="63309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/>
          <p:cNvSpPr/>
          <p:nvPr/>
        </p:nvSpPr>
        <p:spPr>
          <a:xfrm>
            <a:off x="249555" y="633095"/>
            <a:ext cx="2085340" cy="427799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4" name="矩形 23"/>
          <p:cNvSpPr/>
          <p:nvPr/>
        </p:nvSpPr>
        <p:spPr>
          <a:xfrm>
            <a:off x="241300" y="122872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平台资源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241300" y="817245"/>
            <a:ext cx="2049780" cy="2921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用户及资源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cxnSp>
        <p:nvCxnSpPr>
          <p:cNvPr id="4" name="直接连接符 3"/>
          <p:cNvCxnSpPr/>
          <p:nvPr/>
        </p:nvCxnSpPr>
        <p:spPr>
          <a:xfrm flipV="1">
            <a:off x="688340" y="491045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圆角矩形 4"/>
          <p:cNvSpPr/>
          <p:nvPr/>
        </p:nvSpPr>
        <p:spPr>
          <a:xfrm>
            <a:off x="2435860" y="1109345"/>
            <a:ext cx="5526405" cy="360045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43" name="矩形 42"/>
          <p:cNvSpPr/>
          <p:nvPr/>
        </p:nvSpPr>
        <p:spPr>
          <a:xfrm>
            <a:off x="249555" y="161353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APP</a:t>
            </a:r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应用分析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241300" y="2004695"/>
            <a:ext cx="2049780" cy="292100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平台设备管理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223520" y="239966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服务资源分析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214630" y="281622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时序数据资源分析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graphicFrame>
        <p:nvGraphicFramePr>
          <p:cNvPr id="2" name="表格 1"/>
          <p:cNvGraphicFramePr/>
          <p:nvPr/>
        </p:nvGraphicFramePr>
        <p:xfrm>
          <a:off x="2534920" y="1613535"/>
          <a:ext cx="5684520" cy="23704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6905"/>
                <a:gridCol w="2020570"/>
                <a:gridCol w="588645"/>
                <a:gridCol w="1228725"/>
                <a:gridCol w="446405"/>
                <a:gridCol w="763270"/>
              </a:tblGrid>
              <a:tr h="29210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设备类型编号</a:t>
                      </a:r>
                      <a:endParaRPr lang="zh-CN" altLang="en-US" sz="9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设备名称</a:t>
                      </a:r>
                      <a:endParaRPr lang="zh-CN" altLang="en-US" sz="9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户数</a:t>
                      </a:r>
                      <a:endParaRPr lang="zh-CN" altLang="en-US" sz="9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归属</a:t>
                      </a:r>
                      <a:endParaRPr lang="zh-CN" altLang="en-US" sz="9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设备数量</a:t>
                      </a:r>
                      <a:endParaRPr lang="zh-CN" altLang="en-US" sz="9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PP</a:t>
                      </a:r>
                      <a:r>
                        <a:rPr lang="zh-CN" altLang="en-US" sz="9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应用</a:t>
                      </a:r>
                      <a:endParaRPr lang="zh-CN" altLang="en-US" sz="90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375285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33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现代机器人 </a:t>
                      </a: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代</a:t>
                      </a: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EC21</a:t>
                      </a: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型号 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海尔厨电工厂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375920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11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现代机器人 </a:t>
                      </a: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6</a:t>
                      </a: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代</a:t>
                      </a: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-EC21</a:t>
                      </a: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型号 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+mn-ea"/>
                      </a:endParaRPr>
                    </a:p>
                    <a:p>
                      <a:pPr>
                        <a:buNone/>
                      </a:pP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海尔空调工厂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502920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332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注塑机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海尔黄岛厨电工厂 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375285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32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BB</a:t>
                      </a: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机器人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海尔厨电工厂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375285">
                <a:tc>
                  <a:txBody>
                    <a:bodyPr/>
                    <a:p>
                      <a:pPr>
                        <a:buNone/>
                      </a:pP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。。。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。。。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endParaRPr lang="en-US" altLang="zh-CN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90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。。。</a:t>
                      </a:r>
                      <a:endParaRPr lang="zh-CN" altLang="en-US" sz="9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2534920" y="1151890"/>
            <a:ext cx="1101725" cy="27495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设备查询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3954780" y="1217295"/>
            <a:ext cx="791845" cy="143510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accent1">
                <a:shade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6" name="矩形 15"/>
          <p:cNvSpPr/>
          <p:nvPr/>
        </p:nvSpPr>
        <p:spPr>
          <a:xfrm>
            <a:off x="4893310" y="1217295"/>
            <a:ext cx="791845" cy="143510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accent1">
                <a:shade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7" name="文本框 6"/>
          <p:cNvSpPr txBox="1"/>
          <p:nvPr/>
        </p:nvSpPr>
        <p:spPr>
          <a:xfrm>
            <a:off x="6660515" y="1151255"/>
            <a:ext cx="1101725" cy="274955"/>
          </a:xfrm>
          <a:prstGeom prst="rect">
            <a:avLst/>
          </a:prstGeom>
          <a:solidFill>
            <a:schemeClr val="accent6"/>
          </a:solidFill>
        </p:spPr>
        <p:txBody>
          <a:bodyPr wrap="none" rtlCol="0" anchor="ctr" anchorCtr="1">
            <a:noAutofit/>
          </a:bodyPr>
          <a:p>
            <a:pPr algn="ctr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设备权限分配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7"/>
          <p:cNvSpPr txBox="1"/>
          <p:nvPr/>
        </p:nvSpPr>
        <p:spPr>
          <a:xfrm>
            <a:off x="1793" y="62359"/>
            <a:ext cx="9109101" cy="349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58011" bIns="0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47053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94107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141160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188214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l" defTabSz="796925"/>
            <a:r>
              <a:rPr lang="zh-CN" altLang="en-US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时间与需求</a:t>
            </a:r>
            <a:endParaRPr lang="zh-CN" altLang="en-US" sz="2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5565" y="587375"/>
            <a:ext cx="5756275" cy="4204335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6497320" y="1036320"/>
            <a:ext cx="2325370" cy="254317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l"/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时间进度需求：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9--20   </a:t>
            </a: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基础架构完成，实现 【深度开发者】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   大部分【普通开发者】功能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   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基本   【应用购买者】功能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0-30   </a:t>
            </a: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全部功能 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配合年底海尔的机器人</a:t>
            </a:r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大赛活动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555776" y="1995686"/>
            <a:ext cx="3672408" cy="1152128"/>
          </a:xfrm>
          <a:prstGeom prst="rect">
            <a:avLst/>
          </a:prstGeom>
          <a:noFill/>
        </p:spPr>
        <p:txBody>
          <a:bodyPr wrap="square" rtlCol="0" anchor="ctr" anchorCtr="1">
            <a:noAutofit/>
          </a:bodyPr>
          <a:lstStyle/>
          <a:p>
            <a:pPr algn="ctr"/>
            <a:r>
              <a:rPr lang="en-US" altLang="zh-CN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END</a:t>
            </a:r>
            <a:endParaRPr lang="zh-CN" altLang="en-US" sz="28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3347864" y="771550"/>
            <a:ext cx="2304256" cy="360040"/>
          </a:xfrm>
          <a:prstGeom prst="rect">
            <a:avLst/>
          </a:prstGeom>
          <a:noFill/>
        </p:spPr>
        <p:txBody>
          <a:bodyPr wrap="square" rtlCol="0" anchor="ctr" anchorCtr="1">
            <a:noAutofit/>
          </a:bodyPr>
          <a:lstStyle/>
          <a:p>
            <a:pPr algn="ctr"/>
            <a:r>
              <a:rPr lang="zh-CN" altLang="en-US" sz="24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   录</a:t>
            </a:r>
            <a:endParaRPr lang="zh-CN" altLang="en-US" sz="2400" b="1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53547" y="1419622"/>
            <a:ext cx="7056784" cy="3024336"/>
          </a:xfrm>
          <a:prstGeom prst="rect">
            <a:avLst/>
          </a:prstGeom>
          <a:noFill/>
        </p:spPr>
        <p:txBody>
          <a:bodyPr wrap="square" rtlCol="0" anchor="ctr" anchorCtr="1">
            <a:noAutofit/>
          </a:bodyPr>
          <a:lstStyle/>
          <a:p>
            <a:pPr marL="342900" indent="-342900">
              <a:spcAft>
                <a:spcPts val="1200"/>
              </a:spcAft>
              <a:buFontTx/>
              <a:buAutoNum type="arabicPeriod"/>
            </a:pPr>
            <a:r>
              <a:rPr lang="en-US" altLang="zh-CN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面向客户分析</a:t>
            </a:r>
            <a:endParaRPr lang="en-US" altLang="zh-CN" b="1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spcAft>
                <a:spcPts val="1200"/>
              </a:spcAft>
              <a:buFontTx/>
              <a:buAutoNum type="arabicPeriod"/>
            </a:pPr>
            <a:r>
              <a:rPr lang="en-US" altLang="zh-CN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功能架构</a:t>
            </a:r>
            <a:endParaRPr lang="en-US" altLang="zh-CN" b="1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spcAft>
                <a:spcPts val="1200"/>
              </a:spcAft>
              <a:buFontTx/>
              <a:buAutoNum type="arabicPeriod"/>
            </a:pPr>
            <a:r>
              <a:rPr lang="en-US" altLang="zh-CN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块使用</a:t>
            </a:r>
            <a:r>
              <a:rPr lang="en-US" altLang="zh-CN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I</a:t>
            </a:r>
            <a:endParaRPr lang="en-US" altLang="zh-CN" b="1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spcAft>
                <a:spcPts val="1200"/>
              </a:spcAft>
              <a:buFontTx/>
              <a:buAutoNum type="arabicPeriod"/>
            </a:pPr>
            <a:r>
              <a:rPr lang="zh-CN" altLang="en-US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标和时间要求</a:t>
            </a:r>
            <a:endParaRPr lang="zh-CN" altLang="en-US" b="1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7"/>
          <p:cNvSpPr txBox="1"/>
          <p:nvPr/>
        </p:nvSpPr>
        <p:spPr>
          <a:xfrm>
            <a:off x="1793" y="62359"/>
            <a:ext cx="9109101" cy="349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58011" bIns="0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47053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94107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141160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188214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l" defTabSz="796925"/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面向客户分析</a:t>
            </a:r>
            <a:endParaRPr lang="zh-CN" altLang="en-US" sz="2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3" name="AutoShape 14"/>
          <p:cNvSpPr>
            <a:spLocks noChangeAspect="1" noChangeArrowheads="1" noTextEdit="1"/>
          </p:cNvSpPr>
          <p:nvPr/>
        </p:nvSpPr>
        <p:spPr bwMode="auto">
          <a:xfrm>
            <a:off x="1580199" y="3954780"/>
            <a:ext cx="6554787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174" name="Freeform 16"/>
          <p:cNvSpPr/>
          <p:nvPr/>
        </p:nvSpPr>
        <p:spPr bwMode="auto">
          <a:xfrm>
            <a:off x="1604010" y="3964306"/>
            <a:ext cx="6497638" cy="782638"/>
          </a:xfrm>
          <a:custGeom>
            <a:avLst/>
            <a:gdLst>
              <a:gd name="T0" fmla="*/ 0 w 7613"/>
              <a:gd name="T1" fmla="*/ 843 h 843"/>
              <a:gd name="T2" fmla="*/ 1606 w 7613"/>
              <a:gd name="T3" fmla="*/ 0 h 843"/>
              <a:gd name="T4" fmla="*/ 6007 w 7613"/>
              <a:gd name="T5" fmla="*/ 0 h 843"/>
              <a:gd name="T6" fmla="*/ 7613 w 7613"/>
              <a:gd name="T7" fmla="*/ 843 h 843"/>
              <a:gd name="T8" fmla="*/ 0 w 7613"/>
              <a:gd name="T9" fmla="*/ 843 h 8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13" h="843">
                <a:moveTo>
                  <a:pt x="0" y="843"/>
                </a:moveTo>
                <a:lnTo>
                  <a:pt x="1606" y="0"/>
                </a:lnTo>
                <a:lnTo>
                  <a:pt x="6007" y="0"/>
                </a:lnTo>
                <a:lnTo>
                  <a:pt x="7613" y="843"/>
                </a:lnTo>
                <a:lnTo>
                  <a:pt x="0" y="843"/>
                </a:lnTo>
                <a:close/>
              </a:path>
            </a:pathLst>
          </a:custGeom>
          <a:solidFill>
            <a:srgbClr val="9DC3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175" name="Freeform 17"/>
          <p:cNvSpPr/>
          <p:nvPr/>
        </p:nvSpPr>
        <p:spPr bwMode="auto">
          <a:xfrm>
            <a:off x="1731010" y="4091306"/>
            <a:ext cx="6497638" cy="782638"/>
          </a:xfrm>
          <a:custGeom>
            <a:avLst/>
            <a:gdLst>
              <a:gd name="T0" fmla="*/ 0 w 7613"/>
              <a:gd name="T1" fmla="*/ 843 h 843"/>
              <a:gd name="T2" fmla="*/ 1606 w 7613"/>
              <a:gd name="T3" fmla="*/ 0 h 843"/>
              <a:gd name="T4" fmla="*/ 6007 w 7613"/>
              <a:gd name="T5" fmla="*/ 0 h 843"/>
              <a:gd name="T6" fmla="*/ 7613 w 7613"/>
              <a:gd name="T7" fmla="*/ 843 h 843"/>
              <a:gd name="T8" fmla="*/ 0 w 7613"/>
              <a:gd name="T9" fmla="*/ 843 h 8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13" h="843">
                <a:moveTo>
                  <a:pt x="0" y="843"/>
                </a:moveTo>
                <a:lnTo>
                  <a:pt x="1606" y="0"/>
                </a:lnTo>
                <a:lnTo>
                  <a:pt x="6007" y="0"/>
                </a:lnTo>
                <a:lnTo>
                  <a:pt x="7613" y="843"/>
                </a:lnTo>
                <a:lnTo>
                  <a:pt x="0" y="84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pic>
        <p:nvPicPr>
          <p:cNvPr id="176" name="Picture 18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0199" y="3956369"/>
            <a:ext cx="6554787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7" name="Freeform 20"/>
          <p:cNvSpPr/>
          <p:nvPr/>
        </p:nvSpPr>
        <p:spPr bwMode="auto">
          <a:xfrm>
            <a:off x="4182110" y="4172269"/>
            <a:ext cx="1143000" cy="284162"/>
          </a:xfrm>
          <a:custGeom>
            <a:avLst/>
            <a:gdLst>
              <a:gd name="T0" fmla="*/ 1007 w 1009"/>
              <a:gd name="T1" fmla="*/ 114 h 228"/>
              <a:gd name="T2" fmla="*/ 1005 w 1009"/>
              <a:gd name="T3" fmla="*/ 114 h 228"/>
              <a:gd name="T4" fmla="*/ 996 w 1009"/>
              <a:gd name="T5" fmla="*/ 135 h 228"/>
              <a:gd name="T6" fmla="*/ 934 w 1009"/>
              <a:gd name="T7" fmla="*/ 170 h 228"/>
              <a:gd name="T8" fmla="*/ 505 w 1009"/>
              <a:gd name="T9" fmla="*/ 224 h 228"/>
              <a:gd name="T10" fmla="*/ 149 w 1009"/>
              <a:gd name="T11" fmla="*/ 191 h 228"/>
              <a:gd name="T12" fmla="*/ 42 w 1009"/>
              <a:gd name="T13" fmla="*/ 156 h 228"/>
              <a:gd name="T14" fmla="*/ 13 w 1009"/>
              <a:gd name="T15" fmla="*/ 135 h 228"/>
              <a:gd name="T16" fmla="*/ 4 w 1009"/>
              <a:gd name="T17" fmla="*/ 114 h 228"/>
              <a:gd name="T18" fmla="*/ 13 w 1009"/>
              <a:gd name="T19" fmla="*/ 93 h 228"/>
              <a:gd name="T20" fmla="*/ 75 w 1009"/>
              <a:gd name="T21" fmla="*/ 58 h 228"/>
              <a:gd name="T22" fmla="*/ 505 w 1009"/>
              <a:gd name="T23" fmla="*/ 4 h 228"/>
              <a:gd name="T24" fmla="*/ 860 w 1009"/>
              <a:gd name="T25" fmla="*/ 37 h 228"/>
              <a:gd name="T26" fmla="*/ 967 w 1009"/>
              <a:gd name="T27" fmla="*/ 72 h 228"/>
              <a:gd name="T28" fmla="*/ 996 w 1009"/>
              <a:gd name="T29" fmla="*/ 93 h 228"/>
              <a:gd name="T30" fmla="*/ 1005 w 1009"/>
              <a:gd name="T31" fmla="*/ 114 h 228"/>
              <a:gd name="T32" fmla="*/ 1007 w 1009"/>
              <a:gd name="T33" fmla="*/ 114 h 228"/>
              <a:gd name="T34" fmla="*/ 1009 w 1009"/>
              <a:gd name="T35" fmla="*/ 114 h 228"/>
              <a:gd name="T36" fmla="*/ 999 w 1009"/>
              <a:gd name="T37" fmla="*/ 90 h 228"/>
              <a:gd name="T38" fmla="*/ 935 w 1009"/>
              <a:gd name="T39" fmla="*/ 54 h 228"/>
              <a:gd name="T40" fmla="*/ 505 w 1009"/>
              <a:gd name="T41" fmla="*/ 0 h 228"/>
              <a:gd name="T42" fmla="*/ 149 w 1009"/>
              <a:gd name="T43" fmla="*/ 33 h 228"/>
              <a:gd name="T44" fmla="*/ 40 w 1009"/>
              <a:gd name="T45" fmla="*/ 69 h 228"/>
              <a:gd name="T46" fmla="*/ 11 w 1009"/>
              <a:gd name="T47" fmla="*/ 90 h 228"/>
              <a:gd name="T48" fmla="*/ 0 w 1009"/>
              <a:gd name="T49" fmla="*/ 114 h 228"/>
              <a:gd name="T50" fmla="*/ 11 w 1009"/>
              <a:gd name="T51" fmla="*/ 138 h 228"/>
              <a:gd name="T52" fmla="*/ 74 w 1009"/>
              <a:gd name="T53" fmla="*/ 174 h 228"/>
              <a:gd name="T54" fmla="*/ 505 w 1009"/>
              <a:gd name="T55" fmla="*/ 228 h 228"/>
              <a:gd name="T56" fmla="*/ 861 w 1009"/>
              <a:gd name="T57" fmla="*/ 195 h 228"/>
              <a:gd name="T58" fmla="*/ 969 w 1009"/>
              <a:gd name="T59" fmla="*/ 159 h 228"/>
              <a:gd name="T60" fmla="*/ 999 w 1009"/>
              <a:gd name="T61" fmla="*/ 138 h 228"/>
              <a:gd name="T62" fmla="*/ 1009 w 1009"/>
              <a:gd name="T63" fmla="*/ 114 h 228"/>
              <a:gd name="T64" fmla="*/ 1007 w 1009"/>
              <a:gd name="T65" fmla="*/ 114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09" h="228">
                <a:moveTo>
                  <a:pt x="1007" y="114"/>
                </a:moveTo>
                <a:cubicBezTo>
                  <a:pt x="1005" y="114"/>
                  <a:pt x="1005" y="114"/>
                  <a:pt x="1005" y="114"/>
                </a:cubicBezTo>
                <a:cubicBezTo>
                  <a:pt x="1005" y="121"/>
                  <a:pt x="1002" y="128"/>
                  <a:pt x="996" y="135"/>
                </a:cubicBezTo>
                <a:cubicBezTo>
                  <a:pt x="984" y="148"/>
                  <a:pt x="963" y="160"/>
                  <a:pt x="934" y="170"/>
                </a:cubicBezTo>
                <a:cubicBezTo>
                  <a:pt x="846" y="202"/>
                  <a:pt x="687" y="224"/>
                  <a:pt x="505" y="224"/>
                </a:cubicBezTo>
                <a:cubicBezTo>
                  <a:pt x="366" y="224"/>
                  <a:pt x="240" y="211"/>
                  <a:pt x="149" y="191"/>
                </a:cubicBezTo>
                <a:cubicBezTo>
                  <a:pt x="104" y="181"/>
                  <a:pt x="67" y="169"/>
                  <a:pt x="42" y="156"/>
                </a:cubicBezTo>
                <a:cubicBezTo>
                  <a:pt x="30" y="149"/>
                  <a:pt x="20" y="142"/>
                  <a:pt x="13" y="135"/>
                </a:cubicBezTo>
                <a:cubicBezTo>
                  <a:pt x="7" y="128"/>
                  <a:pt x="4" y="121"/>
                  <a:pt x="4" y="114"/>
                </a:cubicBezTo>
                <a:cubicBezTo>
                  <a:pt x="4" y="107"/>
                  <a:pt x="7" y="100"/>
                  <a:pt x="13" y="93"/>
                </a:cubicBezTo>
                <a:cubicBezTo>
                  <a:pt x="25" y="81"/>
                  <a:pt x="46" y="69"/>
                  <a:pt x="75" y="58"/>
                </a:cubicBezTo>
                <a:cubicBezTo>
                  <a:pt x="163" y="26"/>
                  <a:pt x="323" y="4"/>
                  <a:pt x="505" y="4"/>
                </a:cubicBezTo>
                <a:cubicBezTo>
                  <a:pt x="643" y="4"/>
                  <a:pt x="769" y="17"/>
                  <a:pt x="860" y="37"/>
                </a:cubicBezTo>
                <a:cubicBezTo>
                  <a:pt x="905" y="47"/>
                  <a:pt x="942" y="59"/>
                  <a:pt x="967" y="72"/>
                </a:cubicBezTo>
                <a:cubicBezTo>
                  <a:pt x="980" y="79"/>
                  <a:pt x="989" y="86"/>
                  <a:pt x="996" y="93"/>
                </a:cubicBezTo>
                <a:cubicBezTo>
                  <a:pt x="1002" y="100"/>
                  <a:pt x="1005" y="107"/>
                  <a:pt x="1005" y="114"/>
                </a:cubicBezTo>
                <a:cubicBezTo>
                  <a:pt x="1007" y="114"/>
                  <a:pt x="1007" y="114"/>
                  <a:pt x="1007" y="114"/>
                </a:cubicBezTo>
                <a:cubicBezTo>
                  <a:pt x="1009" y="114"/>
                  <a:pt x="1009" y="114"/>
                  <a:pt x="1009" y="114"/>
                </a:cubicBezTo>
                <a:cubicBezTo>
                  <a:pt x="1009" y="106"/>
                  <a:pt x="1006" y="98"/>
                  <a:pt x="999" y="90"/>
                </a:cubicBezTo>
                <a:cubicBezTo>
                  <a:pt x="987" y="77"/>
                  <a:pt x="965" y="65"/>
                  <a:pt x="935" y="54"/>
                </a:cubicBezTo>
                <a:cubicBezTo>
                  <a:pt x="847" y="22"/>
                  <a:pt x="687" y="0"/>
                  <a:pt x="505" y="0"/>
                </a:cubicBezTo>
                <a:cubicBezTo>
                  <a:pt x="366" y="0"/>
                  <a:pt x="240" y="13"/>
                  <a:pt x="149" y="33"/>
                </a:cubicBezTo>
                <a:cubicBezTo>
                  <a:pt x="103" y="43"/>
                  <a:pt x="66" y="55"/>
                  <a:pt x="40" y="69"/>
                </a:cubicBezTo>
                <a:cubicBezTo>
                  <a:pt x="28" y="75"/>
                  <a:pt x="17" y="83"/>
                  <a:pt x="11" y="90"/>
                </a:cubicBezTo>
                <a:cubicBezTo>
                  <a:pt x="4" y="98"/>
                  <a:pt x="0" y="106"/>
                  <a:pt x="0" y="114"/>
                </a:cubicBezTo>
                <a:cubicBezTo>
                  <a:pt x="0" y="122"/>
                  <a:pt x="4" y="130"/>
                  <a:pt x="11" y="138"/>
                </a:cubicBezTo>
                <a:cubicBezTo>
                  <a:pt x="23" y="151"/>
                  <a:pt x="44" y="163"/>
                  <a:pt x="74" y="174"/>
                </a:cubicBezTo>
                <a:cubicBezTo>
                  <a:pt x="163" y="206"/>
                  <a:pt x="322" y="228"/>
                  <a:pt x="505" y="228"/>
                </a:cubicBezTo>
                <a:cubicBezTo>
                  <a:pt x="644" y="228"/>
                  <a:pt x="769" y="215"/>
                  <a:pt x="861" y="195"/>
                </a:cubicBezTo>
                <a:cubicBezTo>
                  <a:pt x="906" y="185"/>
                  <a:pt x="943" y="173"/>
                  <a:pt x="969" y="159"/>
                </a:cubicBezTo>
                <a:cubicBezTo>
                  <a:pt x="982" y="153"/>
                  <a:pt x="992" y="145"/>
                  <a:pt x="999" y="138"/>
                </a:cubicBezTo>
                <a:cubicBezTo>
                  <a:pt x="1006" y="130"/>
                  <a:pt x="1009" y="122"/>
                  <a:pt x="1009" y="114"/>
                </a:cubicBezTo>
                <a:lnTo>
                  <a:pt x="1007" y="11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178" name="Freeform 21"/>
          <p:cNvSpPr/>
          <p:nvPr/>
        </p:nvSpPr>
        <p:spPr bwMode="auto">
          <a:xfrm>
            <a:off x="4196398" y="4204019"/>
            <a:ext cx="1116012" cy="274637"/>
          </a:xfrm>
          <a:custGeom>
            <a:avLst/>
            <a:gdLst>
              <a:gd name="T0" fmla="*/ 985 w 986"/>
              <a:gd name="T1" fmla="*/ 111 h 221"/>
              <a:gd name="T2" fmla="*/ 984 w 986"/>
              <a:gd name="T3" fmla="*/ 111 h 221"/>
              <a:gd name="T4" fmla="*/ 974 w 986"/>
              <a:gd name="T5" fmla="*/ 132 h 221"/>
              <a:gd name="T6" fmla="*/ 805 w 986"/>
              <a:gd name="T7" fmla="*/ 194 h 221"/>
              <a:gd name="T8" fmla="*/ 493 w 986"/>
              <a:gd name="T9" fmla="*/ 219 h 221"/>
              <a:gd name="T10" fmla="*/ 145 w 986"/>
              <a:gd name="T11" fmla="*/ 187 h 221"/>
              <a:gd name="T12" fmla="*/ 40 w 986"/>
              <a:gd name="T13" fmla="*/ 152 h 221"/>
              <a:gd name="T14" fmla="*/ 11 w 986"/>
              <a:gd name="T15" fmla="*/ 132 h 221"/>
              <a:gd name="T16" fmla="*/ 2 w 986"/>
              <a:gd name="T17" fmla="*/ 111 h 221"/>
              <a:gd name="T18" fmla="*/ 11 w 986"/>
              <a:gd name="T19" fmla="*/ 89 h 221"/>
              <a:gd name="T20" fmla="*/ 180 w 986"/>
              <a:gd name="T21" fmla="*/ 27 h 221"/>
              <a:gd name="T22" fmla="*/ 493 w 986"/>
              <a:gd name="T23" fmla="*/ 2 h 221"/>
              <a:gd name="T24" fmla="*/ 840 w 986"/>
              <a:gd name="T25" fmla="*/ 34 h 221"/>
              <a:gd name="T26" fmla="*/ 946 w 986"/>
              <a:gd name="T27" fmla="*/ 69 h 221"/>
              <a:gd name="T28" fmla="*/ 974 w 986"/>
              <a:gd name="T29" fmla="*/ 89 h 221"/>
              <a:gd name="T30" fmla="*/ 984 w 986"/>
              <a:gd name="T31" fmla="*/ 111 h 221"/>
              <a:gd name="T32" fmla="*/ 985 w 986"/>
              <a:gd name="T33" fmla="*/ 111 h 221"/>
              <a:gd name="T34" fmla="*/ 986 w 986"/>
              <a:gd name="T35" fmla="*/ 111 h 221"/>
              <a:gd name="T36" fmla="*/ 975 w 986"/>
              <a:gd name="T37" fmla="*/ 88 h 221"/>
              <a:gd name="T38" fmla="*/ 806 w 986"/>
              <a:gd name="T39" fmla="*/ 25 h 221"/>
              <a:gd name="T40" fmla="*/ 493 w 986"/>
              <a:gd name="T41" fmla="*/ 0 h 221"/>
              <a:gd name="T42" fmla="*/ 144 w 986"/>
              <a:gd name="T43" fmla="*/ 32 h 221"/>
              <a:gd name="T44" fmla="*/ 39 w 986"/>
              <a:gd name="T45" fmla="*/ 67 h 221"/>
              <a:gd name="T46" fmla="*/ 10 w 986"/>
              <a:gd name="T47" fmla="*/ 88 h 221"/>
              <a:gd name="T48" fmla="*/ 0 w 986"/>
              <a:gd name="T49" fmla="*/ 111 h 221"/>
              <a:gd name="T50" fmla="*/ 10 w 986"/>
              <a:gd name="T51" fmla="*/ 133 h 221"/>
              <a:gd name="T52" fmla="*/ 179 w 986"/>
              <a:gd name="T53" fmla="*/ 196 h 221"/>
              <a:gd name="T54" fmla="*/ 493 w 986"/>
              <a:gd name="T55" fmla="*/ 221 h 221"/>
              <a:gd name="T56" fmla="*/ 841 w 986"/>
              <a:gd name="T57" fmla="*/ 189 h 221"/>
              <a:gd name="T58" fmla="*/ 946 w 986"/>
              <a:gd name="T59" fmla="*/ 154 h 221"/>
              <a:gd name="T60" fmla="*/ 975 w 986"/>
              <a:gd name="T61" fmla="*/ 133 h 221"/>
              <a:gd name="T62" fmla="*/ 986 w 986"/>
              <a:gd name="T63" fmla="*/ 111 h 221"/>
              <a:gd name="T64" fmla="*/ 985 w 986"/>
              <a:gd name="T65" fmla="*/ 111 h 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86" h="221">
                <a:moveTo>
                  <a:pt x="985" y="111"/>
                </a:moveTo>
                <a:cubicBezTo>
                  <a:pt x="984" y="111"/>
                  <a:pt x="984" y="111"/>
                  <a:pt x="984" y="111"/>
                </a:cubicBezTo>
                <a:cubicBezTo>
                  <a:pt x="984" y="118"/>
                  <a:pt x="980" y="125"/>
                  <a:pt x="974" y="132"/>
                </a:cubicBezTo>
                <a:cubicBezTo>
                  <a:pt x="951" y="157"/>
                  <a:pt x="890" y="179"/>
                  <a:pt x="805" y="194"/>
                </a:cubicBezTo>
                <a:cubicBezTo>
                  <a:pt x="720" y="210"/>
                  <a:pt x="611" y="219"/>
                  <a:pt x="493" y="219"/>
                </a:cubicBezTo>
                <a:cubicBezTo>
                  <a:pt x="357" y="219"/>
                  <a:pt x="234" y="207"/>
                  <a:pt x="145" y="187"/>
                </a:cubicBezTo>
                <a:cubicBezTo>
                  <a:pt x="100" y="177"/>
                  <a:pt x="64" y="165"/>
                  <a:pt x="40" y="152"/>
                </a:cubicBezTo>
                <a:cubicBezTo>
                  <a:pt x="27" y="146"/>
                  <a:pt x="18" y="139"/>
                  <a:pt x="11" y="132"/>
                </a:cubicBezTo>
                <a:cubicBezTo>
                  <a:pt x="5" y="125"/>
                  <a:pt x="2" y="118"/>
                  <a:pt x="2" y="111"/>
                </a:cubicBezTo>
                <a:cubicBezTo>
                  <a:pt x="2" y="103"/>
                  <a:pt x="5" y="96"/>
                  <a:pt x="11" y="89"/>
                </a:cubicBezTo>
                <a:cubicBezTo>
                  <a:pt x="34" y="65"/>
                  <a:pt x="95" y="43"/>
                  <a:pt x="180" y="27"/>
                </a:cubicBezTo>
                <a:cubicBezTo>
                  <a:pt x="265" y="11"/>
                  <a:pt x="374" y="2"/>
                  <a:pt x="493" y="2"/>
                </a:cubicBezTo>
                <a:cubicBezTo>
                  <a:pt x="628" y="2"/>
                  <a:pt x="751" y="14"/>
                  <a:pt x="840" y="34"/>
                </a:cubicBezTo>
                <a:cubicBezTo>
                  <a:pt x="885" y="44"/>
                  <a:pt x="921" y="56"/>
                  <a:pt x="946" y="69"/>
                </a:cubicBezTo>
                <a:cubicBezTo>
                  <a:pt x="958" y="75"/>
                  <a:pt x="968" y="82"/>
                  <a:pt x="974" y="89"/>
                </a:cubicBezTo>
                <a:cubicBezTo>
                  <a:pt x="980" y="96"/>
                  <a:pt x="984" y="103"/>
                  <a:pt x="984" y="111"/>
                </a:cubicBezTo>
                <a:cubicBezTo>
                  <a:pt x="985" y="111"/>
                  <a:pt x="985" y="111"/>
                  <a:pt x="985" y="111"/>
                </a:cubicBezTo>
                <a:cubicBezTo>
                  <a:pt x="986" y="111"/>
                  <a:pt x="986" y="111"/>
                  <a:pt x="986" y="111"/>
                </a:cubicBezTo>
                <a:cubicBezTo>
                  <a:pt x="986" y="103"/>
                  <a:pt x="982" y="95"/>
                  <a:pt x="975" y="88"/>
                </a:cubicBezTo>
                <a:cubicBezTo>
                  <a:pt x="952" y="62"/>
                  <a:pt x="891" y="41"/>
                  <a:pt x="806" y="25"/>
                </a:cubicBezTo>
                <a:cubicBezTo>
                  <a:pt x="721" y="9"/>
                  <a:pt x="612" y="0"/>
                  <a:pt x="493" y="0"/>
                </a:cubicBezTo>
                <a:cubicBezTo>
                  <a:pt x="357" y="0"/>
                  <a:pt x="234" y="12"/>
                  <a:pt x="144" y="32"/>
                </a:cubicBezTo>
                <a:cubicBezTo>
                  <a:pt x="100" y="42"/>
                  <a:pt x="64" y="54"/>
                  <a:pt x="39" y="67"/>
                </a:cubicBezTo>
                <a:cubicBezTo>
                  <a:pt x="26" y="74"/>
                  <a:pt x="16" y="81"/>
                  <a:pt x="10" y="88"/>
                </a:cubicBezTo>
                <a:cubicBezTo>
                  <a:pt x="3" y="95"/>
                  <a:pt x="0" y="103"/>
                  <a:pt x="0" y="111"/>
                </a:cubicBezTo>
                <a:cubicBezTo>
                  <a:pt x="0" y="118"/>
                  <a:pt x="3" y="126"/>
                  <a:pt x="10" y="133"/>
                </a:cubicBezTo>
                <a:cubicBezTo>
                  <a:pt x="33" y="159"/>
                  <a:pt x="94" y="180"/>
                  <a:pt x="179" y="196"/>
                </a:cubicBezTo>
                <a:cubicBezTo>
                  <a:pt x="265" y="212"/>
                  <a:pt x="374" y="221"/>
                  <a:pt x="493" y="221"/>
                </a:cubicBezTo>
                <a:cubicBezTo>
                  <a:pt x="629" y="221"/>
                  <a:pt x="752" y="209"/>
                  <a:pt x="841" y="189"/>
                </a:cubicBezTo>
                <a:cubicBezTo>
                  <a:pt x="885" y="179"/>
                  <a:pt x="921" y="167"/>
                  <a:pt x="946" y="154"/>
                </a:cubicBezTo>
                <a:cubicBezTo>
                  <a:pt x="959" y="148"/>
                  <a:pt x="969" y="141"/>
                  <a:pt x="975" y="133"/>
                </a:cubicBezTo>
                <a:cubicBezTo>
                  <a:pt x="982" y="126"/>
                  <a:pt x="986" y="118"/>
                  <a:pt x="986" y="111"/>
                </a:cubicBezTo>
                <a:lnTo>
                  <a:pt x="985" y="1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179" name="Freeform 26"/>
          <p:cNvSpPr/>
          <p:nvPr/>
        </p:nvSpPr>
        <p:spPr bwMode="auto">
          <a:xfrm>
            <a:off x="5814061" y="3989705"/>
            <a:ext cx="836613" cy="209550"/>
          </a:xfrm>
          <a:custGeom>
            <a:avLst/>
            <a:gdLst>
              <a:gd name="T0" fmla="*/ 736 w 738"/>
              <a:gd name="T1" fmla="*/ 84 h 168"/>
              <a:gd name="T2" fmla="*/ 734 w 738"/>
              <a:gd name="T3" fmla="*/ 84 h 168"/>
              <a:gd name="T4" fmla="*/ 727 w 738"/>
              <a:gd name="T5" fmla="*/ 99 h 168"/>
              <a:gd name="T6" fmla="*/ 682 w 738"/>
              <a:gd name="T7" fmla="*/ 125 h 168"/>
              <a:gd name="T8" fmla="*/ 369 w 738"/>
              <a:gd name="T9" fmla="*/ 164 h 168"/>
              <a:gd name="T10" fmla="*/ 109 w 738"/>
              <a:gd name="T11" fmla="*/ 140 h 168"/>
              <a:gd name="T12" fmla="*/ 31 w 738"/>
              <a:gd name="T13" fmla="*/ 114 h 168"/>
              <a:gd name="T14" fmla="*/ 10 w 738"/>
              <a:gd name="T15" fmla="*/ 99 h 168"/>
              <a:gd name="T16" fmla="*/ 4 w 738"/>
              <a:gd name="T17" fmla="*/ 84 h 168"/>
              <a:gd name="T18" fmla="*/ 10 w 738"/>
              <a:gd name="T19" fmla="*/ 69 h 168"/>
              <a:gd name="T20" fmla="*/ 55 w 738"/>
              <a:gd name="T21" fmla="*/ 44 h 168"/>
              <a:gd name="T22" fmla="*/ 369 w 738"/>
              <a:gd name="T23" fmla="*/ 4 h 168"/>
              <a:gd name="T24" fmla="*/ 628 w 738"/>
              <a:gd name="T25" fmla="*/ 28 h 168"/>
              <a:gd name="T26" fmla="*/ 706 w 738"/>
              <a:gd name="T27" fmla="*/ 54 h 168"/>
              <a:gd name="T28" fmla="*/ 727 w 738"/>
              <a:gd name="T29" fmla="*/ 69 h 168"/>
              <a:gd name="T30" fmla="*/ 734 w 738"/>
              <a:gd name="T31" fmla="*/ 84 h 168"/>
              <a:gd name="T32" fmla="*/ 736 w 738"/>
              <a:gd name="T33" fmla="*/ 84 h 168"/>
              <a:gd name="T34" fmla="*/ 738 w 738"/>
              <a:gd name="T35" fmla="*/ 84 h 168"/>
              <a:gd name="T36" fmla="*/ 730 w 738"/>
              <a:gd name="T37" fmla="*/ 66 h 168"/>
              <a:gd name="T38" fmla="*/ 683 w 738"/>
              <a:gd name="T39" fmla="*/ 40 h 168"/>
              <a:gd name="T40" fmla="*/ 369 w 738"/>
              <a:gd name="T41" fmla="*/ 0 h 168"/>
              <a:gd name="T42" fmla="*/ 109 w 738"/>
              <a:gd name="T43" fmla="*/ 24 h 168"/>
              <a:gd name="T44" fmla="*/ 29 w 738"/>
              <a:gd name="T45" fmla="*/ 51 h 168"/>
              <a:gd name="T46" fmla="*/ 7 w 738"/>
              <a:gd name="T47" fmla="*/ 66 h 168"/>
              <a:gd name="T48" fmla="*/ 0 w 738"/>
              <a:gd name="T49" fmla="*/ 84 h 168"/>
              <a:gd name="T50" fmla="*/ 7 w 738"/>
              <a:gd name="T51" fmla="*/ 102 h 168"/>
              <a:gd name="T52" fmla="*/ 54 w 738"/>
              <a:gd name="T53" fmla="*/ 128 h 168"/>
              <a:gd name="T54" fmla="*/ 369 w 738"/>
              <a:gd name="T55" fmla="*/ 168 h 168"/>
              <a:gd name="T56" fmla="*/ 629 w 738"/>
              <a:gd name="T57" fmla="*/ 144 h 168"/>
              <a:gd name="T58" fmla="*/ 708 w 738"/>
              <a:gd name="T59" fmla="*/ 118 h 168"/>
              <a:gd name="T60" fmla="*/ 730 w 738"/>
              <a:gd name="T61" fmla="*/ 102 h 168"/>
              <a:gd name="T62" fmla="*/ 738 w 738"/>
              <a:gd name="T63" fmla="*/ 84 h 168"/>
              <a:gd name="T64" fmla="*/ 736 w 738"/>
              <a:gd name="T65" fmla="*/ 84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738" h="168">
                <a:moveTo>
                  <a:pt x="736" y="84"/>
                </a:moveTo>
                <a:cubicBezTo>
                  <a:pt x="734" y="84"/>
                  <a:pt x="734" y="84"/>
                  <a:pt x="734" y="84"/>
                </a:cubicBezTo>
                <a:cubicBezTo>
                  <a:pt x="734" y="89"/>
                  <a:pt x="731" y="94"/>
                  <a:pt x="727" y="99"/>
                </a:cubicBezTo>
                <a:cubicBezTo>
                  <a:pt x="719" y="108"/>
                  <a:pt x="703" y="117"/>
                  <a:pt x="682" y="125"/>
                </a:cubicBezTo>
                <a:cubicBezTo>
                  <a:pt x="618" y="148"/>
                  <a:pt x="501" y="164"/>
                  <a:pt x="369" y="164"/>
                </a:cubicBezTo>
                <a:cubicBezTo>
                  <a:pt x="267" y="164"/>
                  <a:pt x="176" y="155"/>
                  <a:pt x="109" y="140"/>
                </a:cubicBezTo>
                <a:cubicBezTo>
                  <a:pt x="76" y="133"/>
                  <a:pt x="50" y="124"/>
                  <a:pt x="31" y="114"/>
                </a:cubicBezTo>
                <a:cubicBezTo>
                  <a:pt x="22" y="109"/>
                  <a:pt x="15" y="104"/>
                  <a:pt x="10" y="99"/>
                </a:cubicBezTo>
                <a:cubicBezTo>
                  <a:pt x="6" y="94"/>
                  <a:pt x="4" y="89"/>
                  <a:pt x="4" y="84"/>
                </a:cubicBezTo>
                <a:cubicBezTo>
                  <a:pt x="4" y="79"/>
                  <a:pt x="6" y="74"/>
                  <a:pt x="10" y="69"/>
                </a:cubicBezTo>
                <a:cubicBezTo>
                  <a:pt x="19" y="60"/>
                  <a:pt x="34" y="51"/>
                  <a:pt x="55" y="44"/>
                </a:cubicBezTo>
                <a:cubicBezTo>
                  <a:pt x="119" y="20"/>
                  <a:pt x="236" y="4"/>
                  <a:pt x="369" y="4"/>
                </a:cubicBezTo>
                <a:cubicBezTo>
                  <a:pt x="470" y="4"/>
                  <a:pt x="562" y="14"/>
                  <a:pt x="628" y="28"/>
                </a:cubicBezTo>
                <a:cubicBezTo>
                  <a:pt x="661" y="36"/>
                  <a:pt x="688" y="44"/>
                  <a:pt x="706" y="54"/>
                </a:cubicBezTo>
                <a:cubicBezTo>
                  <a:pt x="715" y="59"/>
                  <a:pt x="722" y="64"/>
                  <a:pt x="727" y="69"/>
                </a:cubicBezTo>
                <a:cubicBezTo>
                  <a:pt x="731" y="74"/>
                  <a:pt x="734" y="79"/>
                  <a:pt x="734" y="84"/>
                </a:cubicBezTo>
                <a:cubicBezTo>
                  <a:pt x="736" y="84"/>
                  <a:pt x="736" y="84"/>
                  <a:pt x="736" y="84"/>
                </a:cubicBezTo>
                <a:cubicBezTo>
                  <a:pt x="738" y="84"/>
                  <a:pt x="738" y="84"/>
                  <a:pt x="738" y="84"/>
                </a:cubicBezTo>
                <a:cubicBezTo>
                  <a:pt x="738" y="78"/>
                  <a:pt x="735" y="72"/>
                  <a:pt x="730" y="66"/>
                </a:cubicBezTo>
                <a:cubicBezTo>
                  <a:pt x="721" y="57"/>
                  <a:pt x="705" y="48"/>
                  <a:pt x="683" y="40"/>
                </a:cubicBezTo>
                <a:cubicBezTo>
                  <a:pt x="618" y="16"/>
                  <a:pt x="502" y="0"/>
                  <a:pt x="369" y="0"/>
                </a:cubicBezTo>
                <a:cubicBezTo>
                  <a:pt x="267" y="0"/>
                  <a:pt x="175" y="10"/>
                  <a:pt x="109" y="24"/>
                </a:cubicBezTo>
                <a:cubicBezTo>
                  <a:pt x="75" y="32"/>
                  <a:pt x="48" y="41"/>
                  <a:pt x="29" y="51"/>
                </a:cubicBezTo>
                <a:cubicBezTo>
                  <a:pt x="20" y="55"/>
                  <a:pt x="13" y="61"/>
                  <a:pt x="7" y="66"/>
                </a:cubicBezTo>
                <a:cubicBezTo>
                  <a:pt x="2" y="72"/>
                  <a:pt x="0" y="78"/>
                  <a:pt x="0" y="84"/>
                </a:cubicBezTo>
                <a:cubicBezTo>
                  <a:pt x="0" y="90"/>
                  <a:pt x="2" y="96"/>
                  <a:pt x="7" y="102"/>
                </a:cubicBezTo>
                <a:cubicBezTo>
                  <a:pt x="16" y="112"/>
                  <a:pt x="32" y="120"/>
                  <a:pt x="54" y="128"/>
                </a:cubicBezTo>
                <a:cubicBezTo>
                  <a:pt x="119" y="152"/>
                  <a:pt x="235" y="168"/>
                  <a:pt x="369" y="168"/>
                </a:cubicBezTo>
                <a:cubicBezTo>
                  <a:pt x="470" y="168"/>
                  <a:pt x="562" y="159"/>
                  <a:pt x="629" y="144"/>
                </a:cubicBezTo>
                <a:cubicBezTo>
                  <a:pt x="662" y="136"/>
                  <a:pt x="689" y="128"/>
                  <a:pt x="708" y="118"/>
                </a:cubicBezTo>
                <a:cubicBezTo>
                  <a:pt x="717" y="113"/>
                  <a:pt x="725" y="108"/>
                  <a:pt x="730" y="102"/>
                </a:cubicBezTo>
                <a:cubicBezTo>
                  <a:pt x="735" y="96"/>
                  <a:pt x="738" y="90"/>
                  <a:pt x="738" y="84"/>
                </a:cubicBezTo>
                <a:cubicBezTo>
                  <a:pt x="736" y="84"/>
                  <a:pt x="736" y="84"/>
                  <a:pt x="736" y="84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180" name="Freeform 27"/>
          <p:cNvSpPr/>
          <p:nvPr/>
        </p:nvSpPr>
        <p:spPr bwMode="auto">
          <a:xfrm>
            <a:off x="5823586" y="4013518"/>
            <a:ext cx="817563" cy="201612"/>
          </a:xfrm>
          <a:custGeom>
            <a:avLst/>
            <a:gdLst>
              <a:gd name="T0" fmla="*/ 720 w 721"/>
              <a:gd name="T1" fmla="*/ 81 h 162"/>
              <a:gd name="T2" fmla="*/ 719 w 721"/>
              <a:gd name="T3" fmla="*/ 81 h 162"/>
              <a:gd name="T4" fmla="*/ 712 w 721"/>
              <a:gd name="T5" fmla="*/ 96 h 162"/>
              <a:gd name="T6" fmla="*/ 589 w 721"/>
              <a:gd name="T7" fmla="*/ 142 h 162"/>
              <a:gd name="T8" fmla="*/ 361 w 721"/>
              <a:gd name="T9" fmla="*/ 160 h 162"/>
              <a:gd name="T10" fmla="*/ 107 w 721"/>
              <a:gd name="T11" fmla="*/ 136 h 162"/>
              <a:gd name="T12" fmla="*/ 30 w 721"/>
              <a:gd name="T13" fmla="*/ 111 h 162"/>
              <a:gd name="T14" fmla="*/ 9 w 721"/>
              <a:gd name="T15" fmla="*/ 96 h 162"/>
              <a:gd name="T16" fmla="*/ 2 w 721"/>
              <a:gd name="T17" fmla="*/ 81 h 162"/>
              <a:gd name="T18" fmla="*/ 9 w 721"/>
              <a:gd name="T19" fmla="*/ 65 h 162"/>
              <a:gd name="T20" fmla="*/ 132 w 721"/>
              <a:gd name="T21" fmla="*/ 20 h 162"/>
              <a:gd name="T22" fmla="*/ 361 w 721"/>
              <a:gd name="T23" fmla="*/ 2 h 162"/>
              <a:gd name="T24" fmla="*/ 614 w 721"/>
              <a:gd name="T25" fmla="*/ 25 h 162"/>
              <a:gd name="T26" fmla="*/ 691 w 721"/>
              <a:gd name="T27" fmla="*/ 51 h 162"/>
              <a:gd name="T28" fmla="*/ 712 w 721"/>
              <a:gd name="T29" fmla="*/ 65 h 162"/>
              <a:gd name="T30" fmla="*/ 719 w 721"/>
              <a:gd name="T31" fmla="*/ 81 h 162"/>
              <a:gd name="T32" fmla="*/ 720 w 721"/>
              <a:gd name="T33" fmla="*/ 81 h 162"/>
              <a:gd name="T34" fmla="*/ 721 w 721"/>
              <a:gd name="T35" fmla="*/ 81 h 162"/>
              <a:gd name="T36" fmla="*/ 713 w 721"/>
              <a:gd name="T37" fmla="*/ 64 h 162"/>
              <a:gd name="T38" fmla="*/ 589 w 721"/>
              <a:gd name="T39" fmla="*/ 18 h 162"/>
              <a:gd name="T40" fmla="*/ 361 w 721"/>
              <a:gd name="T41" fmla="*/ 0 h 162"/>
              <a:gd name="T42" fmla="*/ 106 w 721"/>
              <a:gd name="T43" fmla="*/ 23 h 162"/>
              <a:gd name="T44" fmla="*/ 29 w 721"/>
              <a:gd name="T45" fmla="*/ 49 h 162"/>
              <a:gd name="T46" fmla="*/ 8 w 721"/>
              <a:gd name="T47" fmla="*/ 64 h 162"/>
              <a:gd name="T48" fmla="*/ 0 w 721"/>
              <a:gd name="T49" fmla="*/ 81 h 162"/>
              <a:gd name="T50" fmla="*/ 8 w 721"/>
              <a:gd name="T51" fmla="*/ 98 h 162"/>
              <a:gd name="T52" fmla="*/ 132 w 721"/>
              <a:gd name="T53" fmla="*/ 144 h 162"/>
              <a:gd name="T54" fmla="*/ 361 w 721"/>
              <a:gd name="T55" fmla="*/ 162 h 162"/>
              <a:gd name="T56" fmla="*/ 615 w 721"/>
              <a:gd name="T57" fmla="*/ 138 h 162"/>
              <a:gd name="T58" fmla="*/ 692 w 721"/>
              <a:gd name="T59" fmla="*/ 113 h 162"/>
              <a:gd name="T60" fmla="*/ 713 w 721"/>
              <a:gd name="T61" fmla="*/ 98 h 162"/>
              <a:gd name="T62" fmla="*/ 721 w 721"/>
              <a:gd name="T63" fmla="*/ 81 h 162"/>
              <a:gd name="T64" fmla="*/ 720 w 721"/>
              <a:gd name="T65" fmla="*/ 81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721" h="162">
                <a:moveTo>
                  <a:pt x="720" y="81"/>
                </a:moveTo>
                <a:cubicBezTo>
                  <a:pt x="719" y="81"/>
                  <a:pt x="719" y="81"/>
                  <a:pt x="719" y="81"/>
                </a:cubicBezTo>
                <a:cubicBezTo>
                  <a:pt x="719" y="86"/>
                  <a:pt x="717" y="91"/>
                  <a:pt x="712" y="96"/>
                </a:cubicBezTo>
                <a:cubicBezTo>
                  <a:pt x="695" y="114"/>
                  <a:pt x="651" y="130"/>
                  <a:pt x="589" y="142"/>
                </a:cubicBezTo>
                <a:cubicBezTo>
                  <a:pt x="527" y="153"/>
                  <a:pt x="447" y="160"/>
                  <a:pt x="361" y="160"/>
                </a:cubicBezTo>
                <a:cubicBezTo>
                  <a:pt x="261" y="160"/>
                  <a:pt x="172" y="151"/>
                  <a:pt x="107" y="136"/>
                </a:cubicBezTo>
                <a:cubicBezTo>
                  <a:pt x="74" y="129"/>
                  <a:pt x="48" y="121"/>
                  <a:pt x="30" y="111"/>
                </a:cubicBezTo>
                <a:cubicBezTo>
                  <a:pt x="21" y="106"/>
                  <a:pt x="14" y="101"/>
                  <a:pt x="9" y="96"/>
                </a:cubicBezTo>
                <a:cubicBezTo>
                  <a:pt x="5" y="91"/>
                  <a:pt x="2" y="86"/>
                  <a:pt x="2" y="81"/>
                </a:cubicBezTo>
                <a:cubicBezTo>
                  <a:pt x="2" y="76"/>
                  <a:pt x="5" y="70"/>
                  <a:pt x="9" y="65"/>
                </a:cubicBezTo>
                <a:cubicBezTo>
                  <a:pt x="26" y="48"/>
                  <a:pt x="70" y="31"/>
                  <a:pt x="132" y="20"/>
                </a:cubicBezTo>
                <a:cubicBezTo>
                  <a:pt x="194" y="9"/>
                  <a:pt x="274" y="2"/>
                  <a:pt x="361" y="2"/>
                </a:cubicBezTo>
                <a:cubicBezTo>
                  <a:pt x="460" y="2"/>
                  <a:pt x="550" y="11"/>
                  <a:pt x="614" y="25"/>
                </a:cubicBezTo>
                <a:cubicBezTo>
                  <a:pt x="647" y="32"/>
                  <a:pt x="673" y="41"/>
                  <a:pt x="691" y="51"/>
                </a:cubicBezTo>
                <a:cubicBezTo>
                  <a:pt x="700" y="55"/>
                  <a:pt x="707" y="60"/>
                  <a:pt x="712" y="65"/>
                </a:cubicBezTo>
                <a:cubicBezTo>
                  <a:pt x="717" y="70"/>
                  <a:pt x="719" y="76"/>
                  <a:pt x="719" y="81"/>
                </a:cubicBezTo>
                <a:cubicBezTo>
                  <a:pt x="720" y="81"/>
                  <a:pt x="720" y="81"/>
                  <a:pt x="720" y="81"/>
                </a:cubicBezTo>
                <a:cubicBezTo>
                  <a:pt x="721" y="81"/>
                  <a:pt x="721" y="81"/>
                  <a:pt x="721" y="81"/>
                </a:cubicBezTo>
                <a:cubicBezTo>
                  <a:pt x="721" y="75"/>
                  <a:pt x="718" y="69"/>
                  <a:pt x="713" y="64"/>
                </a:cubicBezTo>
                <a:cubicBezTo>
                  <a:pt x="696" y="45"/>
                  <a:pt x="652" y="30"/>
                  <a:pt x="589" y="18"/>
                </a:cubicBezTo>
                <a:cubicBezTo>
                  <a:pt x="527" y="7"/>
                  <a:pt x="447" y="0"/>
                  <a:pt x="361" y="0"/>
                </a:cubicBezTo>
                <a:cubicBezTo>
                  <a:pt x="261" y="0"/>
                  <a:pt x="171" y="9"/>
                  <a:pt x="106" y="23"/>
                </a:cubicBezTo>
                <a:cubicBezTo>
                  <a:pt x="74" y="31"/>
                  <a:pt x="47" y="39"/>
                  <a:pt x="29" y="49"/>
                </a:cubicBezTo>
                <a:cubicBezTo>
                  <a:pt x="20" y="54"/>
                  <a:pt x="13" y="59"/>
                  <a:pt x="8" y="64"/>
                </a:cubicBezTo>
                <a:cubicBezTo>
                  <a:pt x="3" y="69"/>
                  <a:pt x="0" y="75"/>
                  <a:pt x="0" y="81"/>
                </a:cubicBezTo>
                <a:cubicBezTo>
                  <a:pt x="0" y="87"/>
                  <a:pt x="3" y="92"/>
                  <a:pt x="8" y="98"/>
                </a:cubicBezTo>
                <a:cubicBezTo>
                  <a:pt x="25" y="116"/>
                  <a:pt x="70" y="132"/>
                  <a:pt x="132" y="144"/>
                </a:cubicBezTo>
                <a:cubicBezTo>
                  <a:pt x="194" y="155"/>
                  <a:pt x="274" y="162"/>
                  <a:pt x="361" y="162"/>
                </a:cubicBezTo>
                <a:cubicBezTo>
                  <a:pt x="460" y="162"/>
                  <a:pt x="550" y="153"/>
                  <a:pt x="615" y="138"/>
                </a:cubicBezTo>
                <a:cubicBezTo>
                  <a:pt x="647" y="131"/>
                  <a:pt x="674" y="122"/>
                  <a:pt x="692" y="113"/>
                </a:cubicBezTo>
                <a:cubicBezTo>
                  <a:pt x="701" y="108"/>
                  <a:pt x="708" y="103"/>
                  <a:pt x="713" y="98"/>
                </a:cubicBezTo>
                <a:cubicBezTo>
                  <a:pt x="718" y="92"/>
                  <a:pt x="721" y="87"/>
                  <a:pt x="721" y="81"/>
                </a:cubicBezTo>
                <a:cubicBezTo>
                  <a:pt x="720" y="81"/>
                  <a:pt x="720" y="81"/>
                  <a:pt x="720" y="8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181" name="Freeform 28"/>
          <p:cNvSpPr/>
          <p:nvPr/>
        </p:nvSpPr>
        <p:spPr bwMode="auto">
          <a:xfrm>
            <a:off x="2335848" y="4365943"/>
            <a:ext cx="958850" cy="239712"/>
          </a:xfrm>
          <a:custGeom>
            <a:avLst/>
            <a:gdLst>
              <a:gd name="T0" fmla="*/ 844 w 846"/>
              <a:gd name="T1" fmla="*/ 96 h 192"/>
              <a:gd name="T2" fmla="*/ 842 w 846"/>
              <a:gd name="T3" fmla="*/ 96 h 192"/>
              <a:gd name="T4" fmla="*/ 834 w 846"/>
              <a:gd name="T5" fmla="*/ 114 h 192"/>
              <a:gd name="T6" fmla="*/ 782 w 846"/>
              <a:gd name="T7" fmla="*/ 143 h 192"/>
              <a:gd name="T8" fmla="*/ 423 w 846"/>
              <a:gd name="T9" fmla="*/ 188 h 192"/>
              <a:gd name="T10" fmla="*/ 126 w 846"/>
              <a:gd name="T11" fmla="*/ 160 h 192"/>
              <a:gd name="T12" fmla="*/ 36 w 846"/>
              <a:gd name="T13" fmla="*/ 131 h 192"/>
              <a:gd name="T14" fmla="*/ 12 w 846"/>
              <a:gd name="T15" fmla="*/ 114 h 192"/>
              <a:gd name="T16" fmla="*/ 4 w 846"/>
              <a:gd name="T17" fmla="*/ 96 h 192"/>
              <a:gd name="T18" fmla="*/ 12 w 846"/>
              <a:gd name="T19" fmla="*/ 79 h 192"/>
              <a:gd name="T20" fmla="*/ 64 w 846"/>
              <a:gd name="T21" fmla="*/ 49 h 192"/>
              <a:gd name="T22" fmla="*/ 423 w 846"/>
              <a:gd name="T23" fmla="*/ 4 h 192"/>
              <a:gd name="T24" fmla="*/ 720 w 846"/>
              <a:gd name="T25" fmla="*/ 32 h 192"/>
              <a:gd name="T26" fmla="*/ 810 w 846"/>
              <a:gd name="T27" fmla="*/ 61 h 192"/>
              <a:gd name="T28" fmla="*/ 834 w 846"/>
              <a:gd name="T29" fmla="*/ 79 h 192"/>
              <a:gd name="T30" fmla="*/ 842 w 846"/>
              <a:gd name="T31" fmla="*/ 96 h 192"/>
              <a:gd name="T32" fmla="*/ 844 w 846"/>
              <a:gd name="T33" fmla="*/ 96 h 192"/>
              <a:gd name="T34" fmla="*/ 846 w 846"/>
              <a:gd name="T35" fmla="*/ 96 h 192"/>
              <a:gd name="T36" fmla="*/ 837 w 846"/>
              <a:gd name="T37" fmla="*/ 76 h 192"/>
              <a:gd name="T38" fmla="*/ 784 w 846"/>
              <a:gd name="T39" fmla="*/ 46 h 192"/>
              <a:gd name="T40" fmla="*/ 423 w 846"/>
              <a:gd name="T41" fmla="*/ 0 h 192"/>
              <a:gd name="T42" fmla="*/ 125 w 846"/>
              <a:gd name="T43" fmla="*/ 28 h 192"/>
              <a:gd name="T44" fmla="*/ 34 w 846"/>
              <a:gd name="T45" fmla="*/ 58 h 192"/>
              <a:gd name="T46" fmla="*/ 9 w 846"/>
              <a:gd name="T47" fmla="*/ 76 h 192"/>
              <a:gd name="T48" fmla="*/ 0 w 846"/>
              <a:gd name="T49" fmla="*/ 96 h 192"/>
              <a:gd name="T50" fmla="*/ 9 w 846"/>
              <a:gd name="T51" fmla="*/ 116 h 192"/>
              <a:gd name="T52" fmla="*/ 62 w 846"/>
              <a:gd name="T53" fmla="*/ 147 h 192"/>
              <a:gd name="T54" fmla="*/ 423 w 846"/>
              <a:gd name="T55" fmla="*/ 192 h 192"/>
              <a:gd name="T56" fmla="*/ 721 w 846"/>
              <a:gd name="T57" fmla="*/ 164 h 192"/>
              <a:gd name="T58" fmla="*/ 812 w 846"/>
              <a:gd name="T59" fmla="*/ 134 h 192"/>
              <a:gd name="T60" fmla="*/ 837 w 846"/>
              <a:gd name="T61" fmla="*/ 116 h 192"/>
              <a:gd name="T62" fmla="*/ 846 w 846"/>
              <a:gd name="T63" fmla="*/ 96 h 192"/>
              <a:gd name="T64" fmla="*/ 844 w 846"/>
              <a:gd name="T65" fmla="*/ 9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846" h="192">
                <a:moveTo>
                  <a:pt x="844" y="96"/>
                </a:moveTo>
                <a:cubicBezTo>
                  <a:pt x="842" y="96"/>
                  <a:pt x="842" y="96"/>
                  <a:pt x="842" y="96"/>
                </a:cubicBezTo>
                <a:cubicBezTo>
                  <a:pt x="842" y="102"/>
                  <a:pt x="839" y="108"/>
                  <a:pt x="834" y="114"/>
                </a:cubicBezTo>
                <a:cubicBezTo>
                  <a:pt x="824" y="124"/>
                  <a:pt x="807" y="134"/>
                  <a:pt x="782" y="143"/>
                </a:cubicBezTo>
                <a:cubicBezTo>
                  <a:pt x="709" y="170"/>
                  <a:pt x="575" y="188"/>
                  <a:pt x="423" y="188"/>
                </a:cubicBezTo>
                <a:cubicBezTo>
                  <a:pt x="307" y="188"/>
                  <a:pt x="202" y="177"/>
                  <a:pt x="126" y="160"/>
                </a:cubicBezTo>
                <a:cubicBezTo>
                  <a:pt x="88" y="152"/>
                  <a:pt x="57" y="142"/>
                  <a:pt x="36" y="131"/>
                </a:cubicBezTo>
                <a:cubicBezTo>
                  <a:pt x="26" y="125"/>
                  <a:pt x="18" y="119"/>
                  <a:pt x="12" y="114"/>
                </a:cubicBezTo>
                <a:cubicBezTo>
                  <a:pt x="7" y="108"/>
                  <a:pt x="4" y="102"/>
                  <a:pt x="4" y="96"/>
                </a:cubicBezTo>
                <a:cubicBezTo>
                  <a:pt x="4" y="90"/>
                  <a:pt x="7" y="84"/>
                  <a:pt x="12" y="79"/>
                </a:cubicBezTo>
                <a:cubicBezTo>
                  <a:pt x="22" y="68"/>
                  <a:pt x="39" y="58"/>
                  <a:pt x="64" y="49"/>
                </a:cubicBezTo>
                <a:cubicBezTo>
                  <a:pt x="137" y="22"/>
                  <a:pt x="271" y="4"/>
                  <a:pt x="423" y="4"/>
                </a:cubicBezTo>
                <a:cubicBezTo>
                  <a:pt x="539" y="4"/>
                  <a:pt x="644" y="15"/>
                  <a:pt x="720" y="32"/>
                </a:cubicBezTo>
                <a:cubicBezTo>
                  <a:pt x="758" y="40"/>
                  <a:pt x="789" y="50"/>
                  <a:pt x="810" y="61"/>
                </a:cubicBezTo>
                <a:cubicBezTo>
                  <a:pt x="820" y="67"/>
                  <a:pt x="828" y="73"/>
                  <a:pt x="834" y="79"/>
                </a:cubicBezTo>
                <a:cubicBezTo>
                  <a:pt x="839" y="84"/>
                  <a:pt x="842" y="90"/>
                  <a:pt x="842" y="96"/>
                </a:cubicBezTo>
                <a:cubicBezTo>
                  <a:pt x="844" y="96"/>
                  <a:pt x="844" y="96"/>
                  <a:pt x="844" y="96"/>
                </a:cubicBezTo>
                <a:cubicBezTo>
                  <a:pt x="846" y="96"/>
                  <a:pt x="846" y="96"/>
                  <a:pt x="846" y="96"/>
                </a:cubicBezTo>
                <a:cubicBezTo>
                  <a:pt x="846" y="89"/>
                  <a:pt x="843" y="82"/>
                  <a:pt x="837" y="76"/>
                </a:cubicBezTo>
                <a:cubicBezTo>
                  <a:pt x="827" y="65"/>
                  <a:pt x="808" y="55"/>
                  <a:pt x="784" y="46"/>
                </a:cubicBezTo>
                <a:cubicBezTo>
                  <a:pt x="709" y="18"/>
                  <a:pt x="576" y="0"/>
                  <a:pt x="423" y="0"/>
                </a:cubicBezTo>
                <a:cubicBezTo>
                  <a:pt x="307" y="0"/>
                  <a:pt x="201" y="11"/>
                  <a:pt x="125" y="28"/>
                </a:cubicBezTo>
                <a:cubicBezTo>
                  <a:pt x="87" y="36"/>
                  <a:pt x="56" y="47"/>
                  <a:pt x="34" y="58"/>
                </a:cubicBezTo>
                <a:cubicBezTo>
                  <a:pt x="23" y="64"/>
                  <a:pt x="15" y="70"/>
                  <a:pt x="9" y="76"/>
                </a:cubicBezTo>
                <a:cubicBezTo>
                  <a:pt x="3" y="82"/>
                  <a:pt x="0" y="89"/>
                  <a:pt x="0" y="96"/>
                </a:cubicBezTo>
                <a:cubicBezTo>
                  <a:pt x="0" y="103"/>
                  <a:pt x="3" y="110"/>
                  <a:pt x="9" y="116"/>
                </a:cubicBezTo>
                <a:cubicBezTo>
                  <a:pt x="19" y="127"/>
                  <a:pt x="38" y="137"/>
                  <a:pt x="62" y="147"/>
                </a:cubicBezTo>
                <a:cubicBezTo>
                  <a:pt x="137" y="174"/>
                  <a:pt x="270" y="192"/>
                  <a:pt x="423" y="192"/>
                </a:cubicBezTo>
                <a:cubicBezTo>
                  <a:pt x="539" y="192"/>
                  <a:pt x="645" y="181"/>
                  <a:pt x="721" y="164"/>
                </a:cubicBezTo>
                <a:cubicBezTo>
                  <a:pt x="759" y="156"/>
                  <a:pt x="790" y="146"/>
                  <a:pt x="812" y="134"/>
                </a:cubicBezTo>
                <a:cubicBezTo>
                  <a:pt x="822" y="129"/>
                  <a:pt x="831" y="123"/>
                  <a:pt x="837" y="116"/>
                </a:cubicBezTo>
                <a:cubicBezTo>
                  <a:pt x="843" y="110"/>
                  <a:pt x="846" y="103"/>
                  <a:pt x="846" y="96"/>
                </a:cubicBezTo>
                <a:cubicBezTo>
                  <a:pt x="844" y="96"/>
                  <a:pt x="844" y="96"/>
                  <a:pt x="844" y="9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182" name="Freeform 29"/>
          <p:cNvSpPr/>
          <p:nvPr/>
        </p:nvSpPr>
        <p:spPr bwMode="auto">
          <a:xfrm>
            <a:off x="2308861" y="4396106"/>
            <a:ext cx="1014413" cy="250825"/>
          </a:xfrm>
          <a:custGeom>
            <a:avLst/>
            <a:gdLst>
              <a:gd name="T0" fmla="*/ 892 w 894"/>
              <a:gd name="T1" fmla="*/ 102 h 203"/>
              <a:gd name="T2" fmla="*/ 890 w 894"/>
              <a:gd name="T3" fmla="*/ 102 h 203"/>
              <a:gd name="T4" fmla="*/ 882 w 894"/>
              <a:gd name="T5" fmla="*/ 120 h 203"/>
              <a:gd name="T6" fmla="*/ 827 w 894"/>
              <a:gd name="T7" fmla="*/ 151 h 203"/>
              <a:gd name="T8" fmla="*/ 447 w 894"/>
              <a:gd name="T9" fmla="*/ 199 h 203"/>
              <a:gd name="T10" fmla="*/ 132 w 894"/>
              <a:gd name="T11" fmla="*/ 170 h 203"/>
              <a:gd name="T12" fmla="*/ 37 w 894"/>
              <a:gd name="T13" fmla="*/ 139 h 203"/>
              <a:gd name="T14" fmla="*/ 12 w 894"/>
              <a:gd name="T15" fmla="*/ 120 h 203"/>
              <a:gd name="T16" fmla="*/ 4 w 894"/>
              <a:gd name="T17" fmla="*/ 102 h 203"/>
              <a:gd name="T18" fmla="*/ 12 w 894"/>
              <a:gd name="T19" fmla="*/ 83 h 203"/>
              <a:gd name="T20" fmla="*/ 67 w 894"/>
              <a:gd name="T21" fmla="*/ 52 h 203"/>
              <a:gd name="T22" fmla="*/ 447 w 894"/>
              <a:gd name="T23" fmla="*/ 4 h 203"/>
              <a:gd name="T24" fmla="*/ 762 w 894"/>
              <a:gd name="T25" fmla="*/ 34 h 203"/>
              <a:gd name="T26" fmla="*/ 857 w 894"/>
              <a:gd name="T27" fmla="*/ 65 h 203"/>
              <a:gd name="T28" fmla="*/ 882 w 894"/>
              <a:gd name="T29" fmla="*/ 83 h 203"/>
              <a:gd name="T30" fmla="*/ 890 w 894"/>
              <a:gd name="T31" fmla="*/ 102 h 203"/>
              <a:gd name="T32" fmla="*/ 892 w 894"/>
              <a:gd name="T33" fmla="*/ 102 h 203"/>
              <a:gd name="T34" fmla="*/ 894 w 894"/>
              <a:gd name="T35" fmla="*/ 102 h 203"/>
              <a:gd name="T36" fmla="*/ 885 w 894"/>
              <a:gd name="T37" fmla="*/ 80 h 203"/>
              <a:gd name="T38" fmla="*/ 829 w 894"/>
              <a:gd name="T39" fmla="*/ 48 h 203"/>
              <a:gd name="T40" fmla="*/ 447 w 894"/>
              <a:gd name="T41" fmla="*/ 0 h 203"/>
              <a:gd name="T42" fmla="*/ 132 w 894"/>
              <a:gd name="T43" fmla="*/ 30 h 203"/>
              <a:gd name="T44" fmla="*/ 36 w 894"/>
              <a:gd name="T45" fmla="*/ 61 h 203"/>
              <a:gd name="T46" fmla="*/ 9 w 894"/>
              <a:gd name="T47" fmla="*/ 80 h 203"/>
              <a:gd name="T48" fmla="*/ 0 w 894"/>
              <a:gd name="T49" fmla="*/ 102 h 203"/>
              <a:gd name="T50" fmla="*/ 9 w 894"/>
              <a:gd name="T51" fmla="*/ 123 h 203"/>
              <a:gd name="T52" fmla="*/ 65 w 894"/>
              <a:gd name="T53" fmla="*/ 155 h 203"/>
              <a:gd name="T54" fmla="*/ 447 w 894"/>
              <a:gd name="T55" fmla="*/ 203 h 203"/>
              <a:gd name="T56" fmla="*/ 762 w 894"/>
              <a:gd name="T57" fmla="*/ 174 h 203"/>
              <a:gd name="T58" fmla="*/ 858 w 894"/>
              <a:gd name="T59" fmla="*/ 142 h 203"/>
              <a:gd name="T60" fmla="*/ 885 w 894"/>
              <a:gd name="T61" fmla="*/ 123 h 203"/>
              <a:gd name="T62" fmla="*/ 894 w 894"/>
              <a:gd name="T63" fmla="*/ 102 h 203"/>
              <a:gd name="T64" fmla="*/ 892 w 894"/>
              <a:gd name="T65" fmla="*/ 102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894" h="203">
                <a:moveTo>
                  <a:pt x="892" y="102"/>
                </a:moveTo>
                <a:cubicBezTo>
                  <a:pt x="890" y="102"/>
                  <a:pt x="890" y="102"/>
                  <a:pt x="890" y="102"/>
                </a:cubicBezTo>
                <a:cubicBezTo>
                  <a:pt x="890" y="108"/>
                  <a:pt x="888" y="114"/>
                  <a:pt x="882" y="120"/>
                </a:cubicBezTo>
                <a:cubicBezTo>
                  <a:pt x="872" y="131"/>
                  <a:pt x="853" y="142"/>
                  <a:pt x="827" y="151"/>
                </a:cubicBezTo>
                <a:cubicBezTo>
                  <a:pt x="750" y="180"/>
                  <a:pt x="608" y="199"/>
                  <a:pt x="447" y="199"/>
                </a:cubicBezTo>
                <a:cubicBezTo>
                  <a:pt x="324" y="199"/>
                  <a:pt x="213" y="188"/>
                  <a:pt x="132" y="170"/>
                </a:cubicBezTo>
                <a:cubicBezTo>
                  <a:pt x="92" y="161"/>
                  <a:pt x="60" y="150"/>
                  <a:pt x="37" y="139"/>
                </a:cubicBezTo>
                <a:cubicBezTo>
                  <a:pt x="26" y="133"/>
                  <a:pt x="18" y="127"/>
                  <a:pt x="12" y="120"/>
                </a:cubicBezTo>
                <a:cubicBezTo>
                  <a:pt x="6" y="114"/>
                  <a:pt x="4" y="108"/>
                  <a:pt x="4" y="102"/>
                </a:cubicBezTo>
                <a:cubicBezTo>
                  <a:pt x="4" y="95"/>
                  <a:pt x="6" y="89"/>
                  <a:pt x="12" y="83"/>
                </a:cubicBezTo>
                <a:cubicBezTo>
                  <a:pt x="22" y="72"/>
                  <a:pt x="41" y="62"/>
                  <a:pt x="67" y="52"/>
                </a:cubicBezTo>
                <a:cubicBezTo>
                  <a:pt x="144" y="24"/>
                  <a:pt x="286" y="4"/>
                  <a:pt x="447" y="4"/>
                </a:cubicBezTo>
                <a:cubicBezTo>
                  <a:pt x="570" y="4"/>
                  <a:pt x="681" y="16"/>
                  <a:pt x="762" y="34"/>
                </a:cubicBezTo>
                <a:cubicBezTo>
                  <a:pt x="802" y="42"/>
                  <a:pt x="834" y="53"/>
                  <a:pt x="857" y="65"/>
                </a:cubicBezTo>
                <a:cubicBezTo>
                  <a:pt x="868" y="71"/>
                  <a:pt x="876" y="77"/>
                  <a:pt x="882" y="83"/>
                </a:cubicBezTo>
                <a:cubicBezTo>
                  <a:pt x="888" y="89"/>
                  <a:pt x="890" y="95"/>
                  <a:pt x="890" y="102"/>
                </a:cubicBezTo>
                <a:cubicBezTo>
                  <a:pt x="892" y="102"/>
                  <a:pt x="892" y="102"/>
                  <a:pt x="892" y="102"/>
                </a:cubicBezTo>
                <a:cubicBezTo>
                  <a:pt x="894" y="102"/>
                  <a:pt x="894" y="102"/>
                  <a:pt x="894" y="102"/>
                </a:cubicBezTo>
                <a:cubicBezTo>
                  <a:pt x="894" y="94"/>
                  <a:pt x="891" y="87"/>
                  <a:pt x="885" y="80"/>
                </a:cubicBezTo>
                <a:cubicBezTo>
                  <a:pt x="874" y="69"/>
                  <a:pt x="855" y="58"/>
                  <a:pt x="829" y="48"/>
                </a:cubicBezTo>
                <a:cubicBezTo>
                  <a:pt x="750" y="20"/>
                  <a:pt x="609" y="1"/>
                  <a:pt x="447" y="0"/>
                </a:cubicBezTo>
                <a:cubicBezTo>
                  <a:pt x="324" y="1"/>
                  <a:pt x="212" y="12"/>
                  <a:pt x="132" y="30"/>
                </a:cubicBezTo>
                <a:cubicBezTo>
                  <a:pt x="91" y="39"/>
                  <a:pt x="58" y="49"/>
                  <a:pt x="36" y="61"/>
                </a:cubicBezTo>
                <a:cubicBezTo>
                  <a:pt x="24" y="67"/>
                  <a:pt x="15" y="74"/>
                  <a:pt x="9" y="80"/>
                </a:cubicBezTo>
                <a:cubicBezTo>
                  <a:pt x="3" y="87"/>
                  <a:pt x="0" y="94"/>
                  <a:pt x="0" y="102"/>
                </a:cubicBezTo>
                <a:cubicBezTo>
                  <a:pt x="0" y="109"/>
                  <a:pt x="3" y="116"/>
                  <a:pt x="9" y="123"/>
                </a:cubicBezTo>
                <a:cubicBezTo>
                  <a:pt x="20" y="135"/>
                  <a:pt x="39" y="145"/>
                  <a:pt x="65" y="155"/>
                </a:cubicBezTo>
                <a:cubicBezTo>
                  <a:pt x="144" y="184"/>
                  <a:pt x="285" y="203"/>
                  <a:pt x="447" y="203"/>
                </a:cubicBezTo>
                <a:cubicBezTo>
                  <a:pt x="570" y="203"/>
                  <a:pt x="682" y="192"/>
                  <a:pt x="762" y="174"/>
                </a:cubicBezTo>
                <a:cubicBezTo>
                  <a:pt x="803" y="165"/>
                  <a:pt x="836" y="154"/>
                  <a:pt x="858" y="142"/>
                </a:cubicBezTo>
                <a:cubicBezTo>
                  <a:pt x="870" y="136"/>
                  <a:pt x="879" y="130"/>
                  <a:pt x="885" y="123"/>
                </a:cubicBezTo>
                <a:cubicBezTo>
                  <a:pt x="891" y="116"/>
                  <a:pt x="894" y="109"/>
                  <a:pt x="894" y="102"/>
                </a:cubicBezTo>
                <a:cubicBezTo>
                  <a:pt x="892" y="102"/>
                  <a:pt x="892" y="102"/>
                  <a:pt x="892" y="102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183" name="Freeform 30"/>
          <p:cNvSpPr/>
          <p:nvPr/>
        </p:nvSpPr>
        <p:spPr bwMode="auto">
          <a:xfrm>
            <a:off x="2319973" y="4423094"/>
            <a:ext cx="990600" cy="244475"/>
          </a:xfrm>
          <a:custGeom>
            <a:avLst/>
            <a:gdLst>
              <a:gd name="T0" fmla="*/ 873 w 874"/>
              <a:gd name="T1" fmla="*/ 98 h 196"/>
              <a:gd name="T2" fmla="*/ 872 w 874"/>
              <a:gd name="T3" fmla="*/ 98 h 196"/>
              <a:gd name="T4" fmla="*/ 863 w 874"/>
              <a:gd name="T5" fmla="*/ 117 h 196"/>
              <a:gd name="T6" fmla="*/ 714 w 874"/>
              <a:gd name="T7" fmla="*/ 172 h 196"/>
              <a:gd name="T8" fmla="*/ 437 w 874"/>
              <a:gd name="T9" fmla="*/ 194 h 196"/>
              <a:gd name="T10" fmla="*/ 129 w 874"/>
              <a:gd name="T11" fmla="*/ 165 h 196"/>
              <a:gd name="T12" fmla="*/ 36 w 874"/>
              <a:gd name="T13" fmla="*/ 135 h 196"/>
              <a:gd name="T14" fmla="*/ 11 w 874"/>
              <a:gd name="T15" fmla="*/ 117 h 196"/>
              <a:gd name="T16" fmla="*/ 2 w 874"/>
              <a:gd name="T17" fmla="*/ 98 h 196"/>
              <a:gd name="T18" fmla="*/ 11 w 874"/>
              <a:gd name="T19" fmla="*/ 79 h 196"/>
              <a:gd name="T20" fmla="*/ 160 w 874"/>
              <a:gd name="T21" fmla="*/ 24 h 196"/>
              <a:gd name="T22" fmla="*/ 437 w 874"/>
              <a:gd name="T23" fmla="*/ 2 h 196"/>
              <a:gd name="T24" fmla="*/ 745 w 874"/>
              <a:gd name="T25" fmla="*/ 30 h 196"/>
              <a:gd name="T26" fmla="*/ 838 w 874"/>
              <a:gd name="T27" fmla="*/ 61 h 196"/>
              <a:gd name="T28" fmla="*/ 863 w 874"/>
              <a:gd name="T29" fmla="*/ 79 h 196"/>
              <a:gd name="T30" fmla="*/ 872 w 874"/>
              <a:gd name="T31" fmla="*/ 98 h 196"/>
              <a:gd name="T32" fmla="*/ 873 w 874"/>
              <a:gd name="T33" fmla="*/ 98 h 196"/>
              <a:gd name="T34" fmla="*/ 874 w 874"/>
              <a:gd name="T35" fmla="*/ 98 h 196"/>
              <a:gd name="T36" fmla="*/ 865 w 874"/>
              <a:gd name="T37" fmla="*/ 78 h 196"/>
              <a:gd name="T38" fmla="*/ 714 w 874"/>
              <a:gd name="T39" fmla="*/ 22 h 196"/>
              <a:gd name="T40" fmla="*/ 437 w 874"/>
              <a:gd name="T41" fmla="*/ 0 h 196"/>
              <a:gd name="T42" fmla="*/ 129 w 874"/>
              <a:gd name="T43" fmla="*/ 28 h 196"/>
              <a:gd name="T44" fmla="*/ 35 w 874"/>
              <a:gd name="T45" fmla="*/ 59 h 196"/>
              <a:gd name="T46" fmla="*/ 9 w 874"/>
              <a:gd name="T47" fmla="*/ 78 h 196"/>
              <a:gd name="T48" fmla="*/ 0 w 874"/>
              <a:gd name="T49" fmla="*/ 98 h 196"/>
              <a:gd name="T50" fmla="*/ 9 w 874"/>
              <a:gd name="T51" fmla="*/ 118 h 196"/>
              <a:gd name="T52" fmla="*/ 160 w 874"/>
              <a:gd name="T53" fmla="*/ 174 h 196"/>
              <a:gd name="T54" fmla="*/ 437 w 874"/>
              <a:gd name="T55" fmla="*/ 196 h 196"/>
              <a:gd name="T56" fmla="*/ 745 w 874"/>
              <a:gd name="T57" fmla="*/ 167 h 196"/>
              <a:gd name="T58" fmla="*/ 839 w 874"/>
              <a:gd name="T59" fmla="*/ 136 h 196"/>
              <a:gd name="T60" fmla="*/ 865 w 874"/>
              <a:gd name="T61" fmla="*/ 118 h 196"/>
              <a:gd name="T62" fmla="*/ 874 w 874"/>
              <a:gd name="T63" fmla="*/ 98 h 196"/>
              <a:gd name="T64" fmla="*/ 873 w 874"/>
              <a:gd name="T65" fmla="*/ 98 h 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874" h="196">
                <a:moveTo>
                  <a:pt x="873" y="98"/>
                </a:moveTo>
                <a:cubicBezTo>
                  <a:pt x="872" y="98"/>
                  <a:pt x="872" y="98"/>
                  <a:pt x="872" y="98"/>
                </a:cubicBezTo>
                <a:cubicBezTo>
                  <a:pt x="872" y="104"/>
                  <a:pt x="869" y="110"/>
                  <a:pt x="863" y="117"/>
                </a:cubicBezTo>
                <a:cubicBezTo>
                  <a:pt x="843" y="138"/>
                  <a:pt x="789" y="158"/>
                  <a:pt x="714" y="172"/>
                </a:cubicBezTo>
                <a:cubicBezTo>
                  <a:pt x="639" y="185"/>
                  <a:pt x="542" y="194"/>
                  <a:pt x="437" y="194"/>
                </a:cubicBezTo>
                <a:cubicBezTo>
                  <a:pt x="317" y="194"/>
                  <a:pt x="208" y="183"/>
                  <a:pt x="129" y="165"/>
                </a:cubicBezTo>
                <a:cubicBezTo>
                  <a:pt x="90" y="157"/>
                  <a:pt x="58" y="146"/>
                  <a:pt x="36" y="135"/>
                </a:cubicBezTo>
                <a:cubicBezTo>
                  <a:pt x="25" y="129"/>
                  <a:pt x="16" y="123"/>
                  <a:pt x="11" y="117"/>
                </a:cubicBezTo>
                <a:cubicBezTo>
                  <a:pt x="5" y="110"/>
                  <a:pt x="2" y="104"/>
                  <a:pt x="2" y="98"/>
                </a:cubicBezTo>
                <a:cubicBezTo>
                  <a:pt x="2" y="91"/>
                  <a:pt x="5" y="85"/>
                  <a:pt x="11" y="79"/>
                </a:cubicBezTo>
                <a:cubicBezTo>
                  <a:pt x="31" y="57"/>
                  <a:pt x="85" y="38"/>
                  <a:pt x="160" y="24"/>
                </a:cubicBezTo>
                <a:cubicBezTo>
                  <a:pt x="235" y="10"/>
                  <a:pt x="332" y="2"/>
                  <a:pt x="437" y="2"/>
                </a:cubicBezTo>
                <a:cubicBezTo>
                  <a:pt x="557" y="2"/>
                  <a:pt x="666" y="13"/>
                  <a:pt x="745" y="30"/>
                </a:cubicBezTo>
                <a:cubicBezTo>
                  <a:pt x="784" y="39"/>
                  <a:pt x="816" y="49"/>
                  <a:pt x="838" y="61"/>
                </a:cubicBezTo>
                <a:cubicBezTo>
                  <a:pt x="849" y="67"/>
                  <a:pt x="858" y="73"/>
                  <a:pt x="863" y="79"/>
                </a:cubicBezTo>
                <a:cubicBezTo>
                  <a:pt x="869" y="85"/>
                  <a:pt x="872" y="91"/>
                  <a:pt x="872" y="98"/>
                </a:cubicBezTo>
                <a:cubicBezTo>
                  <a:pt x="873" y="98"/>
                  <a:pt x="873" y="98"/>
                  <a:pt x="873" y="98"/>
                </a:cubicBezTo>
                <a:cubicBezTo>
                  <a:pt x="874" y="98"/>
                  <a:pt x="874" y="98"/>
                  <a:pt x="874" y="98"/>
                </a:cubicBezTo>
                <a:cubicBezTo>
                  <a:pt x="874" y="91"/>
                  <a:pt x="871" y="84"/>
                  <a:pt x="865" y="78"/>
                </a:cubicBezTo>
                <a:cubicBezTo>
                  <a:pt x="844" y="55"/>
                  <a:pt x="790" y="36"/>
                  <a:pt x="714" y="22"/>
                </a:cubicBezTo>
                <a:cubicBezTo>
                  <a:pt x="639" y="8"/>
                  <a:pt x="542" y="0"/>
                  <a:pt x="437" y="0"/>
                </a:cubicBezTo>
                <a:cubicBezTo>
                  <a:pt x="317" y="0"/>
                  <a:pt x="208" y="11"/>
                  <a:pt x="129" y="28"/>
                </a:cubicBezTo>
                <a:cubicBezTo>
                  <a:pt x="89" y="37"/>
                  <a:pt x="57" y="47"/>
                  <a:pt x="35" y="59"/>
                </a:cubicBezTo>
                <a:cubicBezTo>
                  <a:pt x="24" y="65"/>
                  <a:pt x="15" y="71"/>
                  <a:pt x="9" y="78"/>
                </a:cubicBezTo>
                <a:cubicBezTo>
                  <a:pt x="3" y="84"/>
                  <a:pt x="0" y="91"/>
                  <a:pt x="0" y="98"/>
                </a:cubicBezTo>
                <a:cubicBezTo>
                  <a:pt x="0" y="105"/>
                  <a:pt x="3" y="112"/>
                  <a:pt x="9" y="118"/>
                </a:cubicBezTo>
                <a:cubicBezTo>
                  <a:pt x="30" y="140"/>
                  <a:pt x="84" y="160"/>
                  <a:pt x="160" y="174"/>
                </a:cubicBezTo>
                <a:cubicBezTo>
                  <a:pt x="235" y="187"/>
                  <a:pt x="332" y="196"/>
                  <a:pt x="437" y="196"/>
                </a:cubicBezTo>
                <a:cubicBezTo>
                  <a:pt x="557" y="196"/>
                  <a:pt x="666" y="185"/>
                  <a:pt x="745" y="167"/>
                </a:cubicBezTo>
                <a:cubicBezTo>
                  <a:pt x="785" y="159"/>
                  <a:pt x="817" y="148"/>
                  <a:pt x="839" y="136"/>
                </a:cubicBezTo>
                <a:cubicBezTo>
                  <a:pt x="850" y="131"/>
                  <a:pt x="859" y="124"/>
                  <a:pt x="865" y="118"/>
                </a:cubicBezTo>
                <a:cubicBezTo>
                  <a:pt x="871" y="112"/>
                  <a:pt x="874" y="105"/>
                  <a:pt x="874" y="98"/>
                </a:cubicBezTo>
                <a:cubicBezTo>
                  <a:pt x="873" y="98"/>
                  <a:pt x="873" y="98"/>
                  <a:pt x="873" y="98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184" name="Freeform 32"/>
          <p:cNvSpPr/>
          <p:nvPr/>
        </p:nvSpPr>
        <p:spPr bwMode="auto">
          <a:xfrm>
            <a:off x="2040574" y="4619943"/>
            <a:ext cx="220662" cy="77787"/>
          </a:xfrm>
          <a:custGeom>
            <a:avLst/>
            <a:gdLst>
              <a:gd name="T0" fmla="*/ 192 w 194"/>
              <a:gd name="T1" fmla="*/ 32 h 64"/>
              <a:gd name="T2" fmla="*/ 190 w 194"/>
              <a:gd name="T3" fmla="*/ 32 h 64"/>
              <a:gd name="T4" fmla="*/ 189 w 194"/>
              <a:gd name="T5" fmla="*/ 37 h 64"/>
              <a:gd name="T6" fmla="*/ 177 w 194"/>
              <a:gd name="T7" fmla="*/ 45 h 64"/>
              <a:gd name="T8" fmla="*/ 97 w 194"/>
              <a:gd name="T9" fmla="*/ 60 h 64"/>
              <a:gd name="T10" fmla="*/ 30 w 194"/>
              <a:gd name="T11" fmla="*/ 51 h 64"/>
              <a:gd name="T12" fmla="*/ 10 w 194"/>
              <a:gd name="T13" fmla="*/ 42 h 64"/>
              <a:gd name="T14" fmla="*/ 5 w 194"/>
              <a:gd name="T15" fmla="*/ 37 h 64"/>
              <a:gd name="T16" fmla="*/ 4 w 194"/>
              <a:gd name="T17" fmla="*/ 32 h 64"/>
              <a:gd name="T18" fmla="*/ 5 w 194"/>
              <a:gd name="T19" fmla="*/ 27 h 64"/>
              <a:gd name="T20" fmla="*/ 16 w 194"/>
              <a:gd name="T21" fmla="*/ 18 h 64"/>
              <a:gd name="T22" fmla="*/ 97 w 194"/>
              <a:gd name="T23" fmla="*/ 4 h 64"/>
              <a:gd name="T24" fmla="*/ 164 w 194"/>
              <a:gd name="T25" fmla="*/ 12 h 64"/>
              <a:gd name="T26" fmla="*/ 183 w 194"/>
              <a:gd name="T27" fmla="*/ 22 h 64"/>
              <a:gd name="T28" fmla="*/ 189 w 194"/>
              <a:gd name="T29" fmla="*/ 27 h 64"/>
              <a:gd name="T30" fmla="*/ 190 w 194"/>
              <a:gd name="T31" fmla="*/ 32 h 64"/>
              <a:gd name="T32" fmla="*/ 192 w 194"/>
              <a:gd name="T33" fmla="*/ 32 h 64"/>
              <a:gd name="T34" fmla="*/ 194 w 194"/>
              <a:gd name="T35" fmla="*/ 32 h 64"/>
              <a:gd name="T36" fmla="*/ 192 w 194"/>
              <a:gd name="T37" fmla="*/ 25 h 64"/>
              <a:gd name="T38" fmla="*/ 179 w 194"/>
              <a:gd name="T39" fmla="*/ 14 h 64"/>
              <a:gd name="T40" fmla="*/ 97 w 194"/>
              <a:gd name="T41" fmla="*/ 0 h 64"/>
              <a:gd name="T42" fmla="*/ 29 w 194"/>
              <a:gd name="T43" fmla="*/ 9 h 64"/>
              <a:gd name="T44" fmla="*/ 8 w 194"/>
              <a:gd name="T45" fmla="*/ 18 h 64"/>
              <a:gd name="T46" fmla="*/ 2 w 194"/>
              <a:gd name="T47" fmla="*/ 25 h 64"/>
              <a:gd name="T48" fmla="*/ 0 w 194"/>
              <a:gd name="T49" fmla="*/ 32 h 64"/>
              <a:gd name="T50" fmla="*/ 2 w 194"/>
              <a:gd name="T51" fmla="*/ 39 h 64"/>
              <a:gd name="T52" fmla="*/ 14 w 194"/>
              <a:gd name="T53" fmla="*/ 49 h 64"/>
              <a:gd name="T54" fmla="*/ 97 w 194"/>
              <a:gd name="T55" fmla="*/ 64 h 64"/>
              <a:gd name="T56" fmla="*/ 165 w 194"/>
              <a:gd name="T57" fmla="*/ 55 h 64"/>
              <a:gd name="T58" fmla="*/ 186 w 194"/>
              <a:gd name="T59" fmla="*/ 45 h 64"/>
              <a:gd name="T60" fmla="*/ 192 w 194"/>
              <a:gd name="T61" fmla="*/ 39 h 64"/>
              <a:gd name="T62" fmla="*/ 194 w 194"/>
              <a:gd name="T63" fmla="*/ 32 h 64"/>
              <a:gd name="T64" fmla="*/ 192 w 194"/>
              <a:gd name="T65" fmla="*/ 32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4" h="64">
                <a:moveTo>
                  <a:pt x="192" y="32"/>
                </a:moveTo>
                <a:cubicBezTo>
                  <a:pt x="190" y="32"/>
                  <a:pt x="190" y="32"/>
                  <a:pt x="190" y="32"/>
                </a:cubicBezTo>
                <a:cubicBezTo>
                  <a:pt x="190" y="33"/>
                  <a:pt x="190" y="35"/>
                  <a:pt x="189" y="37"/>
                </a:cubicBezTo>
                <a:cubicBezTo>
                  <a:pt x="187" y="40"/>
                  <a:pt x="183" y="43"/>
                  <a:pt x="177" y="45"/>
                </a:cubicBezTo>
                <a:cubicBezTo>
                  <a:pt x="161" y="54"/>
                  <a:pt x="131" y="60"/>
                  <a:pt x="97" y="60"/>
                </a:cubicBezTo>
                <a:cubicBezTo>
                  <a:pt x="71" y="60"/>
                  <a:pt x="47" y="56"/>
                  <a:pt x="30" y="51"/>
                </a:cubicBezTo>
                <a:cubicBezTo>
                  <a:pt x="22" y="48"/>
                  <a:pt x="15" y="45"/>
                  <a:pt x="10" y="42"/>
                </a:cubicBezTo>
                <a:cubicBezTo>
                  <a:pt x="8" y="40"/>
                  <a:pt x="6" y="38"/>
                  <a:pt x="5" y="37"/>
                </a:cubicBezTo>
                <a:cubicBezTo>
                  <a:pt x="4" y="35"/>
                  <a:pt x="4" y="33"/>
                  <a:pt x="4" y="32"/>
                </a:cubicBezTo>
                <a:cubicBezTo>
                  <a:pt x="4" y="30"/>
                  <a:pt x="4" y="28"/>
                  <a:pt x="5" y="27"/>
                </a:cubicBezTo>
                <a:cubicBezTo>
                  <a:pt x="7" y="24"/>
                  <a:pt x="11" y="21"/>
                  <a:pt x="16" y="18"/>
                </a:cubicBezTo>
                <a:cubicBezTo>
                  <a:pt x="32" y="10"/>
                  <a:pt x="63" y="4"/>
                  <a:pt x="97" y="4"/>
                </a:cubicBezTo>
                <a:cubicBezTo>
                  <a:pt x="123" y="4"/>
                  <a:pt x="147" y="7"/>
                  <a:pt x="164" y="12"/>
                </a:cubicBezTo>
                <a:cubicBezTo>
                  <a:pt x="172" y="15"/>
                  <a:pt x="179" y="18"/>
                  <a:pt x="183" y="22"/>
                </a:cubicBezTo>
                <a:cubicBezTo>
                  <a:pt x="186" y="23"/>
                  <a:pt x="187" y="25"/>
                  <a:pt x="189" y="27"/>
                </a:cubicBezTo>
                <a:cubicBezTo>
                  <a:pt x="190" y="28"/>
                  <a:pt x="190" y="30"/>
                  <a:pt x="190" y="32"/>
                </a:cubicBezTo>
                <a:cubicBezTo>
                  <a:pt x="192" y="32"/>
                  <a:pt x="192" y="32"/>
                  <a:pt x="192" y="32"/>
                </a:cubicBezTo>
                <a:cubicBezTo>
                  <a:pt x="194" y="32"/>
                  <a:pt x="194" y="32"/>
                  <a:pt x="194" y="32"/>
                </a:cubicBezTo>
                <a:cubicBezTo>
                  <a:pt x="194" y="29"/>
                  <a:pt x="193" y="27"/>
                  <a:pt x="192" y="25"/>
                </a:cubicBezTo>
                <a:cubicBezTo>
                  <a:pt x="189" y="21"/>
                  <a:pt x="185" y="17"/>
                  <a:pt x="179" y="14"/>
                </a:cubicBezTo>
                <a:cubicBezTo>
                  <a:pt x="162" y="6"/>
                  <a:pt x="132" y="0"/>
                  <a:pt x="97" y="0"/>
                </a:cubicBezTo>
                <a:cubicBezTo>
                  <a:pt x="70" y="0"/>
                  <a:pt x="46" y="3"/>
                  <a:pt x="29" y="9"/>
                </a:cubicBezTo>
                <a:cubicBezTo>
                  <a:pt x="20" y="11"/>
                  <a:pt x="13" y="15"/>
                  <a:pt x="8" y="18"/>
                </a:cubicBezTo>
                <a:cubicBezTo>
                  <a:pt x="5" y="20"/>
                  <a:pt x="3" y="22"/>
                  <a:pt x="2" y="25"/>
                </a:cubicBezTo>
                <a:cubicBezTo>
                  <a:pt x="0" y="27"/>
                  <a:pt x="0" y="29"/>
                  <a:pt x="0" y="32"/>
                </a:cubicBezTo>
                <a:cubicBezTo>
                  <a:pt x="0" y="34"/>
                  <a:pt x="0" y="37"/>
                  <a:pt x="2" y="39"/>
                </a:cubicBezTo>
                <a:cubicBezTo>
                  <a:pt x="4" y="43"/>
                  <a:pt x="9" y="46"/>
                  <a:pt x="14" y="49"/>
                </a:cubicBezTo>
                <a:cubicBezTo>
                  <a:pt x="32" y="58"/>
                  <a:pt x="62" y="64"/>
                  <a:pt x="97" y="64"/>
                </a:cubicBezTo>
                <a:cubicBezTo>
                  <a:pt x="123" y="64"/>
                  <a:pt x="147" y="60"/>
                  <a:pt x="165" y="55"/>
                </a:cubicBezTo>
                <a:cubicBezTo>
                  <a:pt x="174" y="52"/>
                  <a:pt x="181" y="49"/>
                  <a:pt x="186" y="45"/>
                </a:cubicBezTo>
                <a:cubicBezTo>
                  <a:pt x="188" y="43"/>
                  <a:pt x="190" y="41"/>
                  <a:pt x="192" y="39"/>
                </a:cubicBezTo>
                <a:cubicBezTo>
                  <a:pt x="193" y="37"/>
                  <a:pt x="194" y="34"/>
                  <a:pt x="194" y="32"/>
                </a:cubicBezTo>
                <a:lnTo>
                  <a:pt x="192" y="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2" name="Freeform 33"/>
          <p:cNvSpPr/>
          <p:nvPr/>
        </p:nvSpPr>
        <p:spPr bwMode="auto">
          <a:xfrm>
            <a:off x="2043749" y="4627881"/>
            <a:ext cx="214312" cy="74613"/>
          </a:xfrm>
          <a:custGeom>
            <a:avLst/>
            <a:gdLst>
              <a:gd name="T0" fmla="*/ 187 w 188"/>
              <a:gd name="T1" fmla="*/ 30 h 61"/>
              <a:gd name="T2" fmla="*/ 186 w 188"/>
              <a:gd name="T3" fmla="*/ 30 h 61"/>
              <a:gd name="T4" fmla="*/ 179 w 188"/>
              <a:gd name="T5" fmla="*/ 41 h 61"/>
              <a:gd name="T6" fmla="*/ 146 w 188"/>
              <a:gd name="T7" fmla="*/ 54 h 61"/>
              <a:gd name="T8" fmla="*/ 94 w 188"/>
              <a:gd name="T9" fmla="*/ 59 h 61"/>
              <a:gd name="T10" fmla="*/ 28 w 188"/>
              <a:gd name="T11" fmla="*/ 50 h 61"/>
              <a:gd name="T12" fmla="*/ 8 w 188"/>
              <a:gd name="T13" fmla="*/ 41 h 61"/>
              <a:gd name="T14" fmla="*/ 2 w 188"/>
              <a:gd name="T15" fmla="*/ 30 h 61"/>
              <a:gd name="T16" fmla="*/ 8 w 188"/>
              <a:gd name="T17" fmla="*/ 20 h 61"/>
              <a:gd name="T18" fmla="*/ 42 w 188"/>
              <a:gd name="T19" fmla="*/ 7 h 61"/>
              <a:gd name="T20" fmla="*/ 94 w 188"/>
              <a:gd name="T21" fmla="*/ 2 h 61"/>
              <a:gd name="T22" fmla="*/ 159 w 188"/>
              <a:gd name="T23" fmla="*/ 11 h 61"/>
              <a:gd name="T24" fmla="*/ 179 w 188"/>
              <a:gd name="T25" fmla="*/ 20 h 61"/>
              <a:gd name="T26" fmla="*/ 186 w 188"/>
              <a:gd name="T27" fmla="*/ 30 h 61"/>
              <a:gd name="T28" fmla="*/ 187 w 188"/>
              <a:gd name="T29" fmla="*/ 30 h 61"/>
              <a:gd name="T30" fmla="*/ 188 w 188"/>
              <a:gd name="T31" fmla="*/ 30 h 61"/>
              <a:gd name="T32" fmla="*/ 180 w 188"/>
              <a:gd name="T33" fmla="*/ 18 h 61"/>
              <a:gd name="T34" fmla="*/ 146 w 188"/>
              <a:gd name="T35" fmla="*/ 5 h 61"/>
              <a:gd name="T36" fmla="*/ 94 w 188"/>
              <a:gd name="T37" fmla="*/ 0 h 61"/>
              <a:gd name="T38" fmla="*/ 28 w 188"/>
              <a:gd name="T39" fmla="*/ 9 h 61"/>
              <a:gd name="T40" fmla="*/ 7 w 188"/>
              <a:gd name="T41" fmla="*/ 18 h 61"/>
              <a:gd name="T42" fmla="*/ 0 w 188"/>
              <a:gd name="T43" fmla="*/ 30 h 61"/>
              <a:gd name="T44" fmla="*/ 7 w 188"/>
              <a:gd name="T45" fmla="*/ 43 h 61"/>
              <a:gd name="T46" fmla="*/ 41 w 188"/>
              <a:gd name="T47" fmla="*/ 56 h 61"/>
              <a:gd name="T48" fmla="*/ 94 w 188"/>
              <a:gd name="T49" fmla="*/ 61 h 61"/>
              <a:gd name="T50" fmla="*/ 160 w 188"/>
              <a:gd name="T51" fmla="*/ 52 h 61"/>
              <a:gd name="T52" fmla="*/ 180 w 188"/>
              <a:gd name="T53" fmla="*/ 43 h 61"/>
              <a:gd name="T54" fmla="*/ 188 w 188"/>
              <a:gd name="T55" fmla="*/ 30 h 61"/>
              <a:gd name="T56" fmla="*/ 187 w 188"/>
              <a:gd name="T57" fmla="*/ 3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88" h="61">
                <a:moveTo>
                  <a:pt x="187" y="30"/>
                </a:moveTo>
                <a:cubicBezTo>
                  <a:pt x="186" y="30"/>
                  <a:pt x="186" y="30"/>
                  <a:pt x="186" y="30"/>
                </a:cubicBezTo>
                <a:cubicBezTo>
                  <a:pt x="186" y="34"/>
                  <a:pt x="184" y="38"/>
                  <a:pt x="179" y="41"/>
                </a:cubicBezTo>
                <a:cubicBezTo>
                  <a:pt x="172" y="46"/>
                  <a:pt x="161" y="51"/>
                  <a:pt x="146" y="54"/>
                </a:cubicBezTo>
                <a:cubicBezTo>
                  <a:pt x="131" y="57"/>
                  <a:pt x="113" y="59"/>
                  <a:pt x="94" y="59"/>
                </a:cubicBezTo>
                <a:cubicBezTo>
                  <a:pt x="68" y="59"/>
                  <a:pt x="45" y="55"/>
                  <a:pt x="28" y="50"/>
                </a:cubicBezTo>
                <a:cubicBezTo>
                  <a:pt x="20" y="48"/>
                  <a:pt x="13" y="44"/>
                  <a:pt x="8" y="41"/>
                </a:cubicBezTo>
                <a:cubicBezTo>
                  <a:pt x="4" y="38"/>
                  <a:pt x="2" y="34"/>
                  <a:pt x="2" y="30"/>
                </a:cubicBezTo>
                <a:cubicBezTo>
                  <a:pt x="2" y="27"/>
                  <a:pt x="4" y="23"/>
                  <a:pt x="8" y="20"/>
                </a:cubicBezTo>
                <a:cubicBezTo>
                  <a:pt x="15" y="15"/>
                  <a:pt x="27" y="10"/>
                  <a:pt x="42" y="7"/>
                </a:cubicBezTo>
                <a:cubicBezTo>
                  <a:pt x="57" y="4"/>
                  <a:pt x="75" y="2"/>
                  <a:pt x="94" y="2"/>
                </a:cubicBezTo>
                <a:cubicBezTo>
                  <a:pt x="119" y="2"/>
                  <a:pt x="143" y="5"/>
                  <a:pt x="159" y="11"/>
                </a:cubicBezTo>
                <a:cubicBezTo>
                  <a:pt x="168" y="13"/>
                  <a:pt x="175" y="16"/>
                  <a:pt x="179" y="20"/>
                </a:cubicBezTo>
                <a:cubicBezTo>
                  <a:pt x="184" y="23"/>
                  <a:pt x="186" y="27"/>
                  <a:pt x="186" y="30"/>
                </a:cubicBezTo>
                <a:cubicBezTo>
                  <a:pt x="187" y="30"/>
                  <a:pt x="187" y="30"/>
                  <a:pt x="187" y="30"/>
                </a:cubicBezTo>
                <a:cubicBezTo>
                  <a:pt x="188" y="30"/>
                  <a:pt x="188" y="30"/>
                  <a:pt x="188" y="30"/>
                </a:cubicBezTo>
                <a:cubicBezTo>
                  <a:pt x="188" y="26"/>
                  <a:pt x="185" y="22"/>
                  <a:pt x="180" y="18"/>
                </a:cubicBezTo>
                <a:cubicBezTo>
                  <a:pt x="173" y="13"/>
                  <a:pt x="161" y="8"/>
                  <a:pt x="146" y="5"/>
                </a:cubicBezTo>
                <a:cubicBezTo>
                  <a:pt x="131" y="2"/>
                  <a:pt x="113" y="0"/>
                  <a:pt x="94" y="0"/>
                </a:cubicBezTo>
                <a:cubicBezTo>
                  <a:pt x="68" y="0"/>
                  <a:pt x="45" y="3"/>
                  <a:pt x="28" y="9"/>
                </a:cubicBezTo>
                <a:cubicBezTo>
                  <a:pt x="19" y="11"/>
                  <a:pt x="12" y="15"/>
                  <a:pt x="7" y="18"/>
                </a:cubicBezTo>
                <a:cubicBezTo>
                  <a:pt x="2" y="22"/>
                  <a:pt x="0" y="26"/>
                  <a:pt x="0" y="30"/>
                </a:cubicBezTo>
                <a:cubicBezTo>
                  <a:pt x="0" y="35"/>
                  <a:pt x="2" y="39"/>
                  <a:pt x="7" y="43"/>
                </a:cubicBezTo>
                <a:cubicBezTo>
                  <a:pt x="15" y="48"/>
                  <a:pt x="26" y="53"/>
                  <a:pt x="41" y="56"/>
                </a:cubicBezTo>
                <a:cubicBezTo>
                  <a:pt x="56" y="59"/>
                  <a:pt x="74" y="61"/>
                  <a:pt x="94" y="61"/>
                </a:cubicBezTo>
                <a:cubicBezTo>
                  <a:pt x="120" y="61"/>
                  <a:pt x="143" y="57"/>
                  <a:pt x="160" y="52"/>
                </a:cubicBezTo>
                <a:cubicBezTo>
                  <a:pt x="169" y="49"/>
                  <a:pt x="175" y="46"/>
                  <a:pt x="180" y="43"/>
                </a:cubicBezTo>
                <a:cubicBezTo>
                  <a:pt x="185" y="39"/>
                  <a:pt x="188" y="35"/>
                  <a:pt x="188" y="30"/>
                </a:cubicBezTo>
                <a:lnTo>
                  <a:pt x="187" y="3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186" name="Freeform 35"/>
          <p:cNvSpPr/>
          <p:nvPr/>
        </p:nvSpPr>
        <p:spPr bwMode="auto">
          <a:xfrm>
            <a:off x="2872424" y="4627880"/>
            <a:ext cx="179387" cy="19050"/>
          </a:xfrm>
          <a:custGeom>
            <a:avLst/>
            <a:gdLst>
              <a:gd name="T0" fmla="*/ 152 w 159"/>
              <a:gd name="T1" fmla="*/ 0 h 14"/>
              <a:gd name="T2" fmla="*/ 4 w 159"/>
              <a:gd name="T3" fmla="*/ 10 h 14"/>
              <a:gd name="T4" fmla="*/ 0 w 159"/>
              <a:gd name="T5" fmla="*/ 14 h 14"/>
              <a:gd name="T6" fmla="*/ 159 w 159"/>
              <a:gd name="T7" fmla="*/ 3 h 14"/>
              <a:gd name="T8" fmla="*/ 152 w 159"/>
              <a:gd name="T9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9" h="14">
                <a:moveTo>
                  <a:pt x="152" y="0"/>
                </a:moveTo>
                <a:cubicBezTo>
                  <a:pt x="106" y="5"/>
                  <a:pt x="57" y="9"/>
                  <a:pt x="4" y="10"/>
                </a:cubicBezTo>
                <a:cubicBezTo>
                  <a:pt x="3" y="11"/>
                  <a:pt x="1" y="13"/>
                  <a:pt x="0" y="14"/>
                </a:cubicBezTo>
                <a:cubicBezTo>
                  <a:pt x="57" y="13"/>
                  <a:pt x="110" y="9"/>
                  <a:pt x="159" y="3"/>
                </a:cubicBezTo>
                <a:cubicBezTo>
                  <a:pt x="156" y="2"/>
                  <a:pt x="154" y="1"/>
                  <a:pt x="152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187" name="Freeform 36"/>
          <p:cNvSpPr/>
          <p:nvPr/>
        </p:nvSpPr>
        <p:spPr bwMode="auto">
          <a:xfrm>
            <a:off x="2870835" y="4646930"/>
            <a:ext cx="198438" cy="19050"/>
          </a:xfrm>
          <a:custGeom>
            <a:avLst/>
            <a:gdLst>
              <a:gd name="T0" fmla="*/ 174 w 175"/>
              <a:gd name="T1" fmla="*/ 0 h 15"/>
              <a:gd name="T2" fmla="*/ 0 w 175"/>
              <a:gd name="T3" fmla="*/ 13 h 15"/>
              <a:gd name="T4" fmla="*/ 1 w 175"/>
              <a:gd name="T5" fmla="*/ 15 h 15"/>
              <a:gd name="T6" fmla="*/ 175 w 175"/>
              <a:gd name="T7" fmla="*/ 2 h 15"/>
              <a:gd name="T8" fmla="*/ 174 w 175"/>
              <a:gd name="T9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5" h="15">
                <a:moveTo>
                  <a:pt x="174" y="0"/>
                </a:moveTo>
                <a:cubicBezTo>
                  <a:pt x="122" y="7"/>
                  <a:pt x="63" y="12"/>
                  <a:pt x="0" y="13"/>
                </a:cubicBezTo>
                <a:cubicBezTo>
                  <a:pt x="0" y="14"/>
                  <a:pt x="1" y="15"/>
                  <a:pt x="1" y="15"/>
                </a:cubicBezTo>
                <a:cubicBezTo>
                  <a:pt x="64" y="14"/>
                  <a:pt x="123" y="9"/>
                  <a:pt x="175" y="2"/>
                </a:cubicBezTo>
                <a:cubicBezTo>
                  <a:pt x="174" y="1"/>
                  <a:pt x="174" y="1"/>
                  <a:pt x="1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3" name="Freeform 37"/>
          <p:cNvSpPr/>
          <p:nvPr/>
        </p:nvSpPr>
        <p:spPr bwMode="auto">
          <a:xfrm>
            <a:off x="2861310" y="4623119"/>
            <a:ext cx="217488" cy="92075"/>
          </a:xfrm>
          <a:custGeom>
            <a:avLst/>
            <a:gdLst>
              <a:gd name="T0" fmla="*/ 189 w 191"/>
              <a:gd name="T1" fmla="*/ 36 h 73"/>
              <a:gd name="T2" fmla="*/ 187 w 191"/>
              <a:gd name="T3" fmla="*/ 36 h 73"/>
              <a:gd name="T4" fmla="*/ 180 w 191"/>
              <a:gd name="T5" fmla="*/ 48 h 73"/>
              <a:gd name="T6" fmla="*/ 147 w 191"/>
              <a:gd name="T7" fmla="*/ 63 h 73"/>
              <a:gd name="T8" fmla="*/ 95 w 191"/>
              <a:gd name="T9" fmla="*/ 69 h 73"/>
              <a:gd name="T10" fmla="*/ 30 w 191"/>
              <a:gd name="T11" fmla="*/ 59 h 73"/>
              <a:gd name="T12" fmla="*/ 10 w 191"/>
              <a:gd name="T13" fmla="*/ 48 h 73"/>
              <a:gd name="T14" fmla="*/ 4 w 191"/>
              <a:gd name="T15" fmla="*/ 36 h 73"/>
              <a:gd name="T16" fmla="*/ 10 w 191"/>
              <a:gd name="T17" fmla="*/ 24 h 73"/>
              <a:gd name="T18" fmla="*/ 43 w 191"/>
              <a:gd name="T19" fmla="*/ 9 h 73"/>
              <a:gd name="T20" fmla="*/ 95 w 191"/>
              <a:gd name="T21" fmla="*/ 4 h 73"/>
              <a:gd name="T22" fmla="*/ 161 w 191"/>
              <a:gd name="T23" fmla="*/ 14 h 73"/>
              <a:gd name="T24" fmla="*/ 180 w 191"/>
              <a:gd name="T25" fmla="*/ 24 h 73"/>
              <a:gd name="T26" fmla="*/ 187 w 191"/>
              <a:gd name="T27" fmla="*/ 36 h 73"/>
              <a:gd name="T28" fmla="*/ 189 w 191"/>
              <a:gd name="T29" fmla="*/ 36 h 73"/>
              <a:gd name="T30" fmla="*/ 191 w 191"/>
              <a:gd name="T31" fmla="*/ 36 h 73"/>
              <a:gd name="T32" fmla="*/ 183 w 191"/>
              <a:gd name="T33" fmla="*/ 21 h 73"/>
              <a:gd name="T34" fmla="*/ 148 w 191"/>
              <a:gd name="T35" fmla="*/ 6 h 73"/>
              <a:gd name="T36" fmla="*/ 95 w 191"/>
              <a:gd name="T37" fmla="*/ 0 h 73"/>
              <a:gd name="T38" fmla="*/ 28 w 191"/>
              <a:gd name="T39" fmla="*/ 10 h 73"/>
              <a:gd name="T40" fmla="*/ 8 w 191"/>
              <a:gd name="T41" fmla="*/ 21 h 73"/>
              <a:gd name="T42" fmla="*/ 0 w 191"/>
              <a:gd name="T43" fmla="*/ 36 h 73"/>
              <a:gd name="T44" fmla="*/ 8 w 191"/>
              <a:gd name="T45" fmla="*/ 51 h 73"/>
              <a:gd name="T46" fmla="*/ 42 w 191"/>
              <a:gd name="T47" fmla="*/ 67 h 73"/>
              <a:gd name="T48" fmla="*/ 95 w 191"/>
              <a:gd name="T49" fmla="*/ 73 h 73"/>
              <a:gd name="T50" fmla="*/ 162 w 191"/>
              <a:gd name="T51" fmla="*/ 63 h 73"/>
              <a:gd name="T52" fmla="*/ 183 w 191"/>
              <a:gd name="T53" fmla="*/ 51 h 73"/>
              <a:gd name="T54" fmla="*/ 191 w 191"/>
              <a:gd name="T55" fmla="*/ 36 h 73"/>
              <a:gd name="T56" fmla="*/ 189 w 191"/>
              <a:gd name="T57" fmla="*/ 36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91" h="73">
                <a:moveTo>
                  <a:pt x="189" y="36"/>
                </a:moveTo>
                <a:cubicBezTo>
                  <a:pt x="187" y="36"/>
                  <a:pt x="187" y="36"/>
                  <a:pt x="187" y="36"/>
                </a:cubicBezTo>
                <a:cubicBezTo>
                  <a:pt x="187" y="40"/>
                  <a:pt x="185" y="44"/>
                  <a:pt x="180" y="48"/>
                </a:cubicBezTo>
                <a:cubicBezTo>
                  <a:pt x="173" y="54"/>
                  <a:pt x="162" y="60"/>
                  <a:pt x="147" y="63"/>
                </a:cubicBezTo>
                <a:cubicBezTo>
                  <a:pt x="132" y="67"/>
                  <a:pt x="114" y="69"/>
                  <a:pt x="95" y="69"/>
                </a:cubicBezTo>
                <a:cubicBezTo>
                  <a:pt x="70" y="69"/>
                  <a:pt x="46" y="65"/>
                  <a:pt x="30" y="59"/>
                </a:cubicBezTo>
                <a:cubicBezTo>
                  <a:pt x="21" y="56"/>
                  <a:pt x="15" y="52"/>
                  <a:pt x="10" y="48"/>
                </a:cubicBezTo>
                <a:cubicBezTo>
                  <a:pt x="6" y="44"/>
                  <a:pt x="4" y="40"/>
                  <a:pt x="4" y="36"/>
                </a:cubicBezTo>
                <a:cubicBezTo>
                  <a:pt x="4" y="32"/>
                  <a:pt x="6" y="28"/>
                  <a:pt x="10" y="24"/>
                </a:cubicBezTo>
                <a:cubicBezTo>
                  <a:pt x="17" y="18"/>
                  <a:pt x="29" y="13"/>
                  <a:pt x="43" y="9"/>
                </a:cubicBezTo>
                <a:cubicBezTo>
                  <a:pt x="58" y="6"/>
                  <a:pt x="76" y="4"/>
                  <a:pt x="95" y="4"/>
                </a:cubicBezTo>
                <a:cubicBezTo>
                  <a:pt x="121" y="4"/>
                  <a:pt x="144" y="7"/>
                  <a:pt x="161" y="14"/>
                </a:cubicBezTo>
                <a:cubicBezTo>
                  <a:pt x="169" y="17"/>
                  <a:pt x="176" y="20"/>
                  <a:pt x="180" y="24"/>
                </a:cubicBezTo>
                <a:cubicBezTo>
                  <a:pt x="185" y="28"/>
                  <a:pt x="187" y="32"/>
                  <a:pt x="187" y="36"/>
                </a:cubicBezTo>
                <a:cubicBezTo>
                  <a:pt x="189" y="36"/>
                  <a:pt x="189" y="36"/>
                  <a:pt x="189" y="36"/>
                </a:cubicBezTo>
                <a:cubicBezTo>
                  <a:pt x="191" y="36"/>
                  <a:pt x="191" y="36"/>
                  <a:pt x="191" y="36"/>
                </a:cubicBezTo>
                <a:cubicBezTo>
                  <a:pt x="191" y="31"/>
                  <a:pt x="188" y="26"/>
                  <a:pt x="183" y="21"/>
                </a:cubicBezTo>
                <a:cubicBezTo>
                  <a:pt x="175" y="15"/>
                  <a:pt x="163" y="9"/>
                  <a:pt x="148" y="6"/>
                </a:cubicBezTo>
                <a:cubicBezTo>
                  <a:pt x="133" y="2"/>
                  <a:pt x="115" y="0"/>
                  <a:pt x="95" y="0"/>
                </a:cubicBezTo>
                <a:cubicBezTo>
                  <a:pt x="69" y="0"/>
                  <a:pt x="46" y="3"/>
                  <a:pt x="28" y="10"/>
                </a:cubicBezTo>
                <a:cubicBezTo>
                  <a:pt x="20" y="13"/>
                  <a:pt x="13" y="17"/>
                  <a:pt x="8" y="21"/>
                </a:cubicBezTo>
                <a:cubicBezTo>
                  <a:pt x="3" y="26"/>
                  <a:pt x="0" y="31"/>
                  <a:pt x="0" y="36"/>
                </a:cubicBezTo>
                <a:cubicBezTo>
                  <a:pt x="0" y="42"/>
                  <a:pt x="3" y="47"/>
                  <a:pt x="8" y="51"/>
                </a:cubicBezTo>
                <a:cubicBezTo>
                  <a:pt x="15" y="58"/>
                  <a:pt x="27" y="63"/>
                  <a:pt x="42" y="67"/>
                </a:cubicBezTo>
                <a:cubicBezTo>
                  <a:pt x="57" y="71"/>
                  <a:pt x="76" y="73"/>
                  <a:pt x="95" y="73"/>
                </a:cubicBezTo>
                <a:cubicBezTo>
                  <a:pt x="121" y="73"/>
                  <a:pt x="145" y="69"/>
                  <a:pt x="162" y="63"/>
                </a:cubicBezTo>
                <a:cubicBezTo>
                  <a:pt x="171" y="60"/>
                  <a:pt x="178" y="56"/>
                  <a:pt x="183" y="51"/>
                </a:cubicBezTo>
                <a:cubicBezTo>
                  <a:pt x="188" y="47"/>
                  <a:pt x="191" y="42"/>
                  <a:pt x="191" y="36"/>
                </a:cubicBezTo>
                <a:lnTo>
                  <a:pt x="189" y="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189" name="Freeform 38"/>
          <p:cNvSpPr/>
          <p:nvPr/>
        </p:nvSpPr>
        <p:spPr bwMode="auto">
          <a:xfrm>
            <a:off x="2864485" y="4634231"/>
            <a:ext cx="211138" cy="85725"/>
          </a:xfrm>
          <a:custGeom>
            <a:avLst/>
            <a:gdLst>
              <a:gd name="T0" fmla="*/ 184 w 185"/>
              <a:gd name="T1" fmla="*/ 35 h 70"/>
              <a:gd name="T2" fmla="*/ 183 w 185"/>
              <a:gd name="T3" fmla="*/ 35 h 70"/>
              <a:gd name="T4" fmla="*/ 176 w 185"/>
              <a:gd name="T5" fmla="*/ 47 h 70"/>
              <a:gd name="T6" fmla="*/ 92 w 185"/>
              <a:gd name="T7" fmla="*/ 68 h 70"/>
              <a:gd name="T8" fmla="*/ 28 w 185"/>
              <a:gd name="T9" fmla="*/ 58 h 70"/>
              <a:gd name="T10" fmla="*/ 8 w 185"/>
              <a:gd name="T11" fmla="*/ 47 h 70"/>
              <a:gd name="T12" fmla="*/ 2 w 185"/>
              <a:gd name="T13" fmla="*/ 35 h 70"/>
              <a:gd name="T14" fmla="*/ 8 w 185"/>
              <a:gd name="T15" fmla="*/ 23 h 70"/>
              <a:gd name="T16" fmla="*/ 92 w 185"/>
              <a:gd name="T17" fmla="*/ 2 h 70"/>
              <a:gd name="T18" fmla="*/ 157 w 185"/>
              <a:gd name="T19" fmla="*/ 12 h 70"/>
              <a:gd name="T20" fmla="*/ 176 w 185"/>
              <a:gd name="T21" fmla="*/ 23 h 70"/>
              <a:gd name="T22" fmla="*/ 183 w 185"/>
              <a:gd name="T23" fmla="*/ 35 h 70"/>
              <a:gd name="T24" fmla="*/ 184 w 185"/>
              <a:gd name="T25" fmla="*/ 35 h 70"/>
              <a:gd name="T26" fmla="*/ 185 w 185"/>
              <a:gd name="T27" fmla="*/ 35 h 70"/>
              <a:gd name="T28" fmla="*/ 177 w 185"/>
              <a:gd name="T29" fmla="*/ 21 h 70"/>
              <a:gd name="T30" fmla="*/ 92 w 185"/>
              <a:gd name="T31" fmla="*/ 0 h 70"/>
              <a:gd name="T32" fmla="*/ 27 w 185"/>
              <a:gd name="T33" fmla="*/ 10 h 70"/>
              <a:gd name="T34" fmla="*/ 7 w 185"/>
              <a:gd name="T35" fmla="*/ 21 h 70"/>
              <a:gd name="T36" fmla="*/ 0 w 185"/>
              <a:gd name="T37" fmla="*/ 35 h 70"/>
              <a:gd name="T38" fmla="*/ 7 w 185"/>
              <a:gd name="T39" fmla="*/ 49 h 70"/>
              <a:gd name="T40" fmla="*/ 92 w 185"/>
              <a:gd name="T41" fmla="*/ 70 h 70"/>
              <a:gd name="T42" fmla="*/ 157 w 185"/>
              <a:gd name="T43" fmla="*/ 60 h 70"/>
              <a:gd name="T44" fmla="*/ 177 w 185"/>
              <a:gd name="T45" fmla="*/ 49 h 70"/>
              <a:gd name="T46" fmla="*/ 185 w 185"/>
              <a:gd name="T47" fmla="*/ 35 h 70"/>
              <a:gd name="T48" fmla="*/ 184 w 185"/>
              <a:gd name="T49" fmla="*/ 35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85" h="70">
                <a:moveTo>
                  <a:pt x="184" y="35"/>
                </a:moveTo>
                <a:cubicBezTo>
                  <a:pt x="183" y="35"/>
                  <a:pt x="183" y="35"/>
                  <a:pt x="183" y="35"/>
                </a:cubicBezTo>
                <a:cubicBezTo>
                  <a:pt x="183" y="39"/>
                  <a:pt x="181" y="44"/>
                  <a:pt x="176" y="47"/>
                </a:cubicBezTo>
                <a:cubicBezTo>
                  <a:pt x="162" y="59"/>
                  <a:pt x="130" y="68"/>
                  <a:pt x="92" y="68"/>
                </a:cubicBezTo>
                <a:cubicBezTo>
                  <a:pt x="67" y="68"/>
                  <a:pt x="44" y="64"/>
                  <a:pt x="28" y="58"/>
                </a:cubicBezTo>
                <a:cubicBezTo>
                  <a:pt x="19" y="55"/>
                  <a:pt x="13" y="51"/>
                  <a:pt x="8" y="47"/>
                </a:cubicBezTo>
                <a:cubicBezTo>
                  <a:pt x="4" y="44"/>
                  <a:pt x="2" y="39"/>
                  <a:pt x="2" y="35"/>
                </a:cubicBezTo>
                <a:cubicBezTo>
                  <a:pt x="2" y="31"/>
                  <a:pt x="4" y="26"/>
                  <a:pt x="8" y="23"/>
                </a:cubicBezTo>
                <a:cubicBezTo>
                  <a:pt x="22" y="11"/>
                  <a:pt x="54" y="2"/>
                  <a:pt x="92" y="2"/>
                </a:cubicBezTo>
                <a:cubicBezTo>
                  <a:pt x="117" y="2"/>
                  <a:pt x="140" y="6"/>
                  <a:pt x="157" y="12"/>
                </a:cubicBezTo>
                <a:cubicBezTo>
                  <a:pt x="165" y="15"/>
                  <a:pt x="172" y="19"/>
                  <a:pt x="176" y="23"/>
                </a:cubicBezTo>
                <a:cubicBezTo>
                  <a:pt x="181" y="26"/>
                  <a:pt x="183" y="31"/>
                  <a:pt x="183" y="35"/>
                </a:cubicBezTo>
                <a:cubicBezTo>
                  <a:pt x="184" y="35"/>
                  <a:pt x="184" y="35"/>
                  <a:pt x="184" y="35"/>
                </a:cubicBezTo>
                <a:cubicBezTo>
                  <a:pt x="185" y="35"/>
                  <a:pt x="185" y="35"/>
                  <a:pt x="185" y="35"/>
                </a:cubicBezTo>
                <a:cubicBezTo>
                  <a:pt x="185" y="30"/>
                  <a:pt x="182" y="25"/>
                  <a:pt x="177" y="21"/>
                </a:cubicBezTo>
                <a:cubicBezTo>
                  <a:pt x="163" y="9"/>
                  <a:pt x="130" y="0"/>
                  <a:pt x="92" y="0"/>
                </a:cubicBezTo>
                <a:cubicBezTo>
                  <a:pt x="67" y="0"/>
                  <a:pt x="44" y="4"/>
                  <a:pt x="27" y="10"/>
                </a:cubicBezTo>
                <a:cubicBezTo>
                  <a:pt x="19" y="13"/>
                  <a:pt x="12" y="17"/>
                  <a:pt x="7" y="21"/>
                </a:cubicBezTo>
                <a:cubicBezTo>
                  <a:pt x="2" y="25"/>
                  <a:pt x="0" y="30"/>
                  <a:pt x="0" y="35"/>
                </a:cubicBezTo>
                <a:cubicBezTo>
                  <a:pt x="0" y="40"/>
                  <a:pt x="2" y="45"/>
                  <a:pt x="7" y="49"/>
                </a:cubicBezTo>
                <a:cubicBezTo>
                  <a:pt x="21" y="61"/>
                  <a:pt x="54" y="70"/>
                  <a:pt x="92" y="70"/>
                </a:cubicBezTo>
                <a:cubicBezTo>
                  <a:pt x="118" y="70"/>
                  <a:pt x="141" y="66"/>
                  <a:pt x="157" y="60"/>
                </a:cubicBezTo>
                <a:cubicBezTo>
                  <a:pt x="166" y="57"/>
                  <a:pt x="173" y="53"/>
                  <a:pt x="177" y="49"/>
                </a:cubicBezTo>
                <a:cubicBezTo>
                  <a:pt x="182" y="45"/>
                  <a:pt x="185" y="40"/>
                  <a:pt x="185" y="35"/>
                </a:cubicBezTo>
                <a:lnTo>
                  <a:pt x="184" y="3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190" name="Freeform 42"/>
          <p:cNvSpPr/>
          <p:nvPr/>
        </p:nvSpPr>
        <p:spPr bwMode="auto">
          <a:xfrm>
            <a:off x="2726373" y="4083368"/>
            <a:ext cx="171450" cy="57150"/>
          </a:xfrm>
          <a:custGeom>
            <a:avLst/>
            <a:gdLst>
              <a:gd name="T0" fmla="*/ 150 w 152"/>
              <a:gd name="T1" fmla="*/ 23 h 46"/>
              <a:gd name="T2" fmla="*/ 148 w 152"/>
              <a:gd name="T3" fmla="*/ 23 h 46"/>
              <a:gd name="T4" fmla="*/ 147 w 152"/>
              <a:gd name="T5" fmla="*/ 26 h 46"/>
              <a:gd name="T6" fmla="*/ 138 w 152"/>
              <a:gd name="T7" fmla="*/ 32 h 46"/>
              <a:gd name="T8" fmla="*/ 76 w 152"/>
              <a:gd name="T9" fmla="*/ 42 h 46"/>
              <a:gd name="T10" fmla="*/ 24 w 152"/>
              <a:gd name="T11" fmla="*/ 36 h 46"/>
              <a:gd name="T12" fmla="*/ 8 w 152"/>
              <a:gd name="T13" fmla="*/ 30 h 46"/>
              <a:gd name="T14" fmla="*/ 5 w 152"/>
              <a:gd name="T15" fmla="*/ 26 h 46"/>
              <a:gd name="T16" fmla="*/ 4 w 152"/>
              <a:gd name="T17" fmla="*/ 23 h 46"/>
              <a:gd name="T18" fmla="*/ 5 w 152"/>
              <a:gd name="T19" fmla="*/ 20 h 46"/>
              <a:gd name="T20" fmla="*/ 13 w 152"/>
              <a:gd name="T21" fmla="*/ 14 h 46"/>
              <a:gd name="T22" fmla="*/ 76 w 152"/>
              <a:gd name="T23" fmla="*/ 4 h 46"/>
              <a:gd name="T24" fmla="*/ 127 w 152"/>
              <a:gd name="T25" fmla="*/ 10 h 46"/>
              <a:gd name="T26" fmla="*/ 143 w 152"/>
              <a:gd name="T27" fmla="*/ 16 h 46"/>
              <a:gd name="T28" fmla="*/ 147 w 152"/>
              <a:gd name="T29" fmla="*/ 20 h 46"/>
              <a:gd name="T30" fmla="*/ 148 w 152"/>
              <a:gd name="T31" fmla="*/ 23 h 46"/>
              <a:gd name="T32" fmla="*/ 150 w 152"/>
              <a:gd name="T33" fmla="*/ 23 h 46"/>
              <a:gd name="T34" fmla="*/ 152 w 152"/>
              <a:gd name="T35" fmla="*/ 23 h 46"/>
              <a:gd name="T36" fmla="*/ 150 w 152"/>
              <a:gd name="T37" fmla="*/ 18 h 46"/>
              <a:gd name="T38" fmla="*/ 140 w 152"/>
              <a:gd name="T39" fmla="*/ 10 h 46"/>
              <a:gd name="T40" fmla="*/ 76 w 152"/>
              <a:gd name="T41" fmla="*/ 0 h 46"/>
              <a:gd name="T42" fmla="*/ 23 w 152"/>
              <a:gd name="T43" fmla="*/ 6 h 46"/>
              <a:gd name="T44" fmla="*/ 6 w 152"/>
              <a:gd name="T45" fmla="*/ 13 h 46"/>
              <a:gd name="T46" fmla="*/ 1 w 152"/>
              <a:gd name="T47" fmla="*/ 18 h 46"/>
              <a:gd name="T48" fmla="*/ 0 w 152"/>
              <a:gd name="T49" fmla="*/ 23 h 46"/>
              <a:gd name="T50" fmla="*/ 1 w 152"/>
              <a:gd name="T51" fmla="*/ 28 h 46"/>
              <a:gd name="T52" fmla="*/ 11 w 152"/>
              <a:gd name="T53" fmla="*/ 36 h 46"/>
              <a:gd name="T54" fmla="*/ 76 w 152"/>
              <a:gd name="T55" fmla="*/ 46 h 46"/>
              <a:gd name="T56" fmla="*/ 129 w 152"/>
              <a:gd name="T57" fmla="*/ 40 h 46"/>
              <a:gd name="T58" fmla="*/ 145 w 152"/>
              <a:gd name="T59" fmla="*/ 33 h 46"/>
              <a:gd name="T60" fmla="*/ 150 w 152"/>
              <a:gd name="T61" fmla="*/ 28 h 46"/>
              <a:gd name="T62" fmla="*/ 152 w 152"/>
              <a:gd name="T63" fmla="*/ 23 h 46"/>
              <a:gd name="T64" fmla="*/ 150 w 152"/>
              <a:gd name="T65" fmla="*/ 23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2" h="46">
                <a:moveTo>
                  <a:pt x="150" y="23"/>
                </a:moveTo>
                <a:cubicBezTo>
                  <a:pt x="148" y="23"/>
                  <a:pt x="148" y="23"/>
                  <a:pt x="148" y="23"/>
                </a:cubicBezTo>
                <a:cubicBezTo>
                  <a:pt x="148" y="24"/>
                  <a:pt x="147" y="25"/>
                  <a:pt x="147" y="26"/>
                </a:cubicBezTo>
                <a:cubicBezTo>
                  <a:pt x="145" y="28"/>
                  <a:pt x="142" y="30"/>
                  <a:pt x="138" y="32"/>
                </a:cubicBezTo>
                <a:cubicBezTo>
                  <a:pt x="126" y="38"/>
                  <a:pt x="102" y="42"/>
                  <a:pt x="76" y="42"/>
                </a:cubicBezTo>
                <a:cubicBezTo>
                  <a:pt x="55" y="42"/>
                  <a:pt x="37" y="40"/>
                  <a:pt x="24" y="36"/>
                </a:cubicBezTo>
                <a:cubicBezTo>
                  <a:pt x="17" y="34"/>
                  <a:pt x="12" y="32"/>
                  <a:pt x="8" y="30"/>
                </a:cubicBezTo>
                <a:cubicBezTo>
                  <a:pt x="7" y="28"/>
                  <a:pt x="5" y="27"/>
                  <a:pt x="5" y="26"/>
                </a:cubicBezTo>
                <a:cubicBezTo>
                  <a:pt x="4" y="25"/>
                  <a:pt x="4" y="24"/>
                  <a:pt x="4" y="23"/>
                </a:cubicBezTo>
                <a:cubicBezTo>
                  <a:pt x="4" y="22"/>
                  <a:pt x="4" y="21"/>
                  <a:pt x="5" y="20"/>
                </a:cubicBezTo>
                <a:cubicBezTo>
                  <a:pt x="6" y="18"/>
                  <a:pt x="9" y="16"/>
                  <a:pt x="13" y="14"/>
                </a:cubicBezTo>
                <a:cubicBezTo>
                  <a:pt x="26" y="8"/>
                  <a:pt x="49" y="4"/>
                  <a:pt x="76" y="4"/>
                </a:cubicBezTo>
                <a:cubicBezTo>
                  <a:pt x="96" y="4"/>
                  <a:pt x="114" y="6"/>
                  <a:pt x="127" y="10"/>
                </a:cubicBezTo>
                <a:cubicBezTo>
                  <a:pt x="134" y="12"/>
                  <a:pt x="139" y="14"/>
                  <a:pt x="143" y="16"/>
                </a:cubicBezTo>
                <a:cubicBezTo>
                  <a:pt x="144" y="18"/>
                  <a:pt x="146" y="19"/>
                  <a:pt x="147" y="20"/>
                </a:cubicBezTo>
                <a:cubicBezTo>
                  <a:pt x="147" y="21"/>
                  <a:pt x="148" y="22"/>
                  <a:pt x="148" y="23"/>
                </a:cubicBezTo>
                <a:cubicBezTo>
                  <a:pt x="150" y="23"/>
                  <a:pt x="150" y="23"/>
                  <a:pt x="150" y="23"/>
                </a:cubicBezTo>
                <a:cubicBezTo>
                  <a:pt x="152" y="23"/>
                  <a:pt x="152" y="23"/>
                  <a:pt x="152" y="23"/>
                </a:cubicBezTo>
                <a:cubicBezTo>
                  <a:pt x="152" y="21"/>
                  <a:pt x="151" y="19"/>
                  <a:pt x="150" y="18"/>
                </a:cubicBezTo>
                <a:cubicBezTo>
                  <a:pt x="148" y="15"/>
                  <a:pt x="144" y="12"/>
                  <a:pt x="140" y="10"/>
                </a:cubicBezTo>
                <a:cubicBezTo>
                  <a:pt x="126" y="4"/>
                  <a:pt x="103" y="0"/>
                  <a:pt x="76" y="0"/>
                </a:cubicBezTo>
                <a:cubicBezTo>
                  <a:pt x="55" y="0"/>
                  <a:pt x="36" y="2"/>
                  <a:pt x="23" y="6"/>
                </a:cubicBezTo>
                <a:cubicBezTo>
                  <a:pt x="16" y="8"/>
                  <a:pt x="10" y="10"/>
                  <a:pt x="6" y="13"/>
                </a:cubicBezTo>
                <a:cubicBezTo>
                  <a:pt x="4" y="14"/>
                  <a:pt x="3" y="16"/>
                  <a:pt x="1" y="18"/>
                </a:cubicBezTo>
                <a:cubicBezTo>
                  <a:pt x="0" y="19"/>
                  <a:pt x="0" y="21"/>
                  <a:pt x="0" y="23"/>
                </a:cubicBezTo>
                <a:cubicBezTo>
                  <a:pt x="0" y="25"/>
                  <a:pt x="0" y="27"/>
                  <a:pt x="1" y="28"/>
                </a:cubicBezTo>
                <a:cubicBezTo>
                  <a:pt x="3" y="31"/>
                  <a:pt x="7" y="34"/>
                  <a:pt x="11" y="36"/>
                </a:cubicBezTo>
                <a:cubicBezTo>
                  <a:pt x="25" y="42"/>
                  <a:pt x="49" y="46"/>
                  <a:pt x="76" y="46"/>
                </a:cubicBezTo>
                <a:cubicBezTo>
                  <a:pt x="96" y="46"/>
                  <a:pt x="115" y="44"/>
                  <a:pt x="129" y="40"/>
                </a:cubicBezTo>
                <a:cubicBezTo>
                  <a:pt x="135" y="38"/>
                  <a:pt x="141" y="36"/>
                  <a:pt x="145" y="33"/>
                </a:cubicBezTo>
                <a:cubicBezTo>
                  <a:pt x="147" y="32"/>
                  <a:pt x="149" y="30"/>
                  <a:pt x="150" y="28"/>
                </a:cubicBezTo>
                <a:cubicBezTo>
                  <a:pt x="151" y="27"/>
                  <a:pt x="152" y="25"/>
                  <a:pt x="152" y="23"/>
                </a:cubicBezTo>
                <a:lnTo>
                  <a:pt x="150" y="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191" name="Freeform 43"/>
          <p:cNvSpPr/>
          <p:nvPr/>
        </p:nvSpPr>
        <p:spPr bwMode="auto">
          <a:xfrm>
            <a:off x="2727960" y="4089719"/>
            <a:ext cx="166688" cy="53975"/>
          </a:xfrm>
          <a:custGeom>
            <a:avLst/>
            <a:gdLst>
              <a:gd name="T0" fmla="*/ 146 w 147"/>
              <a:gd name="T1" fmla="*/ 22 h 44"/>
              <a:gd name="T2" fmla="*/ 145 w 147"/>
              <a:gd name="T3" fmla="*/ 22 h 44"/>
              <a:gd name="T4" fmla="*/ 140 w 147"/>
              <a:gd name="T5" fmla="*/ 29 h 44"/>
              <a:gd name="T6" fmla="*/ 114 w 147"/>
              <a:gd name="T7" fmla="*/ 38 h 44"/>
              <a:gd name="T8" fmla="*/ 74 w 147"/>
              <a:gd name="T9" fmla="*/ 42 h 44"/>
              <a:gd name="T10" fmla="*/ 23 w 147"/>
              <a:gd name="T11" fmla="*/ 36 h 44"/>
              <a:gd name="T12" fmla="*/ 7 w 147"/>
              <a:gd name="T13" fmla="*/ 29 h 44"/>
              <a:gd name="T14" fmla="*/ 2 w 147"/>
              <a:gd name="T15" fmla="*/ 22 h 44"/>
              <a:gd name="T16" fmla="*/ 7 w 147"/>
              <a:gd name="T17" fmla="*/ 15 h 44"/>
              <a:gd name="T18" fmla="*/ 33 w 147"/>
              <a:gd name="T19" fmla="*/ 6 h 44"/>
              <a:gd name="T20" fmla="*/ 74 w 147"/>
              <a:gd name="T21" fmla="*/ 2 h 44"/>
              <a:gd name="T22" fmla="*/ 125 w 147"/>
              <a:gd name="T23" fmla="*/ 8 h 44"/>
              <a:gd name="T24" fmla="*/ 140 w 147"/>
              <a:gd name="T25" fmla="*/ 15 h 44"/>
              <a:gd name="T26" fmla="*/ 145 w 147"/>
              <a:gd name="T27" fmla="*/ 22 h 44"/>
              <a:gd name="T28" fmla="*/ 146 w 147"/>
              <a:gd name="T29" fmla="*/ 22 h 44"/>
              <a:gd name="T30" fmla="*/ 147 w 147"/>
              <a:gd name="T31" fmla="*/ 22 h 44"/>
              <a:gd name="T32" fmla="*/ 141 w 147"/>
              <a:gd name="T33" fmla="*/ 13 h 44"/>
              <a:gd name="T34" fmla="*/ 114 w 147"/>
              <a:gd name="T35" fmla="*/ 4 h 44"/>
              <a:gd name="T36" fmla="*/ 74 w 147"/>
              <a:gd name="T37" fmla="*/ 0 h 44"/>
              <a:gd name="T38" fmla="*/ 22 w 147"/>
              <a:gd name="T39" fmla="*/ 6 h 44"/>
              <a:gd name="T40" fmla="*/ 6 w 147"/>
              <a:gd name="T41" fmla="*/ 13 h 44"/>
              <a:gd name="T42" fmla="*/ 0 w 147"/>
              <a:gd name="T43" fmla="*/ 22 h 44"/>
              <a:gd name="T44" fmla="*/ 6 w 147"/>
              <a:gd name="T45" fmla="*/ 31 h 44"/>
              <a:gd name="T46" fmla="*/ 33 w 147"/>
              <a:gd name="T47" fmla="*/ 40 h 44"/>
              <a:gd name="T48" fmla="*/ 74 w 147"/>
              <a:gd name="T49" fmla="*/ 44 h 44"/>
              <a:gd name="T50" fmla="*/ 125 w 147"/>
              <a:gd name="T51" fmla="*/ 38 h 44"/>
              <a:gd name="T52" fmla="*/ 141 w 147"/>
              <a:gd name="T53" fmla="*/ 31 h 44"/>
              <a:gd name="T54" fmla="*/ 147 w 147"/>
              <a:gd name="T55" fmla="*/ 22 h 44"/>
              <a:gd name="T56" fmla="*/ 146 w 147"/>
              <a:gd name="T57" fmla="*/ 22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47" h="44">
                <a:moveTo>
                  <a:pt x="146" y="22"/>
                </a:moveTo>
                <a:cubicBezTo>
                  <a:pt x="145" y="22"/>
                  <a:pt x="145" y="22"/>
                  <a:pt x="145" y="22"/>
                </a:cubicBezTo>
                <a:cubicBezTo>
                  <a:pt x="145" y="24"/>
                  <a:pt x="143" y="27"/>
                  <a:pt x="140" y="29"/>
                </a:cubicBezTo>
                <a:cubicBezTo>
                  <a:pt x="135" y="33"/>
                  <a:pt x="125" y="36"/>
                  <a:pt x="114" y="38"/>
                </a:cubicBezTo>
                <a:cubicBezTo>
                  <a:pt x="102" y="40"/>
                  <a:pt x="89" y="42"/>
                  <a:pt x="74" y="42"/>
                </a:cubicBezTo>
                <a:cubicBezTo>
                  <a:pt x="54" y="42"/>
                  <a:pt x="36" y="39"/>
                  <a:pt x="23" y="36"/>
                </a:cubicBezTo>
                <a:cubicBezTo>
                  <a:pt x="16" y="34"/>
                  <a:pt x="11" y="32"/>
                  <a:pt x="7" y="29"/>
                </a:cubicBezTo>
                <a:cubicBezTo>
                  <a:pt x="4" y="27"/>
                  <a:pt x="2" y="24"/>
                  <a:pt x="2" y="22"/>
                </a:cubicBezTo>
                <a:cubicBezTo>
                  <a:pt x="2" y="20"/>
                  <a:pt x="4" y="17"/>
                  <a:pt x="7" y="15"/>
                </a:cubicBezTo>
                <a:cubicBezTo>
                  <a:pt x="13" y="11"/>
                  <a:pt x="22" y="8"/>
                  <a:pt x="33" y="6"/>
                </a:cubicBezTo>
                <a:cubicBezTo>
                  <a:pt x="45" y="4"/>
                  <a:pt x="59" y="2"/>
                  <a:pt x="74" y="2"/>
                </a:cubicBezTo>
                <a:cubicBezTo>
                  <a:pt x="94" y="2"/>
                  <a:pt x="112" y="5"/>
                  <a:pt x="125" y="8"/>
                </a:cubicBezTo>
                <a:cubicBezTo>
                  <a:pt x="131" y="10"/>
                  <a:pt x="136" y="12"/>
                  <a:pt x="140" y="15"/>
                </a:cubicBezTo>
                <a:cubicBezTo>
                  <a:pt x="143" y="17"/>
                  <a:pt x="145" y="20"/>
                  <a:pt x="145" y="22"/>
                </a:cubicBezTo>
                <a:cubicBezTo>
                  <a:pt x="146" y="22"/>
                  <a:pt x="146" y="22"/>
                  <a:pt x="146" y="22"/>
                </a:cubicBezTo>
                <a:cubicBezTo>
                  <a:pt x="147" y="22"/>
                  <a:pt x="147" y="22"/>
                  <a:pt x="147" y="22"/>
                </a:cubicBezTo>
                <a:cubicBezTo>
                  <a:pt x="147" y="19"/>
                  <a:pt x="145" y="16"/>
                  <a:pt x="141" y="13"/>
                </a:cubicBezTo>
                <a:cubicBezTo>
                  <a:pt x="135" y="9"/>
                  <a:pt x="126" y="6"/>
                  <a:pt x="114" y="4"/>
                </a:cubicBezTo>
                <a:cubicBezTo>
                  <a:pt x="103" y="2"/>
                  <a:pt x="89" y="0"/>
                  <a:pt x="74" y="0"/>
                </a:cubicBezTo>
                <a:cubicBezTo>
                  <a:pt x="54" y="0"/>
                  <a:pt x="35" y="3"/>
                  <a:pt x="22" y="6"/>
                </a:cubicBezTo>
                <a:cubicBezTo>
                  <a:pt x="15" y="8"/>
                  <a:pt x="10" y="11"/>
                  <a:pt x="6" y="13"/>
                </a:cubicBezTo>
                <a:cubicBezTo>
                  <a:pt x="2" y="16"/>
                  <a:pt x="0" y="19"/>
                  <a:pt x="0" y="22"/>
                </a:cubicBezTo>
                <a:cubicBezTo>
                  <a:pt x="0" y="25"/>
                  <a:pt x="2" y="28"/>
                  <a:pt x="6" y="31"/>
                </a:cubicBezTo>
                <a:cubicBezTo>
                  <a:pt x="12" y="35"/>
                  <a:pt x="21" y="38"/>
                  <a:pt x="33" y="40"/>
                </a:cubicBezTo>
                <a:cubicBezTo>
                  <a:pt x="45" y="42"/>
                  <a:pt x="59" y="44"/>
                  <a:pt x="74" y="44"/>
                </a:cubicBezTo>
                <a:cubicBezTo>
                  <a:pt x="94" y="44"/>
                  <a:pt x="112" y="41"/>
                  <a:pt x="125" y="38"/>
                </a:cubicBezTo>
                <a:cubicBezTo>
                  <a:pt x="132" y="36"/>
                  <a:pt x="137" y="34"/>
                  <a:pt x="141" y="31"/>
                </a:cubicBezTo>
                <a:cubicBezTo>
                  <a:pt x="145" y="28"/>
                  <a:pt x="147" y="25"/>
                  <a:pt x="147" y="22"/>
                </a:cubicBezTo>
                <a:lnTo>
                  <a:pt x="146" y="2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4" name="Freeform 52"/>
          <p:cNvSpPr/>
          <p:nvPr/>
        </p:nvSpPr>
        <p:spPr bwMode="auto">
          <a:xfrm>
            <a:off x="3405824" y="4186555"/>
            <a:ext cx="261937" cy="84138"/>
          </a:xfrm>
          <a:custGeom>
            <a:avLst/>
            <a:gdLst>
              <a:gd name="T0" fmla="*/ 229 w 231"/>
              <a:gd name="T1" fmla="*/ 34 h 67"/>
              <a:gd name="T2" fmla="*/ 227 w 231"/>
              <a:gd name="T3" fmla="*/ 34 h 67"/>
              <a:gd name="T4" fmla="*/ 225 w 231"/>
              <a:gd name="T5" fmla="*/ 39 h 67"/>
              <a:gd name="T6" fmla="*/ 212 w 231"/>
              <a:gd name="T7" fmla="*/ 48 h 67"/>
              <a:gd name="T8" fmla="*/ 115 w 231"/>
              <a:gd name="T9" fmla="*/ 63 h 67"/>
              <a:gd name="T10" fmla="*/ 35 w 231"/>
              <a:gd name="T11" fmla="*/ 54 h 67"/>
              <a:gd name="T12" fmla="*/ 12 w 231"/>
              <a:gd name="T13" fmla="*/ 44 h 67"/>
              <a:gd name="T14" fmla="*/ 5 w 231"/>
              <a:gd name="T15" fmla="*/ 39 h 67"/>
              <a:gd name="T16" fmla="*/ 4 w 231"/>
              <a:gd name="T17" fmla="*/ 34 h 67"/>
              <a:gd name="T18" fmla="*/ 5 w 231"/>
              <a:gd name="T19" fmla="*/ 29 h 67"/>
              <a:gd name="T20" fmla="*/ 19 w 231"/>
              <a:gd name="T21" fmla="*/ 19 h 67"/>
              <a:gd name="T22" fmla="*/ 115 w 231"/>
              <a:gd name="T23" fmla="*/ 4 h 67"/>
              <a:gd name="T24" fmla="*/ 195 w 231"/>
              <a:gd name="T25" fmla="*/ 13 h 67"/>
              <a:gd name="T26" fmla="*/ 219 w 231"/>
              <a:gd name="T27" fmla="*/ 23 h 67"/>
              <a:gd name="T28" fmla="*/ 225 w 231"/>
              <a:gd name="T29" fmla="*/ 29 h 67"/>
              <a:gd name="T30" fmla="*/ 227 w 231"/>
              <a:gd name="T31" fmla="*/ 34 h 67"/>
              <a:gd name="T32" fmla="*/ 229 w 231"/>
              <a:gd name="T33" fmla="*/ 34 h 67"/>
              <a:gd name="T34" fmla="*/ 231 w 231"/>
              <a:gd name="T35" fmla="*/ 34 h 67"/>
              <a:gd name="T36" fmla="*/ 228 w 231"/>
              <a:gd name="T37" fmla="*/ 26 h 67"/>
              <a:gd name="T38" fmla="*/ 213 w 231"/>
              <a:gd name="T39" fmla="*/ 16 h 67"/>
              <a:gd name="T40" fmla="*/ 115 w 231"/>
              <a:gd name="T41" fmla="*/ 0 h 67"/>
              <a:gd name="T42" fmla="*/ 34 w 231"/>
              <a:gd name="T43" fmla="*/ 9 h 67"/>
              <a:gd name="T44" fmla="*/ 9 w 231"/>
              <a:gd name="T45" fmla="*/ 20 h 67"/>
              <a:gd name="T46" fmla="*/ 2 w 231"/>
              <a:gd name="T47" fmla="*/ 26 h 67"/>
              <a:gd name="T48" fmla="*/ 0 w 231"/>
              <a:gd name="T49" fmla="*/ 34 h 67"/>
              <a:gd name="T50" fmla="*/ 2 w 231"/>
              <a:gd name="T51" fmla="*/ 41 h 67"/>
              <a:gd name="T52" fmla="*/ 17 w 231"/>
              <a:gd name="T53" fmla="*/ 52 h 67"/>
              <a:gd name="T54" fmla="*/ 115 w 231"/>
              <a:gd name="T55" fmla="*/ 67 h 67"/>
              <a:gd name="T56" fmla="*/ 196 w 231"/>
              <a:gd name="T57" fmla="*/ 58 h 67"/>
              <a:gd name="T58" fmla="*/ 221 w 231"/>
              <a:gd name="T59" fmla="*/ 48 h 67"/>
              <a:gd name="T60" fmla="*/ 228 w 231"/>
              <a:gd name="T61" fmla="*/ 41 h 67"/>
              <a:gd name="T62" fmla="*/ 231 w 231"/>
              <a:gd name="T63" fmla="*/ 34 h 67"/>
              <a:gd name="T64" fmla="*/ 229 w 231"/>
              <a:gd name="T65" fmla="*/ 34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31" h="67">
                <a:moveTo>
                  <a:pt x="229" y="34"/>
                </a:moveTo>
                <a:cubicBezTo>
                  <a:pt x="227" y="34"/>
                  <a:pt x="227" y="34"/>
                  <a:pt x="227" y="34"/>
                </a:cubicBezTo>
                <a:cubicBezTo>
                  <a:pt x="227" y="35"/>
                  <a:pt x="226" y="37"/>
                  <a:pt x="225" y="39"/>
                </a:cubicBezTo>
                <a:cubicBezTo>
                  <a:pt x="223" y="42"/>
                  <a:pt x="218" y="45"/>
                  <a:pt x="212" y="48"/>
                </a:cubicBezTo>
                <a:cubicBezTo>
                  <a:pt x="192" y="57"/>
                  <a:pt x="156" y="63"/>
                  <a:pt x="115" y="63"/>
                </a:cubicBezTo>
                <a:cubicBezTo>
                  <a:pt x="84" y="63"/>
                  <a:pt x="56" y="60"/>
                  <a:pt x="35" y="54"/>
                </a:cubicBezTo>
                <a:cubicBezTo>
                  <a:pt x="25" y="51"/>
                  <a:pt x="17" y="48"/>
                  <a:pt x="12" y="44"/>
                </a:cubicBezTo>
                <a:cubicBezTo>
                  <a:pt x="9" y="43"/>
                  <a:pt x="7" y="41"/>
                  <a:pt x="5" y="39"/>
                </a:cubicBezTo>
                <a:cubicBezTo>
                  <a:pt x="4" y="37"/>
                  <a:pt x="4" y="35"/>
                  <a:pt x="4" y="34"/>
                </a:cubicBezTo>
                <a:cubicBezTo>
                  <a:pt x="4" y="32"/>
                  <a:pt x="4" y="30"/>
                  <a:pt x="5" y="29"/>
                </a:cubicBezTo>
                <a:cubicBezTo>
                  <a:pt x="8" y="25"/>
                  <a:pt x="12" y="22"/>
                  <a:pt x="19" y="19"/>
                </a:cubicBezTo>
                <a:cubicBezTo>
                  <a:pt x="38" y="10"/>
                  <a:pt x="74" y="4"/>
                  <a:pt x="115" y="4"/>
                </a:cubicBezTo>
                <a:cubicBezTo>
                  <a:pt x="147" y="4"/>
                  <a:pt x="175" y="8"/>
                  <a:pt x="195" y="13"/>
                </a:cubicBezTo>
                <a:cubicBezTo>
                  <a:pt x="205" y="16"/>
                  <a:pt x="213" y="20"/>
                  <a:pt x="219" y="23"/>
                </a:cubicBezTo>
                <a:cubicBezTo>
                  <a:pt x="222" y="25"/>
                  <a:pt x="224" y="27"/>
                  <a:pt x="225" y="29"/>
                </a:cubicBezTo>
                <a:cubicBezTo>
                  <a:pt x="226" y="30"/>
                  <a:pt x="227" y="32"/>
                  <a:pt x="227" y="34"/>
                </a:cubicBezTo>
                <a:cubicBezTo>
                  <a:pt x="229" y="34"/>
                  <a:pt x="229" y="34"/>
                  <a:pt x="229" y="34"/>
                </a:cubicBezTo>
                <a:cubicBezTo>
                  <a:pt x="231" y="34"/>
                  <a:pt x="231" y="34"/>
                  <a:pt x="231" y="34"/>
                </a:cubicBezTo>
                <a:cubicBezTo>
                  <a:pt x="231" y="31"/>
                  <a:pt x="230" y="29"/>
                  <a:pt x="228" y="26"/>
                </a:cubicBezTo>
                <a:cubicBezTo>
                  <a:pt x="225" y="22"/>
                  <a:pt x="220" y="19"/>
                  <a:pt x="213" y="16"/>
                </a:cubicBezTo>
                <a:cubicBezTo>
                  <a:pt x="193" y="6"/>
                  <a:pt x="157" y="0"/>
                  <a:pt x="115" y="0"/>
                </a:cubicBezTo>
                <a:cubicBezTo>
                  <a:pt x="84" y="0"/>
                  <a:pt x="55" y="4"/>
                  <a:pt x="34" y="9"/>
                </a:cubicBezTo>
                <a:cubicBezTo>
                  <a:pt x="24" y="12"/>
                  <a:pt x="15" y="16"/>
                  <a:pt x="9" y="20"/>
                </a:cubicBezTo>
                <a:cubicBezTo>
                  <a:pt x="6" y="22"/>
                  <a:pt x="4" y="24"/>
                  <a:pt x="2" y="26"/>
                </a:cubicBezTo>
                <a:cubicBezTo>
                  <a:pt x="1" y="29"/>
                  <a:pt x="0" y="31"/>
                  <a:pt x="0" y="34"/>
                </a:cubicBezTo>
                <a:cubicBezTo>
                  <a:pt x="0" y="36"/>
                  <a:pt x="1" y="39"/>
                  <a:pt x="2" y="41"/>
                </a:cubicBezTo>
                <a:cubicBezTo>
                  <a:pt x="5" y="45"/>
                  <a:pt x="10" y="49"/>
                  <a:pt x="17" y="52"/>
                </a:cubicBezTo>
                <a:cubicBezTo>
                  <a:pt x="38" y="61"/>
                  <a:pt x="74" y="67"/>
                  <a:pt x="115" y="67"/>
                </a:cubicBezTo>
                <a:cubicBezTo>
                  <a:pt x="147" y="67"/>
                  <a:pt x="175" y="64"/>
                  <a:pt x="196" y="58"/>
                </a:cubicBezTo>
                <a:cubicBezTo>
                  <a:pt x="207" y="55"/>
                  <a:pt x="215" y="52"/>
                  <a:pt x="221" y="48"/>
                </a:cubicBezTo>
                <a:cubicBezTo>
                  <a:pt x="224" y="46"/>
                  <a:pt x="227" y="44"/>
                  <a:pt x="228" y="41"/>
                </a:cubicBezTo>
                <a:cubicBezTo>
                  <a:pt x="230" y="39"/>
                  <a:pt x="231" y="36"/>
                  <a:pt x="231" y="34"/>
                </a:cubicBezTo>
                <a:lnTo>
                  <a:pt x="229" y="3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193" name="Freeform 53"/>
          <p:cNvSpPr/>
          <p:nvPr/>
        </p:nvSpPr>
        <p:spPr bwMode="auto">
          <a:xfrm>
            <a:off x="3408998" y="4196081"/>
            <a:ext cx="255587" cy="79375"/>
          </a:xfrm>
          <a:custGeom>
            <a:avLst/>
            <a:gdLst>
              <a:gd name="T0" fmla="*/ 224 w 225"/>
              <a:gd name="T1" fmla="*/ 32 h 64"/>
              <a:gd name="T2" fmla="*/ 223 w 225"/>
              <a:gd name="T3" fmla="*/ 32 h 64"/>
              <a:gd name="T4" fmla="*/ 214 w 225"/>
              <a:gd name="T5" fmla="*/ 43 h 64"/>
              <a:gd name="T6" fmla="*/ 174 w 225"/>
              <a:gd name="T7" fmla="*/ 57 h 64"/>
              <a:gd name="T8" fmla="*/ 112 w 225"/>
              <a:gd name="T9" fmla="*/ 62 h 64"/>
              <a:gd name="T10" fmla="*/ 34 w 225"/>
              <a:gd name="T11" fmla="*/ 53 h 64"/>
              <a:gd name="T12" fmla="*/ 10 w 225"/>
              <a:gd name="T13" fmla="*/ 43 h 64"/>
              <a:gd name="T14" fmla="*/ 2 w 225"/>
              <a:gd name="T15" fmla="*/ 32 h 64"/>
              <a:gd name="T16" fmla="*/ 10 w 225"/>
              <a:gd name="T17" fmla="*/ 21 h 64"/>
              <a:gd name="T18" fmla="*/ 50 w 225"/>
              <a:gd name="T19" fmla="*/ 7 h 64"/>
              <a:gd name="T20" fmla="*/ 112 w 225"/>
              <a:gd name="T21" fmla="*/ 2 h 64"/>
              <a:gd name="T22" fmla="*/ 191 w 225"/>
              <a:gd name="T23" fmla="*/ 11 h 64"/>
              <a:gd name="T24" fmla="*/ 214 w 225"/>
              <a:gd name="T25" fmla="*/ 21 h 64"/>
              <a:gd name="T26" fmla="*/ 223 w 225"/>
              <a:gd name="T27" fmla="*/ 32 h 64"/>
              <a:gd name="T28" fmla="*/ 224 w 225"/>
              <a:gd name="T29" fmla="*/ 32 h 64"/>
              <a:gd name="T30" fmla="*/ 225 w 225"/>
              <a:gd name="T31" fmla="*/ 32 h 64"/>
              <a:gd name="T32" fmla="*/ 215 w 225"/>
              <a:gd name="T33" fmla="*/ 19 h 64"/>
              <a:gd name="T34" fmla="*/ 175 w 225"/>
              <a:gd name="T35" fmla="*/ 5 h 64"/>
              <a:gd name="T36" fmla="*/ 112 w 225"/>
              <a:gd name="T37" fmla="*/ 0 h 64"/>
              <a:gd name="T38" fmla="*/ 33 w 225"/>
              <a:gd name="T39" fmla="*/ 9 h 64"/>
              <a:gd name="T40" fmla="*/ 9 w 225"/>
              <a:gd name="T41" fmla="*/ 19 h 64"/>
              <a:gd name="T42" fmla="*/ 0 w 225"/>
              <a:gd name="T43" fmla="*/ 32 h 64"/>
              <a:gd name="T44" fmla="*/ 9 w 225"/>
              <a:gd name="T45" fmla="*/ 45 h 64"/>
              <a:gd name="T46" fmla="*/ 50 w 225"/>
              <a:gd name="T47" fmla="*/ 58 h 64"/>
              <a:gd name="T48" fmla="*/ 112 w 225"/>
              <a:gd name="T49" fmla="*/ 64 h 64"/>
              <a:gd name="T50" fmla="*/ 191 w 225"/>
              <a:gd name="T51" fmla="*/ 55 h 64"/>
              <a:gd name="T52" fmla="*/ 215 w 225"/>
              <a:gd name="T53" fmla="*/ 45 h 64"/>
              <a:gd name="T54" fmla="*/ 225 w 225"/>
              <a:gd name="T55" fmla="*/ 32 h 64"/>
              <a:gd name="T56" fmla="*/ 224 w 225"/>
              <a:gd name="T57" fmla="*/ 32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25" h="64">
                <a:moveTo>
                  <a:pt x="224" y="32"/>
                </a:moveTo>
                <a:cubicBezTo>
                  <a:pt x="223" y="32"/>
                  <a:pt x="223" y="32"/>
                  <a:pt x="223" y="32"/>
                </a:cubicBezTo>
                <a:cubicBezTo>
                  <a:pt x="223" y="36"/>
                  <a:pt x="220" y="39"/>
                  <a:pt x="214" y="43"/>
                </a:cubicBezTo>
                <a:cubicBezTo>
                  <a:pt x="206" y="48"/>
                  <a:pt x="192" y="53"/>
                  <a:pt x="174" y="57"/>
                </a:cubicBezTo>
                <a:cubicBezTo>
                  <a:pt x="157" y="60"/>
                  <a:pt x="135" y="62"/>
                  <a:pt x="112" y="62"/>
                </a:cubicBezTo>
                <a:cubicBezTo>
                  <a:pt x="82" y="62"/>
                  <a:pt x="54" y="58"/>
                  <a:pt x="34" y="53"/>
                </a:cubicBezTo>
                <a:cubicBezTo>
                  <a:pt x="24" y="50"/>
                  <a:pt x="16" y="47"/>
                  <a:pt x="10" y="43"/>
                </a:cubicBezTo>
                <a:cubicBezTo>
                  <a:pt x="5" y="39"/>
                  <a:pt x="2" y="36"/>
                  <a:pt x="2" y="32"/>
                </a:cubicBezTo>
                <a:cubicBezTo>
                  <a:pt x="2" y="28"/>
                  <a:pt x="5" y="24"/>
                  <a:pt x="10" y="21"/>
                </a:cubicBezTo>
                <a:cubicBezTo>
                  <a:pt x="18" y="15"/>
                  <a:pt x="33" y="10"/>
                  <a:pt x="50" y="7"/>
                </a:cubicBezTo>
                <a:cubicBezTo>
                  <a:pt x="68" y="4"/>
                  <a:pt x="89" y="2"/>
                  <a:pt x="112" y="2"/>
                </a:cubicBezTo>
                <a:cubicBezTo>
                  <a:pt x="143" y="2"/>
                  <a:pt x="171" y="5"/>
                  <a:pt x="191" y="11"/>
                </a:cubicBezTo>
                <a:cubicBezTo>
                  <a:pt x="201" y="14"/>
                  <a:pt x="209" y="17"/>
                  <a:pt x="214" y="21"/>
                </a:cubicBezTo>
                <a:cubicBezTo>
                  <a:pt x="220" y="24"/>
                  <a:pt x="223" y="28"/>
                  <a:pt x="223" y="32"/>
                </a:cubicBezTo>
                <a:cubicBezTo>
                  <a:pt x="224" y="32"/>
                  <a:pt x="224" y="32"/>
                  <a:pt x="224" y="32"/>
                </a:cubicBezTo>
                <a:cubicBezTo>
                  <a:pt x="225" y="32"/>
                  <a:pt x="225" y="32"/>
                  <a:pt x="225" y="32"/>
                </a:cubicBezTo>
                <a:cubicBezTo>
                  <a:pt x="225" y="27"/>
                  <a:pt x="221" y="23"/>
                  <a:pt x="215" y="19"/>
                </a:cubicBezTo>
                <a:cubicBezTo>
                  <a:pt x="207" y="13"/>
                  <a:pt x="193" y="9"/>
                  <a:pt x="175" y="5"/>
                </a:cubicBezTo>
                <a:cubicBezTo>
                  <a:pt x="157" y="2"/>
                  <a:pt x="135" y="0"/>
                  <a:pt x="112" y="0"/>
                </a:cubicBezTo>
                <a:cubicBezTo>
                  <a:pt x="81" y="0"/>
                  <a:pt x="54" y="3"/>
                  <a:pt x="33" y="9"/>
                </a:cubicBezTo>
                <a:cubicBezTo>
                  <a:pt x="23" y="12"/>
                  <a:pt x="15" y="15"/>
                  <a:pt x="9" y="19"/>
                </a:cubicBezTo>
                <a:cubicBezTo>
                  <a:pt x="3" y="23"/>
                  <a:pt x="0" y="27"/>
                  <a:pt x="0" y="32"/>
                </a:cubicBezTo>
                <a:cubicBezTo>
                  <a:pt x="0" y="37"/>
                  <a:pt x="3" y="41"/>
                  <a:pt x="9" y="45"/>
                </a:cubicBezTo>
                <a:cubicBezTo>
                  <a:pt x="18" y="50"/>
                  <a:pt x="32" y="55"/>
                  <a:pt x="50" y="58"/>
                </a:cubicBezTo>
                <a:cubicBezTo>
                  <a:pt x="68" y="62"/>
                  <a:pt x="89" y="64"/>
                  <a:pt x="112" y="64"/>
                </a:cubicBezTo>
                <a:cubicBezTo>
                  <a:pt x="143" y="64"/>
                  <a:pt x="171" y="60"/>
                  <a:pt x="191" y="55"/>
                </a:cubicBezTo>
                <a:cubicBezTo>
                  <a:pt x="201" y="52"/>
                  <a:pt x="210" y="49"/>
                  <a:pt x="215" y="45"/>
                </a:cubicBezTo>
                <a:cubicBezTo>
                  <a:pt x="221" y="41"/>
                  <a:pt x="225" y="37"/>
                  <a:pt x="225" y="32"/>
                </a:cubicBezTo>
                <a:lnTo>
                  <a:pt x="224" y="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194" name="Freeform 61"/>
          <p:cNvSpPr/>
          <p:nvPr/>
        </p:nvSpPr>
        <p:spPr bwMode="auto">
          <a:xfrm>
            <a:off x="5750560" y="4007169"/>
            <a:ext cx="212725" cy="53975"/>
          </a:xfrm>
          <a:custGeom>
            <a:avLst/>
            <a:gdLst>
              <a:gd name="T0" fmla="*/ 187 w 188"/>
              <a:gd name="T1" fmla="*/ 22 h 44"/>
              <a:gd name="T2" fmla="*/ 186 w 188"/>
              <a:gd name="T3" fmla="*/ 22 h 44"/>
              <a:gd name="T4" fmla="*/ 184 w 188"/>
              <a:gd name="T5" fmla="*/ 26 h 44"/>
              <a:gd name="T6" fmla="*/ 173 w 188"/>
              <a:gd name="T7" fmla="*/ 32 h 44"/>
              <a:gd name="T8" fmla="*/ 94 w 188"/>
              <a:gd name="T9" fmla="*/ 42 h 44"/>
              <a:gd name="T10" fmla="*/ 28 w 188"/>
              <a:gd name="T11" fmla="*/ 36 h 44"/>
              <a:gd name="T12" fmla="*/ 8 w 188"/>
              <a:gd name="T13" fmla="*/ 29 h 44"/>
              <a:gd name="T14" fmla="*/ 3 w 188"/>
              <a:gd name="T15" fmla="*/ 26 h 44"/>
              <a:gd name="T16" fmla="*/ 2 w 188"/>
              <a:gd name="T17" fmla="*/ 22 h 44"/>
              <a:gd name="T18" fmla="*/ 3 w 188"/>
              <a:gd name="T19" fmla="*/ 19 h 44"/>
              <a:gd name="T20" fmla="*/ 14 w 188"/>
              <a:gd name="T21" fmla="*/ 12 h 44"/>
              <a:gd name="T22" fmla="*/ 94 w 188"/>
              <a:gd name="T23" fmla="*/ 2 h 44"/>
              <a:gd name="T24" fmla="*/ 160 w 188"/>
              <a:gd name="T25" fmla="*/ 8 h 44"/>
              <a:gd name="T26" fmla="*/ 179 w 188"/>
              <a:gd name="T27" fmla="*/ 15 h 44"/>
              <a:gd name="T28" fmla="*/ 184 w 188"/>
              <a:gd name="T29" fmla="*/ 19 h 44"/>
              <a:gd name="T30" fmla="*/ 186 w 188"/>
              <a:gd name="T31" fmla="*/ 22 h 44"/>
              <a:gd name="T32" fmla="*/ 187 w 188"/>
              <a:gd name="T33" fmla="*/ 22 h 44"/>
              <a:gd name="T34" fmla="*/ 188 w 188"/>
              <a:gd name="T35" fmla="*/ 22 h 44"/>
              <a:gd name="T36" fmla="*/ 186 w 188"/>
              <a:gd name="T37" fmla="*/ 17 h 44"/>
              <a:gd name="T38" fmla="*/ 174 w 188"/>
              <a:gd name="T39" fmla="*/ 10 h 44"/>
              <a:gd name="T40" fmla="*/ 94 w 188"/>
              <a:gd name="T41" fmla="*/ 0 h 44"/>
              <a:gd name="T42" fmla="*/ 28 w 188"/>
              <a:gd name="T43" fmla="*/ 6 h 44"/>
              <a:gd name="T44" fmla="*/ 7 w 188"/>
              <a:gd name="T45" fmla="*/ 13 h 44"/>
              <a:gd name="T46" fmla="*/ 2 w 188"/>
              <a:gd name="T47" fmla="*/ 17 h 44"/>
              <a:gd name="T48" fmla="*/ 0 w 188"/>
              <a:gd name="T49" fmla="*/ 22 h 44"/>
              <a:gd name="T50" fmla="*/ 2 w 188"/>
              <a:gd name="T51" fmla="*/ 27 h 44"/>
              <a:gd name="T52" fmla="*/ 14 w 188"/>
              <a:gd name="T53" fmla="*/ 34 h 44"/>
              <a:gd name="T54" fmla="*/ 94 w 188"/>
              <a:gd name="T55" fmla="*/ 44 h 44"/>
              <a:gd name="T56" fmla="*/ 160 w 188"/>
              <a:gd name="T57" fmla="*/ 38 h 44"/>
              <a:gd name="T58" fmla="*/ 180 w 188"/>
              <a:gd name="T59" fmla="*/ 31 h 44"/>
              <a:gd name="T60" fmla="*/ 186 w 188"/>
              <a:gd name="T61" fmla="*/ 27 h 44"/>
              <a:gd name="T62" fmla="*/ 188 w 188"/>
              <a:gd name="T63" fmla="*/ 22 h 44"/>
              <a:gd name="T64" fmla="*/ 187 w 188"/>
              <a:gd name="T65" fmla="*/ 22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88" h="44">
                <a:moveTo>
                  <a:pt x="187" y="22"/>
                </a:moveTo>
                <a:cubicBezTo>
                  <a:pt x="186" y="22"/>
                  <a:pt x="186" y="22"/>
                  <a:pt x="186" y="22"/>
                </a:cubicBezTo>
                <a:cubicBezTo>
                  <a:pt x="186" y="23"/>
                  <a:pt x="186" y="24"/>
                  <a:pt x="184" y="26"/>
                </a:cubicBezTo>
                <a:cubicBezTo>
                  <a:pt x="182" y="28"/>
                  <a:pt x="179" y="30"/>
                  <a:pt x="173" y="32"/>
                </a:cubicBezTo>
                <a:cubicBezTo>
                  <a:pt x="157" y="38"/>
                  <a:pt x="128" y="42"/>
                  <a:pt x="94" y="42"/>
                </a:cubicBezTo>
                <a:cubicBezTo>
                  <a:pt x="68" y="42"/>
                  <a:pt x="45" y="39"/>
                  <a:pt x="28" y="36"/>
                </a:cubicBezTo>
                <a:cubicBezTo>
                  <a:pt x="20" y="34"/>
                  <a:pt x="13" y="32"/>
                  <a:pt x="8" y="29"/>
                </a:cubicBezTo>
                <a:cubicBezTo>
                  <a:pt x="6" y="28"/>
                  <a:pt x="4" y="27"/>
                  <a:pt x="3" y="26"/>
                </a:cubicBezTo>
                <a:cubicBezTo>
                  <a:pt x="2" y="24"/>
                  <a:pt x="2" y="23"/>
                  <a:pt x="2" y="22"/>
                </a:cubicBezTo>
                <a:cubicBezTo>
                  <a:pt x="2" y="21"/>
                  <a:pt x="2" y="20"/>
                  <a:pt x="3" y="19"/>
                </a:cubicBezTo>
                <a:cubicBezTo>
                  <a:pt x="5" y="16"/>
                  <a:pt x="9" y="14"/>
                  <a:pt x="14" y="12"/>
                </a:cubicBezTo>
                <a:cubicBezTo>
                  <a:pt x="31" y="6"/>
                  <a:pt x="60" y="2"/>
                  <a:pt x="94" y="2"/>
                </a:cubicBezTo>
                <a:cubicBezTo>
                  <a:pt x="120" y="2"/>
                  <a:pt x="143" y="5"/>
                  <a:pt x="160" y="8"/>
                </a:cubicBezTo>
                <a:cubicBezTo>
                  <a:pt x="168" y="10"/>
                  <a:pt x="175" y="12"/>
                  <a:pt x="179" y="15"/>
                </a:cubicBezTo>
                <a:cubicBezTo>
                  <a:pt x="182" y="16"/>
                  <a:pt x="183" y="17"/>
                  <a:pt x="184" y="19"/>
                </a:cubicBezTo>
                <a:cubicBezTo>
                  <a:pt x="186" y="20"/>
                  <a:pt x="186" y="21"/>
                  <a:pt x="186" y="22"/>
                </a:cubicBezTo>
                <a:cubicBezTo>
                  <a:pt x="187" y="22"/>
                  <a:pt x="187" y="22"/>
                  <a:pt x="187" y="22"/>
                </a:cubicBezTo>
                <a:cubicBezTo>
                  <a:pt x="188" y="22"/>
                  <a:pt x="188" y="22"/>
                  <a:pt x="188" y="22"/>
                </a:cubicBezTo>
                <a:cubicBezTo>
                  <a:pt x="188" y="20"/>
                  <a:pt x="187" y="19"/>
                  <a:pt x="186" y="17"/>
                </a:cubicBezTo>
                <a:cubicBezTo>
                  <a:pt x="184" y="15"/>
                  <a:pt x="179" y="12"/>
                  <a:pt x="174" y="10"/>
                </a:cubicBezTo>
                <a:cubicBezTo>
                  <a:pt x="157" y="4"/>
                  <a:pt x="128" y="0"/>
                  <a:pt x="94" y="0"/>
                </a:cubicBezTo>
                <a:cubicBezTo>
                  <a:pt x="68" y="0"/>
                  <a:pt x="45" y="3"/>
                  <a:pt x="28" y="6"/>
                </a:cubicBezTo>
                <a:cubicBezTo>
                  <a:pt x="19" y="8"/>
                  <a:pt x="12" y="11"/>
                  <a:pt x="7" y="13"/>
                </a:cubicBezTo>
                <a:cubicBezTo>
                  <a:pt x="5" y="14"/>
                  <a:pt x="3" y="16"/>
                  <a:pt x="2" y="17"/>
                </a:cubicBezTo>
                <a:cubicBezTo>
                  <a:pt x="0" y="19"/>
                  <a:pt x="0" y="20"/>
                  <a:pt x="0" y="22"/>
                </a:cubicBezTo>
                <a:cubicBezTo>
                  <a:pt x="0" y="24"/>
                  <a:pt x="0" y="25"/>
                  <a:pt x="2" y="27"/>
                </a:cubicBezTo>
                <a:cubicBezTo>
                  <a:pt x="4" y="29"/>
                  <a:pt x="8" y="32"/>
                  <a:pt x="14" y="34"/>
                </a:cubicBezTo>
                <a:cubicBezTo>
                  <a:pt x="30" y="40"/>
                  <a:pt x="60" y="44"/>
                  <a:pt x="94" y="44"/>
                </a:cubicBezTo>
                <a:cubicBezTo>
                  <a:pt x="120" y="44"/>
                  <a:pt x="143" y="41"/>
                  <a:pt x="160" y="38"/>
                </a:cubicBezTo>
                <a:cubicBezTo>
                  <a:pt x="168" y="36"/>
                  <a:pt x="175" y="34"/>
                  <a:pt x="180" y="31"/>
                </a:cubicBezTo>
                <a:cubicBezTo>
                  <a:pt x="183" y="30"/>
                  <a:pt x="185" y="28"/>
                  <a:pt x="186" y="27"/>
                </a:cubicBezTo>
                <a:cubicBezTo>
                  <a:pt x="187" y="25"/>
                  <a:pt x="188" y="24"/>
                  <a:pt x="188" y="22"/>
                </a:cubicBezTo>
                <a:lnTo>
                  <a:pt x="187" y="2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5" name="Freeform 63"/>
          <p:cNvSpPr/>
          <p:nvPr/>
        </p:nvSpPr>
        <p:spPr bwMode="auto">
          <a:xfrm>
            <a:off x="6488748" y="4140518"/>
            <a:ext cx="120650" cy="36512"/>
          </a:xfrm>
          <a:custGeom>
            <a:avLst/>
            <a:gdLst>
              <a:gd name="T0" fmla="*/ 108 w 108"/>
              <a:gd name="T1" fmla="*/ 0 h 30"/>
              <a:gd name="T2" fmla="*/ 97 w 108"/>
              <a:gd name="T3" fmla="*/ 0 h 30"/>
              <a:gd name="T4" fmla="*/ 88 w 108"/>
              <a:gd name="T5" fmla="*/ 4 h 30"/>
              <a:gd name="T6" fmla="*/ 3 w 108"/>
              <a:gd name="T7" fmla="*/ 25 h 30"/>
              <a:gd name="T8" fmla="*/ 0 w 108"/>
              <a:gd name="T9" fmla="*/ 30 h 30"/>
              <a:gd name="T10" fmla="*/ 35 w 108"/>
              <a:gd name="T11" fmla="*/ 23 h 30"/>
              <a:gd name="T12" fmla="*/ 108 w 108"/>
              <a:gd name="T13" fmla="*/ 0 h 30"/>
              <a:gd name="T14" fmla="*/ 108 w 108"/>
              <a:gd name="T15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8" h="30">
                <a:moveTo>
                  <a:pt x="108" y="0"/>
                </a:moveTo>
                <a:cubicBezTo>
                  <a:pt x="104" y="0"/>
                  <a:pt x="101" y="0"/>
                  <a:pt x="97" y="0"/>
                </a:cubicBezTo>
                <a:cubicBezTo>
                  <a:pt x="94" y="1"/>
                  <a:pt x="91" y="2"/>
                  <a:pt x="88" y="4"/>
                </a:cubicBezTo>
                <a:cubicBezTo>
                  <a:pt x="66" y="12"/>
                  <a:pt x="37" y="19"/>
                  <a:pt x="3" y="25"/>
                </a:cubicBezTo>
                <a:cubicBezTo>
                  <a:pt x="2" y="27"/>
                  <a:pt x="0" y="28"/>
                  <a:pt x="0" y="30"/>
                </a:cubicBezTo>
                <a:cubicBezTo>
                  <a:pt x="12" y="28"/>
                  <a:pt x="24" y="25"/>
                  <a:pt x="35" y="23"/>
                </a:cubicBezTo>
                <a:cubicBezTo>
                  <a:pt x="65" y="16"/>
                  <a:pt x="89" y="8"/>
                  <a:pt x="108" y="0"/>
                </a:cubicBezTo>
                <a:cubicBezTo>
                  <a:pt x="108" y="0"/>
                  <a:pt x="108" y="0"/>
                  <a:pt x="108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196" name="Freeform 64"/>
          <p:cNvSpPr/>
          <p:nvPr/>
        </p:nvSpPr>
        <p:spPr bwMode="auto">
          <a:xfrm>
            <a:off x="6485574" y="4140519"/>
            <a:ext cx="141287" cy="52387"/>
          </a:xfrm>
          <a:custGeom>
            <a:avLst/>
            <a:gdLst>
              <a:gd name="T0" fmla="*/ 121 w 124"/>
              <a:gd name="T1" fmla="*/ 0 h 42"/>
              <a:gd name="T2" fmla="*/ 4 w 124"/>
              <a:gd name="T3" fmla="*/ 40 h 42"/>
              <a:gd name="T4" fmla="*/ 0 w 124"/>
              <a:gd name="T5" fmla="*/ 40 h 42"/>
              <a:gd name="T6" fmla="*/ 0 w 124"/>
              <a:gd name="T7" fmla="*/ 42 h 42"/>
              <a:gd name="T8" fmla="*/ 30 w 124"/>
              <a:gd name="T9" fmla="*/ 36 h 42"/>
              <a:gd name="T10" fmla="*/ 107 w 124"/>
              <a:gd name="T11" fmla="*/ 11 h 42"/>
              <a:gd name="T12" fmla="*/ 124 w 124"/>
              <a:gd name="T13" fmla="*/ 0 h 42"/>
              <a:gd name="T14" fmla="*/ 121 w 124"/>
              <a:gd name="T15" fmla="*/ 0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4" h="42">
                <a:moveTo>
                  <a:pt x="121" y="0"/>
                </a:moveTo>
                <a:cubicBezTo>
                  <a:pt x="101" y="16"/>
                  <a:pt x="59" y="29"/>
                  <a:pt x="4" y="40"/>
                </a:cubicBezTo>
                <a:cubicBezTo>
                  <a:pt x="3" y="40"/>
                  <a:pt x="1" y="40"/>
                  <a:pt x="0" y="40"/>
                </a:cubicBezTo>
                <a:cubicBezTo>
                  <a:pt x="0" y="41"/>
                  <a:pt x="0" y="42"/>
                  <a:pt x="0" y="42"/>
                </a:cubicBezTo>
                <a:cubicBezTo>
                  <a:pt x="11" y="40"/>
                  <a:pt x="21" y="38"/>
                  <a:pt x="30" y="36"/>
                </a:cubicBezTo>
                <a:cubicBezTo>
                  <a:pt x="62" y="29"/>
                  <a:pt x="89" y="20"/>
                  <a:pt x="107" y="11"/>
                </a:cubicBezTo>
                <a:cubicBezTo>
                  <a:pt x="114" y="7"/>
                  <a:pt x="119" y="4"/>
                  <a:pt x="124" y="0"/>
                </a:cubicBezTo>
                <a:cubicBezTo>
                  <a:pt x="123" y="0"/>
                  <a:pt x="122" y="0"/>
                  <a:pt x="12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197" name="Freeform 65"/>
          <p:cNvSpPr/>
          <p:nvPr/>
        </p:nvSpPr>
        <p:spPr bwMode="auto">
          <a:xfrm>
            <a:off x="6476049" y="4150044"/>
            <a:ext cx="268287" cy="100012"/>
          </a:xfrm>
          <a:custGeom>
            <a:avLst/>
            <a:gdLst>
              <a:gd name="T0" fmla="*/ 234 w 236"/>
              <a:gd name="T1" fmla="*/ 40 h 81"/>
              <a:gd name="T2" fmla="*/ 232 w 236"/>
              <a:gd name="T3" fmla="*/ 40 h 81"/>
              <a:gd name="T4" fmla="*/ 230 w 236"/>
              <a:gd name="T5" fmla="*/ 47 h 81"/>
              <a:gd name="T6" fmla="*/ 216 w 236"/>
              <a:gd name="T7" fmla="*/ 58 h 81"/>
              <a:gd name="T8" fmla="*/ 118 w 236"/>
              <a:gd name="T9" fmla="*/ 77 h 81"/>
              <a:gd name="T10" fmla="*/ 36 w 236"/>
              <a:gd name="T11" fmla="*/ 65 h 81"/>
              <a:gd name="T12" fmla="*/ 12 w 236"/>
              <a:gd name="T13" fmla="*/ 54 h 81"/>
              <a:gd name="T14" fmla="*/ 6 w 236"/>
              <a:gd name="T15" fmla="*/ 47 h 81"/>
              <a:gd name="T16" fmla="*/ 4 w 236"/>
              <a:gd name="T17" fmla="*/ 40 h 81"/>
              <a:gd name="T18" fmla="*/ 6 w 236"/>
              <a:gd name="T19" fmla="*/ 33 h 81"/>
              <a:gd name="T20" fmla="*/ 19 w 236"/>
              <a:gd name="T21" fmla="*/ 22 h 81"/>
              <a:gd name="T22" fmla="*/ 118 w 236"/>
              <a:gd name="T23" fmla="*/ 4 h 81"/>
              <a:gd name="T24" fmla="*/ 199 w 236"/>
              <a:gd name="T25" fmla="*/ 15 h 81"/>
              <a:gd name="T26" fmla="*/ 223 w 236"/>
              <a:gd name="T27" fmla="*/ 27 h 81"/>
              <a:gd name="T28" fmla="*/ 230 w 236"/>
              <a:gd name="T29" fmla="*/ 33 h 81"/>
              <a:gd name="T30" fmla="*/ 232 w 236"/>
              <a:gd name="T31" fmla="*/ 40 h 81"/>
              <a:gd name="T32" fmla="*/ 234 w 236"/>
              <a:gd name="T33" fmla="*/ 40 h 81"/>
              <a:gd name="T34" fmla="*/ 236 w 236"/>
              <a:gd name="T35" fmla="*/ 40 h 81"/>
              <a:gd name="T36" fmla="*/ 233 w 236"/>
              <a:gd name="T37" fmla="*/ 31 h 81"/>
              <a:gd name="T38" fmla="*/ 218 w 236"/>
              <a:gd name="T39" fmla="*/ 18 h 81"/>
              <a:gd name="T40" fmla="*/ 118 w 236"/>
              <a:gd name="T41" fmla="*/ 0 h 81"/>
              <a:gd name="T42" fmla="*/ 35 w 236"/>
              <a:gd name="T43" fmla="*/ 11 h 81"/>
              <a:gd name="T44" fmla="*/ 9 w 236"/>
              <a:gd name="T45" fmla="*/ 24 h 81"/>
              <a:gd name="T46" fmla="*/ 2 w 236"/>
              <a:gd name="T47" fmla="*/ 31 h 81"/>
              <a:gd name="T48" fmla="*/ 0 w 236"/>
              <a:gd name="T49" fmla="*/ 40 h 81"/>
              <a:gd name="T50" fmla="*/ 2 w 236"/>
              <a:gd name="T51" fmla="*/ 49 h 81"/>
              <a:gd name="T52" fmla="*/ 17 w 236"/>
              <a:gd name="T53" fmla="*/ 62 h 81"/>
              <a:gd name="T54" fmla="*/ 118 w 236"/>
              <a:gd name="T55" fmla="*/ 81 h 81"/>
              <a:gd name="T56" fmla="*/ 200 w 236"/>
              <a:gd name="T57" fmla="*/ 69 h 81"/>
              <a:gd name="T58" fmla="*/ 226 w 236"/>
              <a:gd name="T59" fmla="*/ 57 h 81"/>
              <a:gd name="T60" fmla="*/ 233 w 236"/>
              <a:gd name="T61" fmla="*/ 49 h 81"/>
              <a:gd name="T62" fmla="*/ 236 w 236"/>
              <a:gd name="T63" fmla="*/ 40 h 81"/>
              <a:gd name="T64" fmla="*/ 234 w 236"/>
              <a:gd name="T65" fmla="*/ 4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36" h="81">
                <a:moveTo>
                  <a:pt x="234" y="40"/>
                </a:moveTo>
                <a:cubicBezTo>
                  <a:pt x="232" y="40"/>
                  <a:pt x="232" y="40"/>
                  <a:pt x="232" y="40"/>
                </a:cubicBezTo>
                <a:cubicBezTo>
                  <a:pt x="232" y="42"/>
                  <a:pt x="231" y="45"/>
                  <a:pt x="230" y="47"/>
                </a:cubicBezTo>
                <a:cubicBezTo>
                  <a:pt x="227" y="51"/>
                  <a:pt x="223" y="55"/>
                  <a:pt x="216" y="58"/>
                </a:cubicBezTo>
                <a:cubicBezTo>
                  <a:pt x="196" y="69"/>
                  <a:pt x="159" y="77"/>
                  <a:pt x="118" y="77"/>
                </a:cubicBezTo>
                <a:cubicBezTo>
                  <a:pt x="86" y="77"/>
                  <a:pt x="57" y="72"/>
                  <a:pt x="36" y="65"/>
                </a:cubicBezTo>
                <a:cubicBezTo>
                  <a:pt x="26" y="62"/>
                  <a:pt x="17" y="58"/>
                  <a:pt x="12" y="54"/>
                </a:cubicBezTo>
                <a:cubicBezTo>
                  <a:pt x="9" y="51"/>
                  <a:pt x="7" y="49"/>
                  <a:pt x="6" y="47"/>
                </a:cubicBezTo>
                <a:cubicBezTo>
                  <a:pt x="4" y="45"/>
                  <a:pt x="4" y="42"/>
                  <a:pt x="4" y="40"/>
                </a:cubicBezTo>
                <a:cubicBezTo>
                  <a:pt x="4" y="38"/>
                  <a:pt x="4" y="36"/>
                  <a:pt x="6" y="33"/>
                </a:cubicBezTo>
                <a:cubicBezTo>
                  <a:pt x="8" y="30"/>
                  <a:pt x="13" y="26"/>
                  <a:pt x="19" y="22"/>
                </a:cubicBezTo>
                <a:cubicBezTo>
                  <a:pt x="39" y="11"/>
                  <a:pt x="76" y="4"/>
                  <a:pt x="118" y="4"/>
                </a:cubicBezTo>
                <a:cubicBezTo>
                  <a:pt x="149" y="4"/>
                  <a:pt x="178" y="8"/>
                  <a:pt x="199" y="15"/>
                </a:cubicBezTo>
                <a:cubicBezTo>
                  <a:pt x="209" y="18"/>
                  <a:pt x="218" y="22"/>
                  <a:pt x="223" y="27"/>
                </a:cubicBezTo>
                <a:cubicBezTo>
                  <a:pt x="226" y="29"/>
                  <a:pt x="228" y="31"/>
                  <a:pt x="230" y="33"/>
                </a:cubicBezTo>
                <a:cubicBezTo>
                  <a:pt x="231" y="36"/>
                  <a:pt x="232" y="38"/>
                  <a:pt x="232" y="40"/>
                </a:cubicBezTo>
                <a:cubicBezTo>
                  <a:pt x="234" y="40"/>
                  <a:pt x="234" y="40"/>
                  <a:pt x="234" y="40"/>
                </a:cubicBezTo>
                <a:cubicBezTo>
                  <a:pt x="236" y="40"/>
                  <a:pt x="236" y="40"/>
                  <a:pt x="236" y="40"/>
                </a:cubicBezTo>
                <a:cubicBezTo>
                  <a:pt x="236" y="37"/>
                  <a:pt x="235" y="34"/>
                  <a:pt x="233" y="31"/>
                </a:cubicBezTo>
                <a:cubicBezTo>
                  <a:pt x="230" y="27"/>
                  <a:pt x="225" y="22"/>
                  <a:pt x="218" y="18"/>
                </a:cubicBezTo>
                <a:cubicBezTo>
                  <a:pt x="197" y="7"/>
                  <a:pt x="160" y="0"/>
                  <a:pt x="118" y="0"/>
                </a:cubicBezTo>
                <a:cubicBezTo>
                  <a:pt x="85" y="0"/>
                  <a:pt x="56" y="4"/>
                  <a:pt x="35" y="11"/>
                </a:cubicBezTo>
                <a:cubicBezTo>
                  <a:pt x="24" y="15"/>
                  <a:pt x="16" y="19"/>
                  <a:pt x="9" y="24"/>
                </a:cubicBezTo>
                <a:cubicBezTo>
                  <a:pt x="6" y="26"/>
                  <a:pt x="4" y="29"/>
                  <a:pt x="2" y="31"/>
                </a:cubicBezTo>
                <a:cubicBezTo>
                  <a:pt x="0" y="34"/>
                  <a:pt x="0" y="37"/>
                  <a:pt x="0" y="40"/>
                </a:cubicBezTo>
                <a:cubicBezTo>
                  <a:pt x="0" y="43"/>
                  <a:pt x="0" y="46"/>
                  <a:pt x="2" y="49"/>
                </a:cubicBezTo>
                <a:cubicBezTo>
                  <a:pt x="5" y="54"/>
                  <a:pt x="10" y="58"/>
                  <a:pt x="17" y="62"/>
                </a:cubicBezTo>
                <a:cubicBezTo>
                  <a:pt x="38" y="73"/>
                  <a:pt x="75" y="81"/>
                  <a:pt x="118" y="81"/>
                </a:cubicBezTo>
                <a:cubicBezTo>
                  <a:pt x="150" y="81"/>
                  <a:pt x="179" y="76"/>
                  <a:pt x="200" y="69"/>
                </a:cubicBezTo>
                <a:cubicBezTo>
                  <a:pt x="211" y="66"/>
                  <a:pt x="220" y="61"/>
                  <a:pt x="226" y="57"/>
                </a:cubicBezTo>
                <a:cubicBezTo>
                  <a:pt x="229" y="54"/>
                  <a:pt x="231" y="52"/>
                  <a:pt x="233" y="49"/>
                </a:cubicBezTo>
                <a:cubicBezTo>
                  <a:pt x="235" y="46"/>
                  <a:pt x="236" y="43"/>
                  <a:pt x="236" y="40"/>
                </a:cubicBezTo>
                <a:lnTo>
                  <a:pt x="234" y="4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198" name="Freeform 66"/>
          <p:cNvSpPr/>
          <p:nvPr/>
        </p:nvSpPr>
        <p:spPr bwMode="auto">
          <a:xfrm>
            <a:off x="6479223" y="4161155"/>
            <a:ext cx="260350" cy="95250"/>
          </a:xfrm>
          <a:custGeom>
            <a:avLst/>
            <a:gdLst>
              <a:gd name="T0" fmla="*/ 228 w 229"/>
              <a:gd name="T1" fmla="*/ 39 h 77"/>
              <a:gd name="T2" fmla="*/ 227 w 229"/>
              <a:gd name="T3" fmla="*/ 39 h 77"/>
              <a:gd name="T4" fmla="*/ 219 w 229"/>
              <a:gd name="T5" fmla="*/ 52 h 77"/>
              <a:gd name="T6" fmla="*/ 115 w 229"/>
              <a:gd name="T7" fmla="*/ 75 h 77"/>
              <a:gd name="T8" fmla="*/ 35 w 229"/>
              <a:gd name="T9" fmla="*/ 64 h 77"/>
              <a:gd name="T10" fmla="*/ 11 w 229"/>
              <a:gd name="T11" fmla="*/ 52 h 77"/>
              <a:gd name="T12" fmla="*/ 2 w 229"/>
              <a:gd name="T13" fmla="*/ 39 h 77"/>
              <a:gd name="T14" fmla="*/ 11 w 229"/>
              <a:gd name="T15" fmla="*/ 25 h 77"/>
              <a:gd name="T16" fmla="*/ 115 w 229"/>
              <a:gd name="T17" fmla="*/ 2 h 77"/>
              <a:gd name="T18" fmla="*/ 195 w 229"/>
              <a:gd name="T19" fmla="*/ 13 h 77"/>
              <a:gd name="T20" fmla="*/ 219 w 229"/>
              <a:gd name="T21" fmla="*/ 25 h 77"/>
              <a:gd name="T22" fmla="*/ 227 w 229"/>
              <a:gd name="T23" fmla="*/ 39 h 77"/>
              <a:gd name="T24" fmla="*/ 228 w 229"/>
              <a:gd name="T25" fmla="*/ 39 h 77"/>
              <a:gd name="T26" fmla="*/ 229 w 229"/>
              <a:gd name="T27" fmla="*/ 39 h 77"/>
              <a:gd name="T28" fmla="*/ 220 w 229"/>
              <a:gd name="T29" fmla="*/ 23 h 77"/>
              <a:gd name="T30" fmla="*/ 115 w 229"/>
              <a:gd name="T31" fmla="*/ 0 h 77"/>
              <a:gd name="T32" fmla="*/ 34 w 229"/>
              <a:gd name="T33" fmla="*/ 11 h 77"/>
              <a:gd name="T34" fmla="*/ 9 w 229"/>
              <a:gd name="T35" fmla="*/ 23 h 77"/>
              <a:gd name="T36" fmla="*/ 0 w 229"/>
              <a:gd name="T37" fmla="*/ 39 h 77"/>
              <a:gd name="T38" fmla="*/ 9 w 229"/>
              <a:gd name="T39" fmla="*/ 54 h 77"/>
              <a:gd name="T40" fmla="*/ 115 w 229"/>
              <a:gd name="T41" fmla="*/ 77 h 77"/>
              <a:gd name="T42" fmla="*/ 195 w 229"/>
              <a:gd name="T43" fmla="*/ 66 h 77"/>
              <a:gd name="T44" fmla="*/ 220 w 229"/>
              <a:gd name="T45" fmla="*/ 54 h 77"/>
              <a:gd name="T46" fmla="*/ 229 w 229"/>
              <a:gd name="T47" fmla="*/ 39 h 77"/>
              <a:gd name="T48" fmla="*/ 228 w 229"/>
              <a:gd name="T49" fmla="*/ 39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29" h="77">
                <a:moveTo>
                  <a:pt x="228" y="39"/>
                </a:moveTo>
                <a:cubicBezTo>
                  <a:pt x="227" y="39"/>
                  <a:pt x="227" y="39"/>
                  <a:pt x="227" y="39"/>
                </a:cubicBezTo>
                <a:cubicBezTo>
                  <a:pt x="227" y="43"/>
                  <a:pt x="224" y="48"/>
                  <a:pt x="219" y="52"/>
                </a:cubicBezTo>
                <a:cubicBezTo>
                  <a:pt x="202" y="66"/>
                  <a:pt x="161" y="75"/>
                  <a:pt x="115" y="75"/>
                </a:cubicBezTo>
                <a:cubicBezTo>
                  <a:pt x="83" y="75"/>
                  <a:pt x="55" y="71"/>
                  <a:pt x="35" y="64"/>
                </a:cubicBezTo>
                <a:cubicBezTo>
                  <a:pt x="24" y="61"/>
                  <a:pt x="16" y="57"/>
                  <a:pt x="11" y="52"/>
                </a:cubicBezTo>
                <a:cubicBezTo>
                  <a:pt x="5" y="48"/>
                  <a:pt x="2" y="43"/>
                  <a:pt x="2" y="39"/>
                </a:cubicBezTo>
                <a:cubicBezTo>
                  <a:pt x="2" y="34"/>
                  <a:pt x="5" y="29"/>
                  <a:pt x="11" y="25"/>
                </a:cubicBezTo>
                <a:cubicBezTo>
                  <a:pt x="27" y="11"/>
                  <a:pt x="68" y="2"/>
                  <a:pt x="115" y="2"/>
                </a:cubicBezTo>
                <a:cubicBezTo>
                  <a:pt x="146" y="2"/>
                  <a:pt x="174" y="6"/>
                  <a:pt x="195" y="13"/>
                </a:cubicBezTo>
                <a:cubicBezTo>
                  <a:pt x="205" y="16"/>
                  <a:pt x="213" y="20"/>
                  <a:pt x="219" y="25"/>
                </a:cubicBezTo>
                <a:cubicBezTo>
                  <a:pt x="224" y="29"/>
                  <a:pt x="227" y="34"/>
                  <a:pt x="227" y="39"/>
                </a:cubicBezTo>
                <a:cubicBezTo>
                  <a:pt x="228" y="39"/>
                  <a:pt x="228" y="39"/>
                  <a:pt x="228" y="39"/>
                </a:cubicBezTo>
                <a:cubicBezTo>
                  <a:pt x="229" y="39"/>
                  <a:pt x="229" y="39"/>
                  <a:pt x="229" y="39"/>
                </a:cubicBezTo>
                <a:cubicBezTo>
                  <a:pt x="229" y="33"/>
                  <a:pt x="226" y="28"/>
                  <a:pt x="220" y="23"/>
                </a:cubicBezTo>
                <a:cubicBezTo>
                  <a:pt x="202" y="9"/>
                  <a:pt x="162" y="0"/>
                  <a:pt x="115" y="0"/>
                </a:cubicBezTo>
                <a:cubicBezTo>
                  <a:pt x="83" y="0"/>
                  <a:pt x="55" y="4"/>
                  <a:pt x="34" y="11"/>
                </a:cubicBezTo>
                <a:cubicBezTo>
                  <a:pt x="24" y="14"/>
                  <a:pt x="15" y="18"/>
                  <a:pt x="9" y="23"/>
                </a:cubicBezTo>
                <a:cubicBezTo>
                  <a:pt x="3" y="28"/>
                  <a:pt x="0" y="33"/>
                  <a:pt x="0" y="39"/>
                </a:cubicBezTo>
                <a:cubicBezTo>
                  <a:pt x="0" y="44"/>
                  <a:pt x="3" y="49"/>
                  <a:pt x="9" y="54"/>
                </a:cubicBezTo>
                <a:cubicBezTo>
                  <a:pt x="27" y="68"/>
                  <a:pt x="67" y="77"/>
                  <a:pt x="115" y="77"/>
                </a:cubicBezTo>
                <a:cubicBezTo>
                  <a:pt x="146" y="77"/>
                  <a:pt x="175" y="73"/>
                  <a:pt x="195" y="66"/>
                </a:cubicBezTo>
                <a:cubicBezTo>
                  <a:pt x="206" y="63"/>
                  <a:pt x="214" y="59"/>
                  <a:pt x="220" y="54"/>
                </a:cubicBezTo>
                <a:cubicBezTo>
                  <a:pt x="226" y="49"/>
                  <a:pt x="229" y="44"/>
                  <a:pt x="229" y="39"/>
                </a:cubicBezTo>
                <a:lnTo>
                  <a:pt x="228" y="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199" name="Freeform 68"/>
          <p:cNvSpPr/>
          <p:nvPr/>
        </p:nvSpPr>
        <p:spPr bwMode="auto">
          <a:xfrm>
            <a:off x="7079299" y="4337369"/>
            <a:ext cx="220662" cy="58737"/>
          </a:xfrm>
          <a:custGeom>
            <a:avLst/>
            <a:gdLst>
              <a:gd name="T0" fmla="*/ 192 w 194"/>
              <a:gd name="T1" fmla="*/ 23 h 46"/>
              <a:gd name="T2" fmla="*/ 190 w 194"/>
              <a:gd name="T3" fmla="*/ 23 h 46"/>
              <a:gd name="T4" fmla="*/ 189 w 194"/>
              <a:gd name="T5" fmla="*/ 26 h 46"/>
              <a:gd name="T6" fmla="*/ 178 w 194"/>
              <a:gd name="T7" fmla="*/ 32 h 46"/>
              <a:gd name="T8" fmla="*/ 97 w 194"/>
              <a:gd name="T9" fmla="*/ 42 h 46"/>
              <a:gd name="T10" fmla="*/ 30 w 194"/>
              <a:gd name="T11" fmla="*/ 36 h 46"/>
              <a:gd name="T12" fmla="*/ 10 w 194"/>
              <a:gd name="T13" fmla="*/ 29 h 46"/>
              <a:gd name="T14" fmla="*/ 5 w 194"/>
              <a:gd name="T15" fmla="*/ 26 h 46"/>
              <a:gd name="T16" fmla="*/ 4 w 194"/>
              <a:gd name="T17" fmla="*/ 23 h 46"/>
              <a:gd name="T18" fmla="*/ 5 w 194"/>
              <a:gd name="T19" fmla="*/ 20 h 46"/>
              <a:gd name="T20" fmla="*/ 16 w 194"/>
              <a:gd name="T21" fmla="*/ 14 h 46"/>
              <a:gd name="T22" fmla="*/ 97 w 194"/>
              <a:gd name="T23" fmla="*/ 4 h 46"/>
              <a:gd name="T24" fmla="*/ 164 w 194"/>
              <a:gd name="T25" fmla="*/ 10 h 46"/>
              <a:gd name="T26" fmla="*/ 184 w 194"/>
              <a:gd name="T27" fmla="*/ 16 h 46"/>
              <a:gd name="T28" fmla="*/ 189 w 194"/>
              <a:gd name="T29" fmla="*/ 20 h 46"/>
              <a:gd name="T30" fmla="*/ 190 w 194"/>
              <a:gd name="T31" fmla="*/ 23 h 46"/>
              <a:gd name="T32" fmla="*/ 192 w 194"/>
              <a:gd name="T33" fmla="*/ 23 h 46"/>
              <a:gd name="T34" fmla="*/ 194 w 194"/>
              <a:gd name="T35" fmla="*/ 23 h 46"/>
              <a:gd name="T36" fmla="*/ 192 w 194"/>
              <a:gd name="T37" fmla="*/ 17 h 46"/>
              <a:gd name="T38" fmla="*/ 179 w 194"/>
              <a:gd name="T39" fmla="*/ 10 h 46"/>
              <a:gd name="T40" fmla="*/ 97 w 194"/>
              <a:gd name="T41" fmla="*/ 0 h 46"/>
              <a:gd name="T42" fmla="*/ 29 w 194"/>
              <a:gd name="T43" fmla="*/ 6 h 46"/>
              <a:gd name="T44" fmla="*/ 8 w 194"/>
              <a:gd name="T45" fmla="*/ 13 h 46"/>
              <a:gd name="T46" fmla="*/ 2 w 194"/>
              <a:gd name="T47" fmla="*/ 17 h 46"/>
              <a:gd name="T48" fmla="*/ 0 w 194"/>
              <a:gd name="T49" fmla="*/ 23 h 46"/>
              <a:gd name="T50" fmla="*/ 2 w 194"/>
              <a:gd name="T51" fmla="*/ 29 h 46"/>
              <a:gd name="T52" fmla="*/ 15 w 194"/>
              <a:gd name="T53" fmla="*/ 36 h 46"/>
              <a:gd name="T54" fmla="*/ 97 w 194"/>
              <a:gd name="T55" fmla="*/ 46 h 46"/>
              <a:gd name="T56" fmla="*/ 165 w 194"/>
              <a:gd name="T57" fmla="*/ 40 h 46"/>
              <a:gd name="T58" fmla="*/ 186 w 194"/>
              <a:gd name="T59" fmla="*/ 33 h 46"/>
              <a:gd name="T60" fmla="*/ 192 w 194"/>
              <a:gd name="T61" fmla="*/ 29 h 46"/>
              <a:gd name="T62" fmla="*/ 194 w 194"/>
              <a:gd name="T63" fmla="*/ 23 h 46"/>
              <a:gd name="T64" fmla="*/ 192 w 194"/>
              <a:gd name="T65" fmla="*/ 23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4" h="46">
                <a:moveTo>
                  <a:pt x="192" y="23"/>
                </a:moveTo>
                <a:cubicBezTo>
                  <a:pt x="190" y="23"/>
                  <a:pt x="190" y="23"/>
                  <a:pt x="190" y="23"/>
                </a:cubicBezTo>
                <a:cubicBezTo>
                  <a:pt x="190" y="24"/>
                  <a:pt x="190" y="25"/>
                  <a:pt x="189" y="26"/>
                </a:cubicBezTo>
                <a:cubicBezTo>
                  <a:pt x="187" y="28"/>
                  <a:pt x="183" y="30"/>
                  <a:pt x="178" y="32"/>
                </a:cubicBezTo>
                <a:cubicBezTo>
                  <a:pt x="161" y="38"/>
                  <a:pt x="131" y="42"/>
                  <a:pt x="97" y="42"/>
                </a:cubicBezTo>
                <a:cubicBezTo>
                  <a:pt x="71" y="42"/>
                  <a:pt x="47" y="40"/>
                  <a:pt x="30" y="36"/>
                </a:cubicBezTo>
                <a:cubicBezTo>
                  <a:pt x="21" y="34"/>
                  <a:pt x="14" y="32"/>
                  <a:pt x="10" y="29"/>
                </a:cubicBezTo>
                <a:cubicBezTo>
                  <a:pt x="8" y="28"/>
                  <a:pt x="6" y="27"/>
                  <a:pt x="5" y="26"/>
                </a:cubicBezTo>
                <a:cubicBezTo>
                  <a:pt x="4" y="25"/>
                  <a:pt x="4" y="24"/>
                  <a:pt x="4" y="23"/>
                </a:cubicBezTo>
                <a:cubicBezTo>
                  <a:pt x="4" y="22"/>
                  <a:pt x="4" y="21"/>
                  <a:pt x="5" y="20"/>
                </a:cubicBezTo>
                <a:cubicBezTo>
                  <a:pt x="7" y="18"/>
                  <a:pt x="11" y="16"/>
                  <a:pt x="16" y="14"/>
                </a:cubicBezTo>
                <a:cubicBezTo>
                  <a:pt x="32" y="8"/>
                  <a:pt x="62" y="4"/>
                  <a:pt x="97" y="4"/>
                </a:cubicBezTo>
                <a:cubicBezTo>
                  <a:pt x="123" y="4"/>
                  <a:pt x="147" y="6"/>
                  <a:pt x="164" y="10"/>
                </a:cubicBezTo>
                <a:cubicBezTo>
                  <a:pt x="172" y="12"/>
                  <a:pt x="179" y="14"/>
                  <a:pt x="184" y="16"/>
                </a:cubicBezTo>
                <a:cubicBezTo>
                  <a:pt x="186" y="18"/>
                  <a:pt x="188" y="19"/>
                  <a:pt x="189" y="20"/>
                </a:cubicBezTo>
                <a:cubicBezTo>
                  <a:pt x="190" y="21"/>
                  <a:pt x="190" y="22"/>
                  <a:pt x="190" y="23"/>
                </a:cubicBezTo>
                <a:cubicBezTo>
                  <a:pt x="192" y="23"/>
                  <a:pt x="192" y="23"/>
                  <a:pt x="192" y="23"/>
                </a:cubicBezTo>
                <a:cubicBezTo>
                  <a:pt x="194" y="23"/>
                  <a:pt x="194" y="23"/>
                  <a:pt x="194" y="23"/>
                </a:cubicBezTo>
                <a:cubicBezTo>
                  <a:pt x="194" y="21"/>
                  <a:pt x="193" y="19"/>
                  <a:pt x="192" y="17"/>
                </a:cubicBezTo>
                <a:cubicBezTo>
                  <a:pt x="189" y="14"/>
                  <a:pt x="185" y="12"/>
                  <a:pt x="179" y="10"/>
                </a:cubicBezTo>
                <a:cubicBezTo>
                  <a:pt x="162" y="4"/>
                  <a:pt x="132" y="0"/>
                  <a:pt x="97" y="0"/>
                </a:cubicBezTo>
                <a:cubicBezTo>
                  <a:pt x="70" y="0"/>
                  <a:pt x="46" y="2"/>
                  <a:pt x="29" y="6"/>
                </a:cubicBezTo>
                <a:cubicBezTo>
                  <a:pt x="20" y="8"/>
                  <a:pt x="13" y="10"/>
                  <a:pt x="8" y="13"/>
                </a:cubicBezTo>
                <a:cubicBezTo>
                  <a:pt x="6" y="14"/>
                  <a:pt x="3" y="16"/>
                  <a:pt x="2" y="17"/>
                </a:cubicBezTo>
                <a:cubicBezTo>
                  <a:pt x="0" y="19"/>
                  <a:pt x="0" y="21"/>
                  <a:pt x="0" y="23"/>
                </a:cubicBezTo>
                <a:cubicBezTo>
                  <a:pt x="0" y="25"/>
                  <a:pt x="0" y="27"/>
                  <a:pt x="2" y="29"/>
                </a:cubicBezTo>
                <a:cubicBezTo>
                  <a:pt x="5" y="31"/>
                  <a:pt x="9" y="34"/>
                  <a:pt x="15" y="36"/>
                </a:cubicBezTo>
                <a:cubicBezTo>
                  <a:pt x="32" y="42"/>
                  <a:pt x="62" y="46"/>
                  <a:pt x="97" y="46"/>
                </a:cubicBezTo>
                <a:cubicBezTo>
                  <a:pt x="123" y="46"/>
                  <a:pt x="147" y="44"/>
                  <a:pt x="165" y="40"/>
                </a:cubicBezTo>
                <a:cubicBezTo>
                  <a:pt x="173" y="38"/>
                  <a:pt x="180" y="36"/>
                  <a:pt x="186" y="33"/>
                </a:cubicBezTo>
                <a:cubicBezTo>
                  <a:pt x="188" y="32"/>
                  <a:pt x="190" y="30"/>
                  <a:pt x="192" y="29"/>
                </a:cubicBezTo>
                <a:cubicBezTo>
                  <a:pt x="193" y="27"/>
                  <a:pt x="194" y="25"/>
                  <a:pt x="194" y="23"/>
                </a:cubicBezTo>
                <a:lnTo>
                  <a:pt x="192" y="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200" name="Freeform 69"/>
          <p:cNvSpPr/>
          <p:nvPr/>
        </p:nvSpPr>
        <p:spPr bwMode="auto">
          <a:xfrm>
            <a:off x="7082474" y="4343719"/>
            <a:ext cx="214312" cy="55562"/>
          </a:xfrm>
          <a:custGeom>
            <a:avLst/>
            <a:gdLst>
              <a:gd name="T0" fmla="*/ 187 w 188"/>
              <a:gd name="T1" fmla="*/ 22 h 44"/>
              <a:gd name="T2" fmla="*/ 186 w 188"/>
              <a:gd name="T3" fmla="*/ 22 h 44"/>
              <a:gd name="T4" fmla="*/ 184 w 188"/>
              <a:gd name="T5" fmla="*/ 26 h 44"/>
              <a:gd name="T6" fmla="*/ 173 w 188"/>
              <a:gd name="T7" fmla="*/ 32 h 44"/>
              <a:gd name="T8" fmla="*/ 94 w 188"/>
              <a:gd name="T9" fmla="*/ 42 h 44"/>
              <a:gd name="T10" fmla="*/ 28 w 188"/>
              <a:gd name="T11" fmla="*/ 36 h 44"/>
              <a:gd name="T12" fmla="*/ 8 w 188"/>
              <a:gd name="T13" fmla="*/ 29 h 44"/>
              <a:gd name="T14" fmla="*/ 3 w 188"/>
              <a:gd name="T15" fmla="*/ 26 h 44"/>
              <a:gd name="T16" fmla="*/ 2 w 188"/>
              <a:gd name="T17" fmla="*/ 22 h 44"/>
              <a:gd name="T18" fmla="*/ 3 w 188"/>
              <a:gd name="T19" fmla="*/ 19 h 44"/>
              <a:gd name="T20" fmla="*/ 14 w 188"/>
              <a:gd name="T21" fmla="*/ 12 h 44"/>
              <a:gd name="T22" fmla="*/ 94 w 188"/>
              <a:gd name="T23" fmla="*/ 2 h 44"/>
              <a:gd name="T24" fmla="*/ 160 w 188"/>
              <a:gd name="T25" fmla="*/ 8 h 44"/>
              <a:gd name="T26" fmla="*/ 179 w 188"/>
              <a:gd name="T27" fmla="*/ 15 h 44"/>
              <a:gd name="T28" fmla="*/ 184 w 188"/>
              <a:gd name="T29" fmla="*/ 19 h 44"/>
              <a:gd name="T30" fmla="*/ 186 w 188"/>
              <a:gd name="T31" fmla="*/ 22 h 44"/>
              <a:gd name="T32" fmla="*/ 187 w 188"/>
              <a:gd name="T33" fmla="*/ 22 h 44"/>
              <a:gd name="T34" fmla="*/ 188 w 188"/>
              <a:gd name="T35" fmla="*/ 22 h 44"/>
              <a:gd name="T36" fmla="*/ 186 w 188"/>
              <a:gd name="T37" fmla="*/ 17 h 44"/>
              <a:gd name="T38" fmla="*/ 174 w 188"/>
              <a:gd name="T39" fmla="*/ 10 h 44"/>
              <a:gd name="T40" fmla="*/ 94 w 188"/>
              <a:gd name="T41" fmla="*/ 0 h 44"/>
              <a:gd name="T42" fmla="*/ 28 w 188"/>
              <a:gd name="T43" fmla="*/ 6 h 44"/>
              <a:gd name="T44" fmla="*/ 7 w 188"/>
              <a:gd name="T45" fmla="*/ 13 h 44"/>
              <a:gd name="T46" fmla="*/ 2 w 188"/>
              <a:gd name="T47" fmla="*/ 17 h 44"/>
              <a:gd name="T48" fmla="*/ 0 w 188"/>
              <a:gd name="T49" fmla="*/ 22 h 44"/>
              <a:gd name="T50" fmla="*/ 2 w 188"/>
              <a:gd name="T51" fmla="*/ 27 h 44"/>
              <a:gd name="T52" fmla="*/ 14 w 188"/>
              <a:gd name="T53" fmla="*/ 34 h 44"/>
              <a:gd name="T54" fmla="*/ 94 w 188"/>
              <a:gd name="T55" fmla="*/ 44 h 44"/>
              <a:gd name="T56" fmla="*/ 160 w 188"/>
              <a:gd name="T57" fmla="*/ 38 h 44"/>
              <a:gd name="T58" fmla="*/ 180 w 188"/>
              <a:gd name="T59" fmla="*/ 31 h 44"/>
              <a:gd name="T60" fmla="*/ 186 w 188"/>
              <a:gd name="T61" fmla="*/ 27 h 44"/>
              <a:gd name="T62" fmla="*/ 188 w 188"/>
              <a:gd name="T63" fmla="*/ 22 h 44"/>
              <a:gd name="T64" fmla="*/ 187 w 188"/>
              <a:gd name="T65" fmla="*/ 22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88" h="44">
                <a:moveTo>
                  <a:pt x="187" y="22"/>
                </a:moveTo>
                <a:cubicBezTo>
                  <a:pt x="186" y="22"/>
                  <a:pt x="186" y="22"/>
                  <a:pt x="186" y="22"/>
                </a:cubicBezTo>
                <a:cubicBezTo>
                  <a:pt x="186" y="23"/>
                  <a:pt x="186" y="24"/>
                  <a:pt x="184" y="26"/>
                </a:cubicBezTo>
                <a:cubicBezTo>
                  <a:pt x="182" y="28"/>
                  <a:pt x="179" y="30"/>
                  <a:pt x="173" y="32"/>
                </a:cubicBezTo>
                <a:cubicBezTo>
                  <a:pt x="157" y="38"/>
                  <a:pt x="128" y="42"/>
                  <a:pt x="94" y="42"/>
                </a:cubicBezTo>
                <a:cubicBezTo>
                  <a:pt x="68" y="42"/>
                  <a:pt x="45" y="39"/>
                  <a:pt x="28" y="36"/>
                </a:cubicBezTo>
                <a:cubicBezTo>
                  <a:pt x="20" y="34"/>
                  <a:pt x="13" y="32"/>
                  <a:pt x="8" y="29"/>
                </a:cubicBezTo>
                <a:cubicBezTo>
                  <a:pt x="6" y="28"/>
                  <a:pt x="4" y="27"/>
                  <a:pt x="3" y="26"/>
                </a:cubicBezTo>
                <a:cubicBezTo>
                  <a:pt x="2" y="24"/>
                  <a:pt x="2" y="23"/>
                  <a:pt x="2" y="22"/>
                </a:cubicBezTo>
                <a:cubicBezTo>
                  <a:pt x="2" y="21"/>
                  <a:pt x="2" y="20"/>
                  <a:pt x="3" y="19"/>
                </a:cubicBezTo>
                <a:cubicBezTo>
                  <a:pt x="5" y="16"/>
                  <a:pt x="9" y="14"/>
                  <a:pt x="14" y="12"/>
                </a:cubicBezTo>
                <a:cubicBezTo>
                  <a:pt x="31" y="6"/>
                  <a:pt x="60" y="2"/>
                  <a:pt x="94" y="2"/>
                </a:cubicBezTo>
                <a:cubicBezTo>
                  <a:pt x="120" y="2"/>
                  <a:pt x="143" y="5"/>
                  <a:pt x="160" y="8"/>
                </a:cubicBezTo>
                <a:cubicBezTo>
                  <a:pt x="168" y="10"/>
                  <a:pt x="175" y="12"/>
                  <a:pt x="179" y="15"/>
                </a:cubicBezTo>
                <a:cubicBezTo>
                  <a:pt x="182" y="16"/>
                  <a:pt x="183" y="17"/>
                  <a:pt x="184" y="19"/>
                </a:cubicBezTo>
                <a:cubicBezTo>
                  <a:pt x="186" y="20"/>
                  <a:pt x="186" y="21"/>
                  <a:pt x="186" y="22"/>
                </a:cubicBezTo>
                <a:cubicBezTo>
                  <a:pt x="187" y="22"/>
                  <a:pt x="187" y="22"/>
                  <a:pt x="187" y="22"/>
                </a:cubicBezTo>
                <a:cubicBezTo>
                  <a:pt x="188" y="22"/>
                  <a:pt x="188" y="22"/>
                  <a:pt x="188" y="22"/>
                </a:cubicBezTo>
                <a:cubicBezTo>
                  <a:pt x="188" y="20"/>
                  <a:pt x="187" y="19"/>
                  <a:pt x="186" y="17"/>
                </a:cubicBezTo>
                <a:cubicBezTo>
                  <a:pt x="184" y="15"/>
                  <a:pt x="179" y="12"/>
                  <a:pt x="174" y="10"/>
                </a:cubicBezTo>
                <a:cubicBezTo>
                  <a:pt x="157" y="4"/>
                  <a:pt x="128" y="0"/>
                  <a:pt x="94" y="0"/>
                </a:cubicBezTo>
                <a:cubicBezTo>
                  <a:pt x="68" y="0"/>
                  <a:pt x="45" y="3"/>
                  <a:pt x="28" y="6"/>
                </a:cubicBezTo>
                <a:cubicBezTo>
                  <a:pt x="19" y="8"/>
                  <a:pt x="12" y="11"/>
                  <a:pt x="7" y="13"/>
                </a:cubicBezTo>
                <a:cubicBezTo>
                  <a:pt x="5" y="14"/>
                  <a:pt x="3" y="16"/>
                  <a:pt x="2" y="17"/>
                </a:cubicBezTo>
                <a:cubicBezTo>
                  <a:pt x="0" y="19"/>
                  <a:pt x="0" y="20"/>
                  <a:pt x="0" y="22"/>
                </a:cubicBezTo>
                <a:cubicBezTo>
                  <a:pt x="0" y="24"/>
                  <a:pt x="0" y="25"/>
                  <a:pt x="2" y="27"/>
                </a:cubicBezTo>
                <a:cubicBezTo>
                  <a:pt x="4" y="29"/>
                  <a:pt x="8" y="32"/>
                  <a:pt x="14" y="34"/>
                </a:cubicBezTo>
                <a:cubicBezTo>
                  <a:pt x="30" y="40"/>
                  <a:pt x="60" y="44"/>
                  <a:pt x="94" y="44"/>
                </a:cubicBezTo>
                <a:cubicBezTo>
                  <a:pt x="120" y="44"/>
                  <a:pt x="143" y="41"/>
                  <a:pt x="160" y="38"/>
                </a:cubicBezTo>
                <a:cubicBezTo>
                  <a:pt x="168" y="36"/>
                  <a:pt x="175" y="34"/>
                  <a:pt x="180" y="31"/>
                </a:cubicBezTo>
                <a:cubicBezTo>
                  <a:pt x="183" y="30"/>
                  <a:pt x="185" y="28"/>
                  <a:pt x="186" y="27"/>
                </a:cubicBezTo>
                <a:cubicBezTo>
                  <a:pt x="187" y="25"/>
                  <a:pt x="188" y="24"/>
                  <a:pt x="188" y="22"/>
                </a:cubicBezTo>
                <a:lnTo>
                  <a:pt x="187" y="2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201" name="Freeform 74"/>
          <p:cNvSpPr/>
          <p:nvPr/>
        </p:nvSpPr>
        <p:spPr bwMode="auto">
          <a:xfrm>
            <a:off x="6780848" y="4646930"/>
            <a:ext cx="163512" cy="52388"/>
          </a:xfrm>
          <a:custGeom>
            <a:avLst/>
            <a:gdLst>
              <a:gd name="T0" fmla="*/ 143 w 145"/>
              <a:gd name="T1" fmla="*/ 21 h 42"/>
              <a:gd name="T2" fmla="*/ 141 w 145"/>
              <a:gd name="T3" fmla="*/ 21 h 42"/>
              <a:gd name="T4" fmla="*/ 140 w 145"/>
              <a:gd name="T5" fmla="*/ 23 h 42"/>
              <a:gd name="T6" fmla="*/ 132 w 145"/>
              <a:gd name="T7" fmla="*/ 29 h 42"/>
              <a:gd name="T8" fmla="*/ 72 w 145"/>
              <a:gd name="T9" fmla="*/ 38 h 42"/>
              <a:gd name="T10" fmla="*/ 23 w 145"/>
              <a:gd name="T11" fmla="*/ 32 h 42"/>
              <a:gd name="T12" fmla="*/ 8 w 145"/>
              <a:gd name="T13" fmla="*/ 27 h 42"/>
              <a:gd name="T14" fmla="*/ 5 w 145"/>
              <a:gd name="T15" fmla="*/ 23 h 42"/>
              <a:gd name="T16" fmla="*/ 4 w 145"/>
              <a:gd name="T17" fmla="*/ 21 h 42"/>
              <a:gd name="T18" fmla="*/ 5 w 145"/>
              <a:gd name="T19" fmla="*/ 18 h 42"/>
              <a:gd name="T20" fmla="*/ 13 w 145"/>
              <a:gd name="T21" fmla="*/ 13 h 42"/>
              <a:gd name="T22" fmla="*/ 72 w 145"/>
              <a:gd name="T23" fmla="*/ 4 h 42"/>
              <a:gd name="T24" fmla="*/ 122 w 145"/>
              <a:gd name="T25" fmla="*/ 10 h 42"/>
              <a:gd name="T26" fmla="*/ 137 w 145"/>
              <a:gd name="T27" fmla="*/ 15 h 42"/>
              <a:gd name="T28" fmla="*/ 140 w 145"/>
              <a:gd name="T29" fmla="*/ 18 h 42"/>
              <a:gd name="T30" fmla="*/ 141 w 145"/>
              <a:gd name="T31" fmla="*/ 21 h 42"/>
              <a:gd name="T32" fmla="*/ 143 w 145"/>
              <a:gd name="T33" fmla="*/ 21 h 42"/>
              <a:gd name="T34" fmla="*/ 145 w 145"/>
              <a:gd name="T35" fmla="*/ 21 h 42"/>
              <a:gd name="T36" fmla="*/ 143 w 145"/>
              <a:gd name="T37" fmla="*/ 16 h 42"/>
              <a:gd name="T38" fmla="*/ 134 w 145"/>
              <a:gd name="T39" fmla="*/ 9 h 42"/>
              <a:gd name="T40" fmla="*/ 72 w 145"/>
              <a:gd name="T41" fmla="*/ 0 h 42"/>
              <a:gd name="T42" fmla="*/ 22 w 145"/>
              <a:gd name="T43" fmla="*/ 6 h 42"/>
              <a:gd name="T44" fmla="*/ 6 w 145"/>
              <a:gd name="T45" fmla="*/ 12 h 42"/>
              <a:gd name="T46" fmla="*/ 1 w 145"/>
              <a:gd name="T47" fmla="*/ 16 h 42"/>
              <a:gd name="T48" fmla="*/ 0 w 145"/>
              <a:gd name="T49" fmla="*/ 21 h 42"/>
              <a:gd name="T50" fmla="*/ 1 w 145"/>
              <a:gd name="T51" fmla="*/ 26 h 42"/>
              <a:gd name="T52" fmla="*/ 11 w 145"/>
              <a:gd name="T53" fmla="*/ 32 h 42"/>
              <a:gd name="T54" fmla="*/ 72 w 145"/>
              <a:gd name="T55" fmla="*/ 42 h 42"/>
              <a:gd name="T56" fmla="*/ 123 w 145"/>
              <a:gd name="T57" fmla="*/ 36 h 42"/>
              <a:gd name="T58" fmla="*/ 139 w 145"/>
              <a:gd name="T59" fmla="*/ 30 h 42"/>
              <a:gd name="T60" fmla="*/ 143 w 145"/>
              <a:gd name="T61" fmla="*/ 26 h 42"/>
              <a:gd name="T62" fmla="*/ 145 w 145"/>
              <a:gd name="T63" fmla="*/ 21 h 42"/>
              <a:gd name="T64" fmla="*/ 143 w 145"/>
              <a:gd name="T65" fmla="*/ 21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5" h="42">
                <a:moveTo>
                  <a:pt x="143" y="21"/>
                </a:moveTo>
                <a:cubicBezTo>
                  <a:pt x="141" y="21"/>
                  <a:pt x="141" y="21"/>
                  <a:pt x="141" y="21"/>
                </a:cubicBezTo>
                <a:cubicBezTo>
                  <a:pt x="141" y="22"/>
                  <a:pt x="141" y="23"/>
                  <a:pt x="140" y="23"/>
                </a:cubicBezTo>
                <a:cubicBezTo>
                  <a:pt x="139" y="25"/>
                  <a:pt x="136" y="27"/>
                  <a:pt x="132" y="29"/>
                </a:cubicBezTo>
                <a:cubicBezTo>
                  <a:pt x="120" y="34"/>
                  <a:pt x="98" y="38"/>
                  <a:pt x="72" y="38"/>
                </a:cubicBezTo>
                <a:cubicBezTo>
                  <a:pt x="53" y="38"/>
                  <a:pt x="35" y="36"/>
                  <a:pt x="23" y="32"/>
                </a:cubicBezTo>
                <a:cubicBezTo>
                  <a:pt x="16" y="31"/>
                  <a:pt x="11" y="29"/>
                  <a:pt x="8" y="27"/>
                </a:cubicBezTo>
                <a:cubicBezTo>
                  <a:pt x="6" y="25"/>
                  <a:pt x="5" y="24"/>
                  <a:pt x="5" y="23"/>
                </a:cubicBezTo>
                <a:cubicBezTo>
                  <a:pt x="4" y="23"/>
                  <a:pt x="4" y="22"/>
                  <a:pt x="4" y="21"/>
                </a:cubicBezTo>
                <a:cubicBezTo>
                  <a:pt x="4" y="20"/>
                  <a:pt x="4" y="19"/>
                  <a:pt x="5" y="18"/>
                </a:cubicBezTo>
                <a:cubicBezTo>
                  <a:pt x="6" y="17"/>
                  <a:pt x="9" y="15"/>
                  <a:pt x="13" y="13"/>
                </a:cubicBezTo>
                <a:cubicBezTo>
                  <a:pt x="25" y="8"/>
                  <a:pt x="47" y="4"/>
                  <a:pt x="72" y="4"/>
                </a:cubicBezTo>
                <a:cubicBezTo>
                  <a:pt x="92" y="4"/>
                  <a:pt x="109" y="6"/>
                  <a:pt x="122" y="10"/>
                </a:cubicBezTo>
                <a:cubicBezTo>
                  <a:pt x="128" y="11"/>
                  <a:pt x="133" y="13"/>
                  <a:pt x="137" y="15"/>
                </a:cubicBezTo>
                <a:cubicBezTo>
                  <a:pt x="138" y="16"/>
                  <a:pt x="140" y="17"/>
                  <a:pt x="140" y="18"/>
                </a:cubicBezTo>
                <a:cubicBezTo>
                  <a:pt x="141" y="19"/>
                  <a:pt x="141" y="20"/>
                  <a:pt x="141" y="21"/>
                </a:cubicBezTo>
                <a:cubicBezTo>
                  <a:pt x="143" y="21"/>
                  <a:pt x="143" y="21"/>
                  <a:pt x="143" y="21"/>
                </a:cubicBezTo>
                <a:cubicBezTo>
                  <a:pt x="145" y="21"/>
                  <a:pt x="145" y="21"/>
                  <a:pt x="145" y="21"/>
                </a:cubicBezTo>
                <a:cubicBezTo>
                  <a:pt x="145" y="19"/>
                  <a:pt x="145" y="17"/>
                  <a:pt x="143" y="16"/>
                </a:cubicBezTo>
                <a:cubicBezTo>
                  <a:pt x="141" y="13"/>
                  <a:pt x="138" y="11"/>
                  <a:pt x="134" y="9"/>
                </a:cubicBezTo>
                <a:cubicBezTo>
                  <a:pt x="121" y="4"/>
                  <a:pt x="98" y="0"/>
                  <a:pt x="72" y="0"/>
                </a:cubicBezTo>
                <a:cubicBezTo>
                  <a:pt x="53" y="0"/>
                  <a:pt x="35" y="2"/>
                  <a:pt x="22" y="6"/>
                </a:cubicBezTo>
                <a:cubicBezTo>
                  <a:pt x="15" y="8"/>
                  <a:pt x="10" y="10"/>
                  <a:pt x="6" y="12"/>
                </a:cubicBezTo>
                <a:cubicBezTo>
                  <a:pt x="4" y="13"/>
                  <a:pt x="3" y="14"/>
                  <a:pt x="1" y="16"/>
                </a:cubicBezTo>
                <a:cubicBezTo>
                  <a:pt x="0" y="17"/>
                  <a:pt x="0" y="19"/>
                  <a:pt x="0" y="21"/>
                </a:cubicBezTo>
                <a:cubicBezTo>
                  <a:pt x="0" y="23"/>
                  <a:pt x="0" y="24"/>
                  <a:pt x="1" y="26"/>
                </a:cubicBezTo>
                <a:cubicBezTo>
                  <a:pt x="3" y="29"/>
                  <a:pt x="7" y="31"/>
                  <a:pt x="11" y="32"/>
                </a:cubicBezTo>
                <a:cubicBezTo>
                  <a:pt x="24" y="38"/>
                  <a:pt x="46" y="42"/>
                  <a:pt x="72" y="42"/>
                </a:cubicBezTo>
                <a:cubicBezTo>
                  <a:pt x="92" y="42"/>
                  <a:pt x="110" y="40"/>
                  <a:pt x="123" y="36"/>
                </a:cubicBezTo>
                <a:cubicBezTo>
                  <a:pt x="130" y="34"/>
                  <a:pt x="135" y="32"/>
                  <a:pt x="139" y="30"/>
                </a:cubicBezTo>
                <a:cubicBezTo>
                  <a:pt x="141" y="29"/>
                  <a:pt x="142" y="27"/>
                  <a:pt x="143" y="26"/>
                </a:cubicBezTo>
                <a:cubicBezTo>
                  <a:pt x="145" y="24"/>
                  <a:pt x="145" y="23"/>
                  <a:pt x="145" y="21"/>
                </a:cubicBezTo>
                <a:lnTo>
                  <a:pt x="143" y="2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202" name="Freeform 75"/>
          <p:cNvSpPr/>
          <p:nvPr/>
        </p:nvSpPr>
        <p:spPr bwMode="auto">
          <a:xfrm>
            <a:off x="6782435" y="4653281"/>
            <a:ext cx="160338" cy="49213"/>
          </a:xfrm>
          <a:custGeom>
            <a:avLst/>
            <a:gdLst>
              <a:gd name="T0" fmla="*/ 140 w 141"/>
              <a:gd name="T1" fmla="*/ 20 h 39"/>
              <a:gd name="T2" fmla="*/ 139 w 141"/>
              <a:gd name="T3" fmla="*/ 20 h 39"/>
              <a:gd name="T4" fmla="*/ 138 w 141"/>
              <a:gd name="T5" fmla="*/ 23 h 39"/>
              <a:gd name="T6" fmla="*/ 114 w 141"/>
              <a:gd name="T7" fmla="*/ 33 h 39"/>
              <a:gd name="T8" fmla="*/ 70 w 141"/>
              <a:gd name="T9" fmla="*/ 37 h 39"/>
              <a:gd name="T10" fmla="*/ 22 w 141"/>
              <a:gd name="T11" fmla="*/ 31 h 39"/>
              <a:gd name="T12" fmla="*/ 7 w 141"/>
              <a:gd name="T13" fmla="*/ 26 h 39"/>
              <a:gd name="T14" fmla="*/ 3 w 141"/>
              <a:gd name="T15" fmla="*/ 23 h 39"/>
              <a:gd name="T16" fmla="*/ 2 w 141"/>
              <a:gd name="T17" fmla="*/ 20 h 39"/>
              <a:gd name="T18" fmla="*/ 3 w 141"/>
              <a:gd name="T19" fmla="*/ 16 h 39"/>
              <a:gd name="T20" fmla="*/ 26 w 141"/>
              <a:gd name="T21" fmla="*/ 6 h 39"/>
              <a:gd name="T22" fmla="*/ 70 w 141"/>
              <a:gd name="T23" fmla="*/ 2 h 39"/>
              <a:gd name="T24" fmla="*/ 119 w 141"/>
              <a:gd name="T25" fmla="*/ 8 h 39"/>
              <a:gd name="T26" fmla="*/ 134 w 141"/>
              <a:gd name="T27" fmla="*/ 13 h 39"/>
              <a:gd name="T28" fmla="*/ 138 w 141"/>
              <a:gd name="T29" fmla="*/ 16 h 39"/>
              <a:gd name="T30" fmla="*/ 139 w 141"/>
              <a:gd name="T31" fmla="*/ 20 h 39"/>
              <a:gd name="T32" fmla="*/ 140 w 141"/>
              <a:gd name="T33" fmla="*/ 20 h 39"/>
              <a:gd name="T34" fmla="*/ 141 w 141"/>
              <a:gd name="T35" fmla="*/ 20 h 39"/>
              <a:gd name="T36" fmla="*/ 139 w 141"/>
              <a:gd name="T37" fmla="*/ 15 h 39"/>
              <a:gd name="T38" fmla="*/ 115 w 141"/>
              <a:gd name="T39" fmla="*/ 4 h 39"/>
              <a:gd name="T40" fmla="*/ 70 w 141"/>
              <a:gd name="T41" fmla="*/ 0 h 39"/>
              <a:gd name="T42" fmla="*/ 21 w 141"/>
              <a:gd name="T43" fmla="*/ 6 h 39"/>
              <a:gd name="T44" fmla="*/ 6 w 141"/>
              <a:gd name="T45" fmla="*/ 12 h 39"/>
              <a:gd name="T46" fmla="*/ 2 w 141"/>
              <a:gd name="T47" fmla="*/ 15 h 39"/>
              <a:gd name="T48" fmla="*/ 0 w 141"/>
              <a:gd name="T49" fmla="*/ 20 h 39"/>
              <a:gd name="T50" fmla="*/ 2 w 141"/>
              <a:gd name="T51" fmla="*/ 24 h 39"/>
              <a:gd name="T52" fmla="*/ 26 w 141"/>
              <a:gd name="T53" fmla="*/ 35 h 39"/>
              <a:gd name="T54" fmla="*/ 70 w 141"/>
              <a:gd name="T55" fmla="*/ 39 h 39"/>
              <a:gd name="T56" fmla="*/ 120 w 141"/>
              <a:gd name="T57" fmla="*/ 33 h 39"/>
              <a:gd name="T58" fmla="*/ 135 w 141"/>
              <a:gd name="T59" fmla="*/ 27 h 39"/>
              <a:gd name="T60" fmla="*/ 139 w 141"/>
              <a:gd name="T61" fmla="*/ 24 h 39"/>
              <a:gd name="T62" fmla="*/ 141 w 141"/>
              <a:gd name="T63" fmla="*/ 20 h 39"/>
              <a:gd name="T64" fmla="*/ 140 w 141"/>
              <a:gd name="T65" fmla="*/ 20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1" h="39">
                <a:moveTo>
                  <a:pt x="140" y="20"/>
                </a:moveTo>
                <a:cubicBezTo>
                  <a:pt x="139" y="20"/>
                  <a:pt x="139" y="20"/>
                  <a:pt x="139" y="20"/>
                </a:cubicBezTo>
                <a:cubicBezTo>
                  <a:pt x="139" y="21"/>
                  <a:pt x="138" y="22"/>
                  <a:pt x="138" y="23"/>
                </a:cubicBezTo>
                <a:cubicBezTo>
                  <a:pt x="135" y="26"/>
                  <a:pt x="126" y="30"/>
                  <a:pt x="114" y="33"/>
                </a:cubicBezTo>
                <a:cubicBezTo>
                  <a:pt x="102" y="35"/>
                  <a:pt x="87" y="37"/>
                  <a:pt x="70" y="37"/>
                </a:cubicBezTo>
                <a:cubicBezTo>
                  <a:pt x="51" y="37"/>
                  <a:pt x="34" y="35"/>
                  <a:pt x="22" y="31"/>
                </a:cubicBezTo>
                <a:cubicBezTo>
                  <a:pt x="15" y="30"/>
                  <a:pt x="10" y="28"/>
                  <a:pt x="7" y="26"/>
                </a:cubicBezTo>
                <a:cubicBezTo>
                  <a:pt x="5" y="25"/>
                  <a:pt x="4" y="24"/>
                  <a:pt x="3" y="23"/>
                </a:cubicBezTo>
                <a:cubicBezTo>
                  <a:pt x="2" y="22"/>
                  <a:pt x="2" y="21"/>
                  <a:pt x="2" y="20"/>
                </a:cubicBezTo>
                <a:cubicBezTo>
                  <a:pt x="2" y="19"/>
                  <a:pt x="2" y="18"/>
                  <a:pt x="3" y="16"/>
                </a:cubicBezTo>
                <a:cubicBezTo>
                  <a:pt x="6" y="13"/>
                  <a:pt x="15" y="9"/>
                  <a:pt x="26" y="6"/>
                </a:cubicBezTo>
                <a:cubicBezTo>
                  <a:pt x="38" y="4"/>
                  <a:pt x="54" y="2"/>
                  <a:pt x="70" y="2"/>
                </a:cubicBezTo>
                <a:cubicBezTo>
                  <a:pt x="89" y="2"/>
                  <a:pt x="107" y="4"/>
                  <a:pt x="119" y="8"/>
                </a:cubicBezTo>
                <a:cubicBezTo>
                  <a:pt x="125" y="9"/>
                  <a:pt x="130" y="11"/>
                  <a:pt x="134" y="13"/>
                </a:cubicBezTo>
                <a:cubicBezTo>
                  <a:pt x="135" y="14"/>
                  <a:pt x="137" y="15"/>
                  <a:pt x="138" y="16"/>
                </a:cubicBezTo>
                <a:cubicBezTo>
                  <a:pt x="138" y="18"/>
                  <a:pt x="139" y="19"/>
                  <a:pt x="139" y="20"/>
                </a:cubicBezTo>
                <a:cubicBezTo>
                  <a:pt x="140" y="20"/>
                  <a:pt x="140" y="20"/>
                  <a:pt x="140" y="20"/>
                </a:cubicBezTo>
                <a:cubicBezTo>
                  <a:pt x="141" y="20"/>
                  <a:pt x="141" y="20"/>
                  <a:pt x="141" y="20"/>
                </a:cubicBezTo>
                <a:cubicBezTo>
                  <a:pt x="141" y="18"/>
                  <a:pt x="140" y="17"/>
                  <a:pt x="139" y="15"/>
                </a:cubicBezTo>
                <a:cubicBezTo>
                  <a:pt x="136" y="11"/>
                  <a:pt x="127" y="7"/>
                  <a:pt x="115" y="4"/>
                </a:cubicBezTo>
                <a:cubicBezTo>
                  <a:pt x="103" y="2"/>
                  <a:pt x="87" y="0"/>
                  <a:pt x="70" y="0"/>
                </a:cubicBezTo>
                <a:cubicBezTo>
                  <a:pt x="51" y="0"/>
                  <a:pt x="34" y="2"/>
                  <a:pt x="21" y="6"/>
                </a:cubicBezTo>
                <a:cubicBezTo>
                  <a:pt x="15" y="7"/>
                  <a:pt x="10" y="9"/>
                  <a:pt x="6" y="12"/>
                </a:cubicBezTo>
                <a:cubicBezTo>
                  <a:pt x="4" y="13"/>
                  <a:pt x="3" y="14"/>
                  <a:pt x="2" y="15"/>
                </a:cubicBezTo>
                <a:cubicBezTo>
                  <a:pt x="1" y="17"/>
                  <a:pt x="0" y="18"/>
                  <a:pt x="0" y="20"/>
                </a:cubicBezTo>
                <a:cubicBezTo>
                  <a:pt x="0" y="21"/>
                  <a:pt x="1" y="23"/>
                  <a:pt x="2" y="24"/>
                </a:cubicBezTo>
                <a:cubicBezTo>
                  <a:pt x="5" y="28"/>
                  <a:pt x="14" y="32"/>
                  <a:pt x="26" y="35"/>
                </a:cubicBezTo>
                <a:cubicBezTo>
                  <a:pt x="38" y="37"/>
                  <a:pt x="54" y="39"/>
                  <a:pt x="70" y="39"/>
                </a:cubicBezTo>
                <a:cubicBezTo>
                  <a:pt x="90" y="39"/>
                  <a:pt x="107" y="37"/>
                  <a:pt x="120" y="33"/>
                </a:cubicBezTo>
                <a:cubicBezTo>
                  <a:pt x="126" y="32"/>
                  <a:pt x="131" y="30"/>
                  <a:pt x="135" y="27"/>
                </a:cubicBezTo>
                <a:cubicBezTo>
                  <a:pt x="137" y="26"/>
                  <a:pt x="138" y="25"/>
                  <a:pt x="139" y="24"/>
                </a:cubicBezTo>
                <a:cubicBezTo>
                  <a:pt x="140" y="23"/>
                  <a:pt x="141" y="21"/>
                  <a:pt x="141" y="20"/>
                </a:cubicBezTo>
                <a:lnTo>
                  <a:pt x="140" y="2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203" name="Freeform 77"/>
          <p:cNvSpPr/>
          <p:nvPr/>
        </p:nvSpPr>
        <p:spPr bwMode="auto">
          <a:xfrm>
            <a:off x="6201411" y="4373880"/>
            <a:ext cx="187325" cy="57150"/>
          </a:xfrm>
          <a:custGeom>
            <a:avLst/>
            <a:gdLst>
              <a:gd name="T0" fmla="*/ 164 w 166"/>
              <a:gd name="T1" fmla="*/ 23 h 46"/>
              <a:gd name="T2" fmla="*/ 162 w 166"/>
              <a:gd name="T3" fmla="*/ 23 h 46"/>
              <a:gd name="T4" fmla="*/ 161 w 166"/>
              <a:gd name="T5" fmla="*/ 26 h 46"/>
              <a:gd name="T6" fmla="*/ 152 w 166"/>
              <a:gd name="T7" fmla="*/ 32 h 46"/>
              <a:gd name="T8" fmla="*/ 83 w 166"/>
              <a:gd name="T9" fmla="*/ 42 h 46"/>
              <a:gd name="T10" fmla="*/ 26 w 166"/>
              <a:gd name="T11" fmla="*/ 36 h 46"/>
              <a:gd name="T12" fmla="*/ 9 w 166"/>
              <a:gd name="T13" fmla="*/ 30 h 46"/>
              <a:gd name="T14" fmla="*/ 5 w 166"/>
              <a:gd name="T15" fmla="*/ 26 h 46"/>
              <a:gd name="T16" fmla="*/ 4 w 166"/>
              <a:gd name="T17" fmla="*/ 23 h 46"/>
              <a:gd name="T18" fmla="*/ 5 w 166"/>
              <a:gd name="T19" fmla="*/ 20 h 46"/>
              <a:gd name="T20" fmla="*/ 14 w 166"/>
              <a:gd name="T21" fmla="*/ 14 h 46"/>
              <a:gd name="T22" fmla="*/ 83 w 166"/>
              <a:gd name="T23" fmla="*/ 4 h 46"/>
              <a:gd name="T24" fmla="*/ 140 w 166"/>
              <a:gd name="T25" fmla="*/ 10 h 46"/>
              <a:gd name="T26" fmla="*/ 157 w 166"/>
              <a:gd name="T27" fmla="*/ 16 h 46"/>
              <a:gd name="T28" fmla="*/ 161 w 166"/>
              <a:gd name="T29" fmla="*/ 20 h 46"/>
              <a:gd name="T30" fmla="*/ 162 w 166"/>
              <a:gd name="T31" fmla="*/ 23 h 46"/>
              <a:gd name="T32" fmla="*/ 164 w 166"/>
              <a:gd name="T33" fmla="*/ 23 h 46"/>
              <a:gd name="T34" fmla="*/ 166 w 166"/>
              <a:gd name="T35" fmla="*/ 23 h 46"/>
              <a:gd name="T36" fmla="*/ 164 w 166"/>
              <a:gd name="T37" fmla="*/ 17 h 46"/>
              <a:gd name="T38" fmla="*/ 153 w 166"/>
              <a:gd name="T39" fmla="*/ 10 h 46"/>
              <a:gd name="T40" fmla="*/ 83 w 166"/>
              <a:gd name="T41" fmla="*/ 0 h 46"/>
              <a:gd name="T42" fmla="*/ 25 w 166"/>
              <a:gd name="T43" fmla="*/ 6 h 46"/>
              <a:gd name="T44" fmla="*/ 7 w 166"/>
              <a:gd name="T45" fmla="*/ 13 h 46"/>
              <a:gd name="T46" fmla="*/ 2 w 166"/>
              <a:gd name="T47" fmla="*/ 17 h 46"/>
              <a:gd name="T48" fmla="*/ 0 w 166"/>
              <a:gd name="T49" fmla="*/ 23 h 46"/>
              <a:gd name="T50" fmla="*/ 2 w 166"/>
              <a:gd name="T51" fmla="*/ 28 h 46"/>
              <a:gd name="T52" fmla="*/ 12 w 166"/>
              <a:gd name="T53" fmla="*/ 36 h 46"/>
              <a:gd name="T54" fmla="*/ 83 w 166"/>
              <a:gd name="T55" fmla="*/ 46 h 46"/>
              <a:gd name="T56" fmla="*/ 141 w 166"/>
              <a:gd name="T57" fmla="*/ 40 h 46"/>
              <a:gd name="T58" fmla="*/ 159 w 166"/>
              <a:gd name="T59" fmla="*/ 33 h 46"/>
              <a:gd name="T60" fmla="*/ 164 w 166"/>
              <a:gd name="T61" fmla="*/ 28 h 46"/>
              <a:gd name="T62" fmla="*/ 166 w 166"/>
              <a:gd name="T63" fmla="*/ 23 h 46"/>
              <a:gd name="T64" fmla="*/ 164 w 166"/>
              <a:gd name="T65" fmla="*/ 23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66" h="46">
                <a:moveTo>
                  <a:pt x="164" y="23"/>
                </a:moveTo>
                <a:cubicBezTo>
                  <a:pt x="162" y="23"/>
                  <a:pt x="162" y="23"/>
                  <a:pt x="162" y="23"/>
                </a:cubicBezTo>
                <a:cubicBezTo>
                  <a:pt x="162" y="24"/>
                  <a:pt x="162" y="25"/>
                  <a:pt x="161" y="26"/>
                </a:cubicBezTo>
                <a:cubicBezTo>
                  <a:pt x="159" y="28"/>
                  <a:pt x="156" y="30"/>
                  <a:pt x="152" y="32"/>
                </a:cubicBezTo>
                <a:cubicBezTo>
                  <a:pt x="138" y="38"/>
                  <a:pt x="112" y="42"/>
                  <a:pt x="83" y="42"/>
                </a:cubicBezTo>
                <a:cubicBezTo>
                  <a:pt x="61" y="42"/>
                  <a:pt x="40" y="40"/>
                  <a:pt x="26" y="36"/>
                </a:cubicBezTo>
                <a:cubicBezTo>
                  <a:pt x="19" y="34"/>
                  <a:pt x="13" y="32"/>
                  <a:pt x="9" y="30"/>
                </a:cubicBezTo>
                <a:cubicBezTo>
                  <a:pt x="7" y="28"/>
                  <a:pt x="6" y="27"/>
                  <a:pt x="5" y="26"/>
                </a:cubicBezTo>
                <a:cubicBezTo>
                  <a:pt x="4" y="25"/>
                  <a:pt x="4" y="24"/>
                  <a:pt x="4" y="23"/>
                </a:cubicBezTo>
                <a:cubicBezTo>
                  <a:pt x="4" y="22"/>
                  <a:pt x="4" y="21"/>
                  <a:pt x="5" y="20"/>
                </a:cubicBezTo>
                <a:cubicBezTo>
                  <a:pt x="6" y="18"/>
                  <a:pt x="9" y="16"/>
                  <a:pt x="14" y="14"/>
                </a:cubicBezTo>
                <a:cubicBezTo>
                  <a:pt x="28" y="8"/>
                  <a:pt x="54" y="4"/>
                  <a:pt x="83" y="4"/>
                </a:cubicBezTo>
                <a:cubicBezTo>
                  <a:pt x="105" y="4"/>
                  <a:pt x="125" y="6"/>
                  <a:pt x="140" y="10"/>
                </a:cubicBezTo>
                <a:cubicBezTo>
                  <a:pt x="147" y="12"/>
                  <a:pt x="153" y="14"/>
                  <a:pt x="157" y="16"/>
                </a:cubicBezTo>
                <a:cubicBezTo>
                  <a:pt x="159" y="18"/>
                  <a:pt x="160" y="19"/>
                  <a:pt x="161" y="20"/>
                </a:cubicBezTo>
                <a:cubicBezTo>
                  <a:pt x="162" y="21"/>
                  <a:pt x="162" y="22"/>
                  <a:pt x="162" y="23"/>
                </a:cubicBezTo>
                <a:cubicBezTo>
                  <a:pt x="164" y="23"/>
                  <a:pt x="164" y="23"/>
                  <a:pt x="164" y="23"/>
                </a:cubicBezTo>
                <a:cubicBezTo>
                  <a:pt x="166" y="23"/>
                  <a:pt x="166" y="23"/>
                  <a:pt x="166" y="23"/>
                </a:cubicBezTo>
                <a:cubicBezTo>
                  <a:pt x="166" y="21"/>
                  <a:pt x="165" y="19"/>
                  <a:pt x="164" y="17"/>
                </a:cubicBezTo>
                <a:cubicBezTo>
                  <a:pt x="162" y="15"/>
                  <a:pt x="158" y="12"/>
                  <a:pt x="153" y="10"/>
                </a:cubicBezTo>
                <a:cubicBezTo>
                  <a:pt x="138" y="4"/>
                  <a:pt x="112" y="0"/>
                  <a:pt x="83" y="0"/>
                </a:cubicBezTo>
                <a:cubicBezTo>
                  <a:pt x="60" y="0"/>
                  <a:pt x="40" y="2"/>
                  <a:pt x="25" y="6"/>
                </a:cubicBezTo>
                <a:cubicBezTo>
                  <a:pt x="17" y="8"/>
                  <a:pt x="11" y="10"/>
                  <a:pt x="7" y="13"/>
                </a:cubicBezTo>
                <a:cubicBezTo>
                  <a:pt x="5" y="14"/>
                  <a:pt x="3" y="16"/>
                  <a:pt x="2" y="17"/>
                </a:cubicBezTo>
                <a:cubicBezTo>
                  <a:pt x="0" y="19"/>
                  <a:pt x="0" y="21"/>
                  <a:pt x="0" y="23"/>
                </a:cubicBezTo>
                <a:cubicBezTo>
                  <a:pt x="0" y="25"/>
                  <a:pt x="0" y="27"/>
                  <a:pt x="2" y="28"/>
                </a:cubicBezTo>
                <a:cubicBezTo>
                  <a:pt x="4" y="31"/>
                  <a:pt x="8" y="34"/>
                  <a:pt x="12" y="36"/>
                </a:cubicBezTo>
                <a:cubicBezTo>
                  <a:pt x="27" y="42"/>
                  <a:pt x="53" y="46"/>
                  <a:pt x="83" y="46"/>
                </a:cubicBezTo>
                <a:cubicBezTo>
                  <a:pt x="105" y="46"/>
                  <a:pt x="126" y="44"/>
                  <a:pt x="141" y="40"/>
                </a:cubicBezTo>
                <a:cubicBezTo>
                  <a:pt x="148" y="38"/>
                  <a:pt x="154" y="36"/>
                  <a:pt x="159" y="33"/>
                </a:cubicBezTo>
                <a:cubicBezTo>
                  <a:pt x="161" y="32"/>
                  <a:pt x="163" y="30"/>
                  <a:pt x="164" y="28"/>
                </a:cubicBezTo>
                <a:cubicBezTo>
                  <a:pt x="165" y="27"/>
                  <a:pt x="166" y="25"/>
                  <a:pt x="166" y="23"/>
                </a:cubicBezTo>
                <a:cubicBezTo>
                  <a:pt x="164" y="23"/>
                  <a:pt x="164" y="23"/>
                  <a:pt x="164" y="23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204" name="Freeform 80"/>
          <p:cNvSpPr/>
          <p:nvPr/>
        </p:nvSpPr>
        <p:spPr bwMode="auto">
          <a:xfrm>
            <a:off x="6122036" y="4608831"/>
            <a:ext cx="244475" cy="85725"/>
          </a:xfrm>
          <a:custGeom>
            <a:avLst/>
            <a:gdLst>
              <a:gd name="T0" fmla="*/ 213 w 215"/>
              <a:gd name="T1" fmla="*/ 35 h 70"/>
              <a:gd name="T2" fmla="*/ 211 w 215"/>
              <a:gd name="T3" fmla="*/ 35 h 70"/>
              <a:gd name="T4" fmla="*/ 209 w 215"/>
              <a:gd name="T5" fmla="*/ 41 h 70"/>
              <a:gd name="T6" fmla="*/ 197 w 215"/>
              <a:gd name="T7" fmla="*/ 51 h 70"/>
              <a:gd name="T8" fmla="*/ 107 w 215"/>
              <a:gd name="T9" fmla="*/ 66 h 70"/>
              <a:gd name="T10" fmla="*/ 33 w 215"/>
              <a:gd name="T11" fmla="*/ 57 h 70"/>
              <a:gd name="T12" fmla="*/ 11 w 215"/>
              <a:gd name="T13" fmla="*/ 47 h 70"/>
              <a:gd name="T14" fmla="*/ 5 w 215"/>
              <a:gd name="T15" fmla="*/ 41 h 70"/>
              <a:gd name="T16" fmla="*/ 4 w 215"/>
              <a:gd name="T17" fmla="*/ 35 h 70"/>
              <a:gd name="T18" fmla="*/ 5 w 215"/>
              <a:gd name="T19" fmla="*/ 30 h 70"/>
              <a:gd name="T20" fmla="*/ 18 w 215"/>
              <a:gd name="T21" fmla="*/ 20 h 70"/>
              <a:gd name="T22" fmla="*/ 107 w 215"/>
              <a:gd name="T23" fmla="*/ 4 h 70"/>
              <a:gd name="T24" fmla="*/ 181 w 215"/>
              <a:gd name="T25" fmla="*/ 14 h 70"/>
              <a:gd name="T26" fmla="*/ 204 w 215"/>
              <a:gd name="T27" fmla="*/ 24 h 70"/>
              <a:gd name="T28" fmla="*/ 209 w 215"/>
              <a:gd name="T29" fmla="*/ 30 h 70"/>
              <a:gd name="T30" fmla="*/ 211 w 215"/>
              <a:gd name="T31" fmla="*/ 35 h 70"/>
              <a:gd name="T32" fmla="*/ 213 w 215"/>
              <a:gd name="T33" fmla="*/ 35 h 70"/>
              <a:gd name="T34" fmla="*/ 215 w 215"/>
              <a:gd name="T35" fmla="*/ 35 h 70"/>
              <a:gd name="T36" fmla="*/ 213 w 215"/>
              <a:gd name="T37" fmla="*/ 28 h 70"/>
              <a:gd name="T38" fmla="*/ 199 w 215"/>
              <a:gd name="T39" fmla="*/ 16 h 70"/>
              <a:gd name="T40" fmla="*/ 107 w 215"/>
              <a:gd name="T41" fmla="*/ 0 h 70"/>
              <a:gd name="T42" fmla="*/ 32 w 215"/>
              <a:gd name="T43" fmla="*/ 10 h 70"/>
              <a:gd name="T44" fmla="*/ 9 w 215"/>
              <a:gd name="T45" fmla="*/ 21 h 70"/>
              <a:gd name="T46" fmla="*/ 2 w 215"/>
              <a:gd name="T47" fmla="*/ 28 h 70"/>
              <a:gd name="T48" fmla="*/ 0 w 215"/>
              <a:gd name="T49" fmla="*/ 35 h 70"/>
              <a:gd name="T50" fmla="*/ 2 w 215"/>
              <a:gd name="T51" fmla="*/ 43 h 70"/>
              <a:gd name="T52" fmla="*/ 16 w 215"/>
              <a:gd name="T53" fmla="*/ 54 h 70"/>
              <a:gd name="T54" fmla="*/ 107 w 215"/>
              <a:gd name="T55" fmla="*/ 70 h 70"/>
              <a:gd name="T56" fmla="*/ 183 w 215"/>
              <a:gd name="T57" fmla="*/ 60 h 70"/>
              <a:gd name="T58" fmla="*/ 206 w 215"/>
              <a:gd name="T59" fmla="*/ 50 h 70"/>
              <a:gd name="T60" fmla="*/ 213 w 215"/>
              <a:gd name="T61" fmla="*/ 43 h 70"/>
              <a:gd name="T62" fmla="*/ 215 w 215"/>
              <a:gd name="T63" fmla="*/ 35 h 70"/>
              <a:gd name="T64" fmla="*/ 213 w 215"/>
              <a:gd name="T65" fmla="*/ 35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5" h="70">
                <a:moveTo>
                  <a:pt x="213" y="35"/>
                </a:moveTo>
                <a:cubicBezTo>
                  <a:pt x="211" y="35"/>
                  <a:pt x="211" y="35"/>
                  <a:pt x="211" y="35"/>
                </a:cubicBezTo>
                <a:cubicBezTo>
                  <a:pt x="211" y="37"/>
                  <a:pt x="210" y="39"/>
                  <a:pt x="209" y="41"/>
                </a:cubicBezTo>
                <a:cubicBezTo>
                  <a:pt x="207" y="44"/>
                  <a:pt x="203" y="48"/>
                  <a:pt x="197" y="51"/>
                </a:cubicBezTo>
                <a:cubicBezTo>
                  <a:pt x="179" y="60"/>
                  <a:pt x="145" y="66"/>
                  <a:pt x="107" y="66"/>
                </a:cubicBezTo>
                <a:cubicBezTo>
                  <a:pt x="78" y="66"/>
                  <a:pt x="52" y="63"/>
                  <a:pt x="33" y="57"/>
                </a:cubicBezTo>
                <a:cubicBezTo>
                  <a:pt x="24" y="54"/>
                  <a:pt x="16" y="50"/>
                  <a:pt x="11" y="47"/>
                </a:cubicBezTo>
                <a:cubicBezTo>
                  <a:pt x="8" y="45"/>
                  <a:pt x="7" y="43"/>
                  <a:pt x="5" y="41"/>
                </a:cubicBezTo>
                <a:cubicBezTo>
                  <a:pt x="4" y="39"/>
                  <a:pt x="4" y="37"/>
                  <a:pt x="4" y="35"/>
                </a:cubicBezTo>
                <a:cubicBezTo>
                  <a:pt x="4" y="33"/>
                  <a:pt x="4" y="32"/>
                  <a:pt x="5" y="30"/>
                </a:cubicBezTo>
                <a:cubicBezTo>
                  <a:pt x="7" y="27"/>
                  <a:pt x="12" y="23"/>
                  <a:pt x="18" y="20"/>
                </a:cubicBezTo>
                <a:cubicBezTo>
                  <a:pt x="36" y="11"/>
                  <a:pt x="69" y="4"/>
                  <a:pt x="107" y="4"/>
                </a:cubicBezTo>
                <a:cubicBezTo>
                  <a:pt x="136" y="4"/>
                  <a:pt x="163" y="8"/>
                  <a:pt x="181" y="14"/>
                </a:cubicBezTo>
                <a:cubicBezTo>
                  <a:pt x="191" y="17"/>
                  <a:pt x="198" y="20"/>
                  <a:pt x="204" y="24"/>
                </a:cubicBezTo>
                <a:cubicBezTo>
                  <a:pt x="206" y="26"/>
                  <a:pt x="208" y="28"/>
                  <a:pt x="209" y="30"/>
                </a:cubicBezTo>
                <a:cubicBezTo>
                  <a:pt x="210" y="32"/>
                  <a:pt x="211" y="33"/>
                  <a:pt x="211" y="35"/>
                </a:cubicBezTo>
                <a:cubicBezTo>
                  <a:pt x="213" y="35"/>
                  <a:pt x="213" y="35"/>
                  <a:pt x="213" y="35"/>
                </a:cubicBezTo>
                <a:cubicBezTo>
                  <a:pt x="215" y="35"/>
                  <a:pt x="215" y="35"/>
                  <a:pt x="215" y="35"/>
                </a:cubicBezTo>
                <a:cubicBezTo>
                  <a:pt x="215" y="33"/>
                  <a:pt x="214" y="30"/>
                  <a:pt x="213" y="28"/>
                </a:cubicBezTo>
                <a:cubicBezTo>
                  <a:pt x="210" y="23"/>
                  <a:pt x="205" y="20"/>
                  <a:pt x="199" y="16"/>
                </a:cubicBezTo>
                <a:cubicBezTo>
                  <a:pt x="180" y="7"/>
                  <a:pt x="146" y="0"/>
                  <a:pt x="107" y="0"/>
                </a:cubicBezTo>
                <a:cubicBezTo>
                  <a:pt x="78" y="0"/>
                  <a:pt x="51" y="4"/>
                  <a:pt x="32" y="10"/>
                </a:cubicBezTo>
                <a:cubicBezTo>
                  <a:pt x="22" y="13"/>
                  <a:pt x="14" y="17"/>
                  <a:pt x="9" y="21"/>
                </a:cubicBezTo>
                <a:cubicBezTo>
                  <a:pt x="6" y="23"/>
                  <a:pt x="4" y="25"/>
                  <a:pt x="2" y="28"/>
                </a:cubicBezTo>
                <a:cubicBezTo>
                  <a:pt x="0" y="30"/>
                  <a:pt x="0" y="33"/>
                  <a:pt x="0" y="35"/>
                </a:cubicBezTo>
                <a:cubicBezTo>
                  <a:pt x="0" y="38"/>
                  <a:pt x="0" y="41"/>
                  <a:pt x="2" y="43"/>
                </a:cubicBezTo>
                <a:cubicBezTo>
                  <a:pt x="5" y="47"/>
                  <a:pt x="10" y="51"/>
                  <a:pt x="16" y="54"/>
                </a:cubicBezTo>
                <a:cubicBezTo>
                  <a:pt x="35" y="64"/>
                  <a:pt x="69" y="70"/>
                  <a:pt x="107" y="70"/>
                </a:cubicBezTo>
                <a:cubicBezTo>
                  <a:pt x="137" y="70"/>
                  <a:pt x="163" y="66"/>
                  <a:pt x="183" y="60"/>
                </a:cubicBezTo>
                <a:cubicBezTo>
                  <a:pt x="192" y="57"/>
                  <a:pt x="200" y="54"/>
                  <a:pt x="206" y="50"/>
                </a:cubicBezTo>
                <a:cubicBezTo>
                  <a:pt x="209" y="48"/>
                  <a:pt x="211" y="45"/>
                  <a:pt x="213" y="43"/>
                </a:cubicBezTo>
                <a:cubicBezTo>
                  <a:pt x="214" y="41"/>
                  <a:pt x="215" y="38"/>
                  <a:pt x="215" y="35"/>
                </a:cubicBezTo>
                <a:lnTo>
                  <a:pt x="213" y="3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205" name="Freeform 83"/>
          <p:cNvSpPr/>
          <p:nvPr/>
        </p:nvSpPr>
        <p:spPr bwMode="auto">
          <a:xfrm>
            <a:off x="3070860" y="4384994"/>
            <a:ext cx="160338" cy="41275"/>
          </a:xfrm>
          <a:custGeom>
            <a:avLst/>
            <a:gdLst>
              <a:gd name="T0" fmla="*/ 2 w 142"/>
              <a:gd name="T1" fmla="*/ 0 h 34"/>
              <a:gd name="T2" fmla="*/ 0 w 142"/>
              <a:gd name="T3" fmla="*/ 4 h 34"/>
              <a:gd name="T4" fmla="*/ 72 w 142"/>
              <a:gd name="T5" fmla="*/ 17 h 34"/>
              <a:gd name="T6" fmla="*/ 134 w 142"/>
              <a:gd name="T7" fmla="*/ 34 h 34"/>
              <a:gd name="T8" fmla="*/ 142 w 142"/>
              <a:gd name="T9" fmla="*/ 33 h 34"/>
              <a:gd name="T10" fmla="*/ 136 w 142"/>
              <a:gd name="T11" fmla="*/ 31 h 34"/>
              <a:gd name="T12" fmla="*/ 2 w 142"/>
              <a:gd name="T13" fmla="*/ 0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2" h="34">
                <a:moveTo>
                  <a:pt x="2" y="0"/>
                </a:moveTo>
                <a:cubicBezTo>
                  <a:pt x="1" y="1"/>
                  <a:pt x="0" y="3"/>
                  <a:pt x="0" y="4"/>
                </a:cubicBezTo>
                <a:cubicBezTo>
                  <a:pt x="26" y="8"/>
                  <a:pt x="50" y="12"/>
                  <a:pt x="72" y="17"/>
                </a:cubicBezTo>
                <a:cubicBezTo>
                  <a:pt x="96" y="22"/>
                  <a:pt x="116" y="28"/>
                  <a:pt x="134" y="34"/>
                </a:cubicBezTo>
                <a:cubicBezTo>
                  <a:pt x="137" y="34"/>
                  <a:pt x="139" y="34"/>
                  <a:pt x="142" y="33"/>
                </a:cubicBezTo>
                <a:cubicBezTo>
                  <a:pt x="140" y="32"/>
                  <a:pt x="138" y="31"/>
                  <a:pt x="136" y="31"/>
                </a:cubicBezTo>
                <a:cubicBezTo>
                  <a:pt x="102" y="18"/>
                  <a:pt x="56" y="8"/>
                  <a:pt x="2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206" name="Freeform 84"/>
          <p:cNvSpPr/>
          <p:nvPr/>
        </p:nvSpPr>
        <p:spPr bwMode="auto">
          <a:xfrm>
            <a:off x="3093086" y="4415156"/>
            <a:ext cx="71438" cy="14288"/>
          </a:xfrm>
          <a:custGeom>
            <a:avLst/>
            <a:gdLst>
              <a:gd name="T0" fmla="*/ 0 w 62"/>
              <a:gd name="T1" fmla="*/ 0 h 11"/>
              <a:gd name="T2" fmla="*/ 62 w 62"/>
              <a:gd name="T3" fmla="*/ 11 h 11"/>
              <a:gd name="T4" fmla="*/ 0 w 62"/>
              <a:gd name="T5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2" h="11">
                <a:moveTo>
                  <a:pt x="0" y="0"/>
                </a:moveTo>
                <a:cubicBezTo>
                  <a:pt x="15" y="5"/>
                  <a:pt x="37" y="10"/>
                  <a:pt x="62" y="11"/>
                </a:cubicBezTo>
                <a:cubicBezTo>
                  <a:pt x="43" y="7"/>
                  <a:pt x="22" y="3"/>
                  <a:pt x="0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207" name="Freeform 85"/>
          <p:cNvSpPr/>
          <p:nvPr/>
        </p:nvSpPr>
        <p:spPr bwMode="auto">
          <a:xfrm>
            <a:off x="3061335" y="4364356"/>
            <a:ext cx="241300" cy="82550"/>
          </a:xfrm>
          <a:custGeom>
            <a:avLst/>
            <a:gdLst>
              <a:gd name="T0" fmla="*/ 211 w 213"/>
              <a:gd name="T1" fmla="*/ 33 h 66"/>
              <a:gd name="T2" fmla="*/ 209 w 213"/>
              <a:gd name="T3" fmla="*/ 33 h 66"/>
              <a:gd name="T4" fmla="*/ 207 w 213"/>
              <a:gd name="T5" fmla="*/ 38 h 66"/>
              <a:gd name="T6" fmla="*/ 195 w 213"/>
              <a:gd name="T7" fmla="*/ 47 h 66"/>
              <a:gd name="T8" fmla="*/ 106 w 213"/>
              <a:gd name="T9" fmla="*/ 62 h 66"/>
              <a:gd name="T10" fmla="*/ 33 w 213"/>
              <a:gd name="T11" fmla="*/ 53 h 66"/>
              <a:gd name="T12" fmla="*/ 11 w 213"/>
              <a:gd name="T13" fmla="*/ 43 h 66"/>
              <a:gd name="T14" fmla="*/ 5 w 213"/>
              <a:gd name="T15" fmla="*/ 38 h 66"/>
              <a:gd name="T16" fmla="*/ 4 w 213"/>
              <a:gd name="T17" fmla="*/ 33 h 66"/>
              <a:gd name="T18" fmla="*/ 5 w 213"/>
              <a:gd name="T19" fmla="*/ 28 h 66"/>
              <a:gd name="T20" fmla="*/ 18 w 213"/>
              <a:gd name="T21" fmla="*/ 19 h 66"/>
              <a:gd name="T22" fmla="*/ 106 w 213"/>
              <a:gd name="T23" fmla="*/ 4 h 66"/>
              <a:gd name="T24" fmla="*/ 180 w 213"/>
              <a:gd name="T25" fmla="*/ 13 h 66"/>
              <a:gd name="T26" fmla="*/ 202 w 213"/>
              <a:gd name="T27" fmla="*/ 22 h 66"/>
              <a:gd name="T28" fmla="*/ 207 w 213"/>
              <a:gd name="T29" fmla="*/ 28 h 66"/>
              <a:gd name="T30" fmla="*/ 209 w 213"/>
              <a:gd name="T31" fmla="*/ 33 h 66"/>
              <a:gd name="T32" fmla="*/ 211 w 213"/>
              <a:gd name="T33" fmla="*/ 33 h 66"/>
              <a:gd name="T34" fmla="*/ 213 w 213"/>
              <a:gd name="T35" fmla="*/ 33 h 66"/>
              <a:gd name="T36" fmla="*/ 211 w 213"/>
              <a:gd name="T37" fmla="*/ 25 h 66"/>
              <a:gd name="T38" fmla="*/ 197 w 213"/>
              <a:gd name="T39" fmla="*/ 15 h 66"/>
              <a:gd name="T40" fmla="*/ 106 w 213"/>
              <a:gd name="T41" fmla="*/ 0 h 66"/>
              <a:gd name="T42" fmla="*/ 32 w 213"/>
              <a:gd name="T43" fmla="*/ 9 h 66"/>
              <a:gd name="T44" fmla="*/ 9 w 213"/>
              <a:gd name="T45" fmla="*/ 19 h 66"/>
              <a:gd name="T46" fmla="*/ 2 w 213"/>
              <a:gd name="T47" fmla="*/ 25 h 66"/>
              <a:gd name="T48" fmla="*/ 0 w 213"/>
              <a:gd name="T49" fmla="*/ 33 h 66"/>
              <a:gd name="T50" fmla="*/ 2 w 213"/>
              <a:gd name="T51" fmla="*/ 40 h 66"/>
              <a:gd name="T52" fmla="*/ 16 w 213"/>
              <a:gd name="T53" fmla="*/ 51 h 66"/>
              <a:gd name="T54" fmla="*/ 106 w 213"/>
              <a:gd name="T55" fmla="*/ 66 h 66"/>
              <a:gd name="T56" fmla="*/ 181 w 213"/>
              <a:gd name="T57" fmla="*/ 57 h 66"/>
              <a:gd name="T58" fmla="*/ 204 w 213"/>
              <a:gd name="T59" fmla="*/ 47 h 66"/>
              <a:gd name="T60" fmla="*/ 211 w 213"/>
              <a:gd name="T61" fmla="*/ 40 h 66"/>
              <a:gd name="T62" fmla="*/ 213 w 213"/>
              <a:gd name="T63" fmla="*/ 33 h 66"/>
              <a:gd name="T64" fmla="*/ 211 w 213"/>
              <a:gd name="T65" fmla="*/ 33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3" h="66">
                <a:moveTo>
                  <a:pt x="211" y="33"/>
                </a:moveTo>
                <a:cubicBezTo>
                  <a:pt x="209" y="33"/>
                  <a:pt x="209" y="33"/>
                  <a:pt x="209" y="33"/>
                </a:cubicBezTo>
                <a:cubicBezTo>
                  <a:pt x="209" y="35"/>
                  <a:pt x="208" y="36"/>
                  <a:pt x="207" y="38"/>
                </a:cubicBezTo>
                <a:cubicBezTo>
                  <a:pt x="205" y="41"/>
                  <a:pt x="201" y="44"/>
                  <a:pt x="195" y="47"/>
                </a:cubicBezTo>
                <a:cubicBezTo>
                  <a:pt x="177" y="56"/>
                  <a:pt x="144" y="62"/>
                  <a:pt x="106" y="62"/>
                </a:cubicBezTo>
                <a:cubicBezTo>
                  <a:pt x="78" y="62"/>
                  <a:pt x="51" y="58"/>
                  <a:pt x="33" y="53"/>
                </a:cubicBezTo>
                <a:cubicBezTo>
                  <a:pt x="23" y="50"/>
                  <a:pt x="16" y="47"/>
                  <a:pt x="11" y="43"/>
                </a:cubicBezTo>
                <a:cubicBezTo>
                  <a:pt x="8" y="41"/>
                  <a:pt x="6" y="40"/>
                  <a:pt x="5" y="38"/>
                </a:cubicBezTo>
                <a:cubicBezTo>
                  <a:pt x="4" y="36"/>
                  <a:pt x="4" y="35"/>
                  <a:pt x="4" y="33"/>
                </a:cubicBezTo>
                <a:cubicBezTo>
                  <a:pt x="4" y="31"/>
                  <a:pt x="4" y="30"/>
                  <a:pt x="5" y="28"/>
                </a:cubicBezTo>
                <a:cubicBezTo>
                  <a:pt x="7" y="25"/>
                  <a:pt x="12" y="22"/>
                  <a:pt x="18" y="19"/>
                </a:cubicBezTo>
                <a:cubicBezTo>
                  <a:pt x="35" y="10"/>
                  <a:pt x="69" y="4"/>
                  <a:pt x="106" y="4"/>
                </a:cubicBezTo>
                <a:cubicBezTo>
                  <a:pt x="135" y="4"/>
                  <a:pt x="161" y="7"/>
                  <a:pt x="180" y="13"/>
                </a:cubicBezTo>
                <a:cubicBezTo>
                  <a:pt x="189" y="16"/>
                  <a:pt x="197" y="19"/>
                  <a:pt x="202" y="22"/>
                </a:cubicBezTo>
                <a:cubicBezTo>
                  <a:pt x="204" y="24"/>
                  <a:pt x="206" y="26"/>
                  <a:pt x="207" y="28"/>
                </a:cubicBezTo>
                <a:cubicBezTo>
                  <a:pt x="208" y="30"/>
                  <a:pt x="209" y="31"/>
                  <a:pt x="209" y="33"/>
                </a:cubicBezTo>
                <a:cubicBezTo>
                  <a:pt x="211" y="33"/>
                  <a:pt x="211" y="33"/>
                  <a:pt x="211" y="33"/>
                </a:cubicBezTo>
                <a:cubicBezTo>
                  <a:pt x="213" y="33"/>
                  <a:pt x="213" y="33"/>
                  <a:pt x="213" y="33"/>
                </a:cubicBezTo>
                <a:cubicBezTo>
                  <a:pt x="213" y="30"/>
                  <a:pt x="212" y="28"/>
                  <a:pt x="211" y="25"/>
                </a:cubicBezTo>
                <a:cubicBezTo>
                  <a:pt x="208" y="22"/>
                  <a:pt x="203" y="18"/>
                  <a:pt x="197" y="15"/>
                </a:cubicBezTo>
                <a:cubicBezTo>
                  <a:pt x="178" y="6"/>
                  <a:pt x="144" y="0"/>
                  <a:pt x="106" y="0"/>
                </a:cubicBezTo>
                <a:cubicBezTo>
                  <a:pt x="77" y="0"/>
                  <a:pt x="51" y="3"/>
                  <a:pt x="32" y="9"/>
                </a:cubicBezTo>
                <a:cubicBezTo>
                  <a:pt x="22" y="12"/>
                  <a:pt x="14" y="15"/>
                  <a:pt x="9" y="19"/>
                </a:cubicBezTo>
                <a:cubicBezTo>
                  <a:pt x="6" y="21"/>
                  <a:pt x="4" y="23"/>
                  <a:pt x="2" y="25"/>
                </a:cubicBezTo>
                <a:cubicBezTo>
                  <a:pt x="0" y="28"/>
                  <a:pt x="0" y="30"/>
                  <a:pt x="0" y="33"/>
                </a:cubicBezTo>
                <a:cubicBezTo>
                  <a:pt x="0" y="35"/>
                  <a:pt x="0" y="38"/>
                  <a:pt x="2" y="40"/>
                </a:cubicBezTo>
                <a:cubicBezTo>
                  <a:pt x="5" y="44"/>
                  <a:pt x="10" y="48"/>
                  <a:pt x="16" y="51"/>
                </a:cubicBezTo>
                <a:cubicBezTo>
                  <a:pt x="35" y="60"/>
                  <a:pt x="68" y="66"/>
                  <a:pt x="106" y="66"/>
                </a:cubicBezTo>
                <a:cubicBezTo>
                  <a:pt x="135" y="66"/>
                  <a:pt x="162" y="62"/>
                  <a:pt x="181" y="57"/>
                </a:cubicBezTo>
                <a:cubicBezTo>
                  <a:pt x="191" y="54"/>
                  <a:pt x="198" y="50"/>
                  <a:pt x="204" y="47"/>
                </a:cubicBezTo>
                <a:cubicBezTo>
                  <a:pt x="207" y="45"/>
                  <a:pt x="209" y="43"/>
                  <a:pt x="211" y="40"/>
                </a:cubicBezTo>
                <a:cubicBezTo>
                  <a:pt x="212" y="38"/>
                  <a:pt x="213" y="35"/>
                  <a:pt x="213" y="33"/>
                </a:cubicBezTo>
                <a:lnTo>
                  <a:pt x="211" y="3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208" name="Freeform 86"/>
          <p:cNvSpPr/>
          <p:nvPr/>
        </p:nvSpPr>
        <p:spPr bwMode="auto">
          <a:xfrm>
            <a:off x="3064510" y="4373881"/>
            <a:ext cx="234950" cy="77788"/>
          </a:xfrm>
          <a:custGeom>
            <a:avLst/>
            <a:gdLst>
              <a:gd name="T0" fmla="*/ 206 w 207"/>
              <a:gd name="T1" fmla="*/ 31 h 62"/>
              <a:gd name="T2" fmla="*/ 205 w 207"/>
              <a:gd name="T3" fmla="*/ 31 h 62"/>
              <a:gd name="T4" fmla="*/ 197 w 207"/>
              <a:gd name="T5" fmla="*/ 42 h 62"/>
              <a:gd name="T6" fmla="*/ 160 w 207"/>
              <a:gd name="T7" fmla="*/ 55 h 62"/>
              <a:gd name="T8" fmla="*/ 103 w 207"/>
              <a:gd name="T9" fmla="*/ 60 h 62"/>
              <a:gd name="T10" fmla="*/ 31 w 207"/>
              <a:gd name="T11" fmla="*/ 51 h 62"/>
              <a:gd name="T12" fmla="*/ 9 w 207"/>
              <a:gd name="T13" fmla="*/ 42 h 62"/>
              <a:gd name="T14" fmla="*/ 2 w 207"/>
              <a:gd name="T15" fmla="*/ 31 h 62"/>
              <a:gd name="T16" fmla="*/ 9 w 207"/>
              <a:gd name="T17" fmla="*/ 20 h 62"/>
              <a:gd name="T18" fmla="*/ 46 w 207"/>
              <a:gd name="T19" fmla="*/ 7 h 62"/>
              <a:gd name="T20" fmla="*/ 103 w 207"/>
              <a:gd name="T21" fmla="*/ 2 h 62"/>
              <a:gd name="T22" fmla="*/ 176 w 207"/>
              <a:gd name="T23" fmla="*/ 10 h 62"/>
              <a:gd name="T24" fmla="*/ 197 w 207"/>
              <a:gd name="T25" fmla="*/ 20 h 62"/>
              <a:gd name="T26" fmla="*/ 205 w 207"/>
              <a:gd name="T27" fmla="*/ 31 h 62"/>
              <a:gd name="T28" fmla="*/ 206 w 207"/>
              <a:gd name="T29" fmla="*/ 31 h 62"/>
              <a:gd name="T30" fmla="*/ 207 w 207"/>
              <a:gd name="T31" fmla="*/ 31 h 62"/>
              <a:gd name="T32" fmla="*/ 198 w 207"/>
              <a:gd name="T33" fmla="*/ 18 h 62"/>
              <a:gd name="T34" fmla="*/ 161 w 207"/>
              <a:gd name="T35" fmla="*/ 5 h 62"/>
              <a:gd name="T36" fmla="*/ 103 w 207"/>
              <a:gd name="T37" fmla="*/ 0 h 62"/>
              <a:gd name="T38" fmla="*/ 31 w 207"/>
              <a:gd name="T39" fmla="*/ 8 h 62"/>
              <a:gd name="T40" fmla="*/ 8 w 207"/>
              <a:gd name="T41" fmla="*/ 18 h 62"/>
              <a:gd name="T42" fmla="*/ 0 w 207"/>
              <a:gd name="T43" fmla="*/ 31 h 62"/>
              <a:gd name="T44" fmla="*/ 8 w 207"/>
              <a:gd name="T45" fmla="*/ 43 h 62"/>
              <a:gd name="T46" fmla="*/ 46 w 207"/>
              <a:gd name="T47" fmla="*/ 57 h 62"/>
              <a:gd name="T48" fmla="*/ 103 w 207"/>
              <a:gd name="T49" fmla="*/ 62 h 62"/>
              <a:gd name="T50" fmla="*/ 176 w 207"/>
              <a:gd name="T51" fmla="*/ 53 h 62"/>
              <a:gd name="T52" fmla="*/ 198 w 207"/>
              <a:gd name="T53" fmla="*/ 43 h 62"/>
              <a:gd name="T54" fmla="*/ 207 w 207"/>
              <a:gd name="T55" fmla="*/ 31 h 62"/>
              <a:gd name="T56" fmla="*/ 206 w 207"/>
              <a:gd name="T57" fmla="*/ 31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07" h="62">
                <a:moveTo>
                  <a:pt x="206" y="31"/>
                </a:moveTo>
                <a:cubicBezTo>
                  <a:pt x="205" y="31"/>
                  <a:pt x="205" y="31"/>
                  <a:pt x="205" y="31"/>
                </a:cubicBezTo>
                <a:cubicBezTo>
                  <a:pt x="205" y="34"/>
                  <a:pt x="202" y="38"/>
                  <a:pt x="197" y="42"/>
                </a:cubicBezTo>
                <a:cubicBezTo>
                  <a:pt x="190" y="47"/>
                  <a:pt x="177" y="52"/>
                  <a:pt x="160" y="55"/>
                </a:cubicBezTo>
                <a:cubicBezTo>
                  <a:pt x="144" y="58"/>
                  <a:pt x="124" y="60"/>
                  <a:pt x="103" y="60"/>
                </a:cubicBezTo>
                <a:cubicBezTo>
                  <a:pt x="75" y="60"/>
                  <a:pt x="49" y="57"/>
                  <a:pt x="31" y="51"/>
                </a:cubicBezTo>
                <a:cubicBezTo>
                  <a:pt x="22" y="49"/>
                  <a:pt x="14" y="45"/>
                  <a:pt x="9" y="42"/>
                </a:cubicBezTo>
                <a:cubicBezTo>
                  <a:pt x="4" y="38"/>
                  <a:pt x="2" y="34"/>
                  <a:pt x="2" y="31"/>
                </a:cubicBezTo>
                <a:cubicBezTo>
                  <a:pt x="2" y="27"/>
                  <a:pt x="4" y="23"/>
                  <a:pt x="9" y="20"/>
                </a:cubicBezTo>
                <a:cubicBezTo>
                  <a:pt x="17" y="15"/>
                  <a:pt x="30" y="10"/>
                  <a:pt x="46" y="7"/>
                </a:cubicBezTo>
                <a:cubicBezTo>
                  <a:pt x="62" y="3"/>
                  <a:pt x="82" y="2"/>
                  <a:pt x="103" y="2"/>
                </a:cubicBezTo>
                <a:cubicBezTo>
                  <a:pt x="132" y="2"/>
                  <a:pt x="157" y="5"/>
                  <a:pt x="176" y="10"/>
                </a:cubicBezTo>
                <a:cubicBezTo>
                  <a:pt x="185" y="13"/>
                  <a:pt x="192" y="16"/>
                  <a:pt x="197" y="20"/>
                </a:cubicBezTo>
                <a:cubicBezTo>
                  <a:pt x="202" y="23"/>
                  <a:pt x="205" y="27"/>
                  <a:pt x="205" y="31"/>
                </a:cubicBezTo>
                <a:cubicBezTo>
                  <a:pt x="206" y="31"/>
                  <a:pt x="206" y="31"/>
                  <a:pt x="206" y="31"/>
                </a:cubicBezTo>
                <a:cubicBezTo>
                  <a:pt x="207" y="31"/>
                  <a:pt x="207" y="31"/>
                  <a:pt x="207" y="31"/>
                </a:cubicBezTo>
                <a:cubicBezTo>
                  <a:pt x="207" y="26"/>
                  <a:pt x="204" y="22"/>
                  <a:pt x="198" y="18"/>
                </a:cubicBezTo>
                <a:cubicBezTo>
                  <a:pt x="190" y="13"/>
                  <a:pt x="177" y="8"/>
                  <a:pt x="161" y="5"/>
                </a:cubicBezTo>
                <a:cubicBezTo>
                  <a:pt x="144" y="1"/>
                  <a:pt x="125" y="0"/>
                  <a:pt x="103" y="0"/>
                </a:cubicBezTo>
                <a:cubicBezTo>
                  <a:pt x="75" y="0"/>
                  <a:pt x="49" y="3"/>
                  <a:pt x="31" y="8"/>
                </a:cubicBezTo>
                <a:cubicBezTo>
                  <a:pt x="21" y="11"/>
                  <a:pt x="14" y="14"/>
                  <a:pt x="8" y="18"/>
                </a:cubicBezTo>
                <a:cubicBezTo>
                  <a:pt x="3" y="22"/>
                  <a:pt x="0" y="26"/>
                  <a:pt x="0" y="31"/>
                </a:cubicBezTo>
                <a:cubicBezTo>
                  <a:pt x="0" y="35"/>
                  <a:pt x="3" y="40"/>
                  <a:pt x="8" y="43"/>
                </a:cubicBezTo>
                <a:cubicBezTo>
                  <a:pt x="16" y="49"/>
                  <a:pt x="29" y="54"/>
                  <a:pt x="46" y="57"/>
                </a:cubicBezTo>
                <a:cubicBezTo>
                  <a:pt x="62" y="60"/>
                  <a:pt x="82" y="62"/>
                  <a:pt x="103" y="62"/>
                </a:cubicBezTo>
                <a:cubicBezTo>
                  <a:pt x="132" y="62"/>
                  <a:pt x="157" y="59"/>
                  <a:pt x="176" y="53"/>
                </a:cubicBezTo>
                <a:cubicBezTo>
                  <a:pt x="185" y="50"/>
                  <a:pt x="193" y="47"/>
                  <a:pt x="198" y="43"/>
                </a:cubicBezTo>
                <a:cubicBezTo>
                  <a:pt x="204" y="40"/>
                  <a:pt x="207" y="35"/>
                  <a:pt x="207" y="31"/>
                </a:cubicBezTo>
                <a:lnTo>
                  <a:pt x="206" y="3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209" name="Freeform 95"/>
          <p:cNvSpPr/>
          <p:nvPr/>
        </p:nvSpPr>
        <p:spPr bwMode="auto">
          <a:xfrm>
            <a:off x="6204586" y="4396106"/>
            <a:ext cx="1012825" cy="250825"/>
          </a:xfrm>
          <a:custGeom>
            <a:avLst/>
            <a:gdLst>
              <a:gd name="T0" fmla="*/ 892 w 894"/>
              <a:gd name="T1" fmla="*/ 102 h 203"/>
              <a:gd name="T2" fmla="*/ 890 w 894"/>
              <a:gd name="T3" fmla="*/ 102 h 203"/>
              <a:gd name="T4" fmla="*/ 882 w 894"/>
              <a:gd name="T5" fmla="*/ 120 h 203"/>
              <a:gd name="T6" fmla="*/ 827 w 894"/>
              <a:gd name="T7" fmla="*/ 151 h 203"/>
              <a:gd name="T8" fmla="*/ 447 w 894"/>
              <a:gd name="T9" fmla="*/ 199 h 203"/>
              <a:gd name="T10" fmla="*/ 132 w 894"/>
              <a:gd name="T11" fmla="*/ 170 h 203"/>
              <a:gd name="T12" fmla="*/ 37 w 894"/>
              <a:gd name="T13" fmla="*/ 139 h 203"/>
              <a:gd name="T14" fmla="*/ 12 w 894"/>
              <a:gd name="T15" fmla="*/ 120 h 203"/>
              <a:gd name="T16" fmla="*/ 4 w 894"/>
              <a:gd name="T17" fmla="*/ 102 h 203"/>
              <a:gd name="T18" fmla="*/ 12 w 894"/>
              <a:gd name="T19" fmla="*/ 83 h 203"/>
              <a:gd name="T20" fmla="*/ 67 w 894"/>
              <a:gd name="T21" fmla="*/ 52 h 203"/>
              <a:gd name="T22" fmla="*/ 447 w 894"/>
              <a:gd name="T23" fmla="*/ 4 h 203"/>
              <a:gd name="T24" fmla="*/ 762 w 894"/>
              <a:gd name="T25" fmla="*/ 34 h 203"/>
              <a:gd name="T26" fmla="*/ 857 w 894"/>
              <a:gd name="T27" fmla="*/ 65 h 203"/>
              <a:gd name="T28" fmla="*/ 882 w 894"/>
              <a:gd name="T29" fmla="*/ 83 h 203"/>
              <a:gd name="T30" fmla="*/ 890 w 894"/>
              <a:gd name="T31" fmla="*/ 102 h 203"/>
              <a:gd name="T32" fmla="*/ 892 w 894"/>
              <a:gd name="T33" fmla="*/ 102 h 203"/>
              <a:gd name="T34" fmla="*/ 894 w 894"/>
              <a:gd name="T35" fmla="*/ 102 h 203"/>
              <a:gd name="T36" fmla="*/ 885 w 894"/>
              <a:gd name="T37" fmla="*/ 80 h 203"/>
              <a:gd name="T38" fmla="*/ 829 w 894"/>
              <a:gd name="T39" fmla="*/ 48 h 203"/>
              <a:gd name="T40" fmla="*/ 447 w 894"/>
              <a:gd name="T41" fmla="*/ 0 h 203"/>
              <a:gd name="T42" fmla="*/ 132 w 894"/>
              <a:gd name="T43" fmla="*/ 30 h 203"/>
              <a:gd name="T44" fmla="*/ 36 w 894"/>
              <a:gd name="T45" fmla="*/ 61 h 203"/>
              <a:gd name="T46" fmla="*/ 9 w 894"/>
              <a:gd name="T47" fmla="*/ 80 h 203"/>
              <a:gd name="T48" fmla="*/ 0 w 894"/>
              <a:gd name="T49" fmla="*/ 102 h 203"/>
              <a:gd name="T50" fmla="*/ 9 w 894"/>
              <a:gd name="T51" fmla="*/ 123 h 203"/>
              <a:gd name="T52" fmla="*/ 65 w 894"/>
              <a:gd name="T53" fmla="*/ 155 h 203"/>
              <a:gd name="T54" fmla="*/ 447 w 894"/>
              <a:gd name="T55" fmla="*/ 203 h 203"/>
              <a:gd name="T56" fmla="*/ 762 w 894"/>
              <a:gd name="T57" fmla="*/ 174 h 203"/>
              <a:gd name="T58" fmla="*/ 858 w 894"/>
              <a:gd name="T59" fmla="*/ 142 h 203"/>
              <a:gd name="T60" fmla="*/ 885 w 894"/>
              <a:gd name="T61" fmla="*/ 123 h 203"/>
              <a:gd name="T62" fmla="*/ 894 w 894"/>
              <a:gd name="T63" fmla="*/ 102 h 203"/>
              <a:gd name="T64" fmla="*/ 892 w 894"/>
              <a:gd name="T65" fmla="*/ 102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894" h="203">
                <a:moveTo>
                  <a:pt x="892" y="102"/>
                </a:moveTo>
                <a:cubicBezTo>
                  <a:pt x="890" y="102"/>
                  <a:pt x="890" y="102"/>
                  <a:pt x="890" y="102"/>
                </a:cubicBezTo>
                <a:cubicBezTo>
                  <a:pt x="890" y="108"/>
                  <a:pt x="888" y="114"/>
                  <a:pt x="882" y="120"/>
                </a:cubicBezTo>
                <a:cubicBezTo>
                  <a:pt x="872" y="131"/>
                  <a:pt x="853" y="142"/>
                  <a:pt x="827" y="151"/>
                </a:cubicBezTo>
                <a:cubicBezTo>
                  <a:pt x="750" y="180"/>
                  <a:pt x="608" y="199"/>
                  <a:pt x="447" y="199"/>
                </a:cubicBezTo>
                <a:cubicBezTo>
                  <a:pt x="324" y="199"/>
                  <a:pt x="213" y="188"/>
                  <a:pt x="132" y="170"/>
                </a:cubicBezTo>
                <a:cubicBezTo>
                  <a:pt x="92" y="161"/>
                  <a:pt x="60" y="150"/>
                  <a:pt x="37" y="139"/>
                </a:cubicBezTo>
                <a:cubicBezTo>
                  <a:pt x="26" y="133"/>
                  <a:pt x="18" y="127"/>
                  <a:pt x="12" y="120"/>
                </a:cubicBezTo>
                <a:cubicBezTo>
                  <a:pt x="6" y="114"/>
                  <a:pt x="4" y="108"/>
                  <a:pt x="4" y="102"/>
                </a:cubicBezTo>
                <a:cubicBezTo>
                  <a:pt x="4" y="95"/>
                  <a:pt x="6" y="89"/>
                  <a:pt x="12" y="83"/>
                </a:cubicBezTo>
                <a:cubicBezTo>
                  <a:pt x="22" y="72"/>
                  <a:pt x="41" y="62"/>
                  <a:pt x="67" y="52"/>
                </a:cubicBezTo>
                <a:cubicBezTo>
                  <a:pt x="144" y="24"/>
                  <a:pt x="286" y="4"/>
                  <a:pt x="447" y="4"/>
                </a:cubicBezTo>
                <a:cubicBezTo>
                  <a:pt x="570" y="4"/>
                  <a:pt x="681" y="16"/>
                  <a:pt x="762" y="34"/>
                </a:cubicBezTo>
                <a:cubicBezTo>
                  <a:pt x="802" y="42"/>
                  <a:pt x="834" y="53"/>
                  <a:pt x="857" y="65"/>
                </a:cubicBezTo>
                <a:cubicBezTo>
                  <a:pt x="868" y="71"/>
                  <a:pt x="876" y="77"/>
                  <a:pt x="882" y="83"/>
                </a:cubicBezTo>
                <a:cubicBezTo>
                  <a:pt x="888" y="89"/>
                  <a:pt x="890" y="95"/>
                  <a:pt x="890" y="102"/>
                </a:cubicBezTo>
                <a:cubicBezTo>
                  <a:pt x="892" y="102"/>
                  <a:pt x="892" y="102"/>
                  <a:pt x="892" y="102"/>
                </a:cubicBezTo>
                <a:cubicBezTo>
                  <a:pt x="894" y="102"/>
                  <a:pt x="894" y="102"/>
                  <a:pt x="894" y="102"/>
                </a:cubicBezTo>
                <a:cubicBezTo>
                  <a:pt x="894" y="94"/>
                  <a:pt x="891" y="87"/>
                  <a:pt x="885" y="80"/>
                </a:cubicBezTo>
                <a:cubicBezTo>
                  <a:pt x="874" y="69"/>
                  <a:pt x="855" y="58"/>
                  <a:pt x="829" y="48"/>
                </a:cubicBezTo>
                <a:cubicBezTo>
                  <a:pt x="750" y="20"/>
                  <a:pt x="609" y="1"/>
                  <a:pt x="447" y="0"/>
                </a:cubicBezTo>
                <a:cubicBezTo>
                  <a:pt x="324" y="1"/>
                  <a:pt x="212" y="12"/>
                  <a:pt x="132" y="30"/>
                </a:cubicBezTo>
                <a:cubicBezTo>
                  <a:pt x="91" y="39"/>
                  <a:pt x="58" y="49"/>
                  <a:pt x="36" y="61"/>
                </a:cubicBezTo>
                <a:cubicBezTo>
                  <a:pt x="24" y="67"/>
                  <a:pt x="15" y="74"/>
                  <a:pt x="9" y="80"/>
                </a:cubicBezTo>
                <a:cubicBezTo>
                  <a:pt x="3" y="87"/>
                  <a:pt x="0" y="94"/>
                  <a:pt x="0" y="102"/>
                </a:cubicBezTo>
                <a:cubicBezTo>
                  <a:pt x="0" y="109"/>
                  <a:pt x="3" y="116"/>
                  <a:pt x="9" y="123"/>
                </a:cubicBezTo>
                <a:cubicBezTo>
                  <a:pt x="20" y="135"/>
                  <a:pt x="39" y="145"/>
                  <a:pt x="65" y="155"/>
                </a:cubicBezTo>
                <a:cubicBezTo>
                  <a:pt x="144" y="184"/>
                  <a:pt x="285" y="203"/>
                  <a:pt x="447" y="203"/>
                </a:cubicBezTo>
                <a:cubicBezTo>
                  <a:pt x="570" y="203"/>
                  <a:pt x="682" y="192"/>
                  <a:pt x="762" y="174"/>
                </a:cubicBezTo>
                <a:cubicBezTo>
                  <a:pt x="803" y="165"/>
                  <a:pt x="836" y="154"/>
                  <a:pt x="858" y="142"/>
                </a:cubicBezTo>
                <a:cubicBezTo>
                  <a:pt x="870" y="136"/>
                  <a:pt x="879" y="130"/>
                  <a:pt x="885" y="123"/>
                </a:cubicBezTo>
                <a:cubicBezTo>
                  <a:pt x="891" y="116"/>
                  <a:pt x="894" y="109"/>
                  <a:pt x="894" y="102"/>
                </a:cubicBezTo>
                <a:lnTo>
                  <a:pt x="892" y="10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7" name="Freeform 96"/>
          <p:cNvSpPr/>
          <p:nvPr/>
        </p:nvSpPr>
        <p:spPr bwMode="auto">
          <a:xfrm>
            <a:off x="6215698" y="4423094"/>
            <a:ext cx="990600" cy="244475"/>
          </a:xfrm>
          <a:custGeom>
            <a:avLst/>
            <a:gdLst>
              <a:gd name="T0" fmla="*/ 873 w 874"/>
              <a:gd name="T1" fmla="*/ 98 h 196"/>
              <a:gd name="T2" fmla="*/ 872 w 874"/>
              <a:gd name="T3" fmla="*/ 98 h 196"/>
              <a:gd name="T4" fmla="*/ 863 w 874"/>
              <a:gd name="T5" fmla="*/ 117 h 196"/>
              <a:gd name="T6" fmla="*/ 714 w 874"/>
              <a:gd name="T7" fmla="*/ 172 h 196"/>
              <a:gd name="T8" fmla="*/ 437 w 874"/>
              <a:gd name="T9" fmla="*/ 194 h 196"/>
              <a:gd name="T10" fmla="*/ 129 w 874"/>
              <a:gd name="T11" fmla="*/ 165 h 196"/>
              <a:gd name="T12" fmla="*/ 36 w 874"/>
              <a:gd name="T13" fmla="*/ 135 h 196"/>
              <a:gd name="T14" fmla="*/ 11 w 874"/>
              <a:gd name="T15" fmla="*/ 117 h 196"/>
              <a:gd name="T16" fmla="*/ 2 w 874"/>
              <a:gd name="T17" fmla="*/ 98 h 196"/>
              <a:gd name="T18" fmla="*/ 11 w 874"/>
              <a:gd name="T19" fmla="*/ 79 h 196"/>
              <a:gd name="T20" fmla="*/ 160 w 874"/>
              <a:gd name="T21" fmla="*/ 24 h 196"/>
              <a:gd name="T22" fmla="*/ 437 w 874"/>
              <a:gd name="T23" fmla="*/ 2 h 196"/>
              <a:gd name="T24" fmla="*/ 745 w 874"/>
              <a:gd name="T25" fmla="*/ 30 h 196"/>
              <a:gd name="T26" fmla="*/ 838 w 874"/>
              <a:gd name="T27" fmla="*/ 61 h 196"/>
              <a:gd name="T28" fmla="*/ 863 w 874"/>
              <a:gd name="T29" fmla="*/ 79 h 196"/>
              <a:gd name="T30" fmla="*/ 872 w 874"/>
              <a:gd name="T31" fmla="*/ 98 h 196"/>
              <a:gd name="T32" fmla="*/ 873 w 874"/>
              <a:gd name="T33" fmla="*/ 98 h 196"/>
              <a:gd name="T34" fmla="*/ 874 w 874"/>
              <a:gd name="T35" fmla="*/ 98 h 196"/>
              <a:gd name="T36" fmla="*/ 865 w 874"/>
              <a:gd name="T37" fmla="*/ 78 h 196"/>
              <a:gd name="T38" fmla="*/ 714 w 874"/>
              <a:gd name="T39" fmla="*/ 22 h 196"/>
              <a:gd name="T40" fmla="*/ 437 w 874"/>
              <a:gd name="T41" fmla="*/ 0 h 196"/>
              <a:gd name="T42" fmla="*/ 129 w 874"/>
              <a:gd name="T43" fmla="*/ 28 h 196"/>
              <a:gd name="T44" fmla="*/ 35 w 874"/>
              <a:gd name="T45" fmla="*/ 59 h 196"/>
              <a:gd name="T46" fmla="*/ 9 w 874"/>
              <a:gd name="T47" fmla="*/ 78 h 196"/>
              <a:gd name="T48" fmla="*/ 0 w 874"/>
              <a:gd name="T49" fmla="*/ 98 h 196"/>
              <a:gd name="T50" fmla="*/ 9 w 874"/>
              <a:gd name="T51" fmla="*/ 118 h 196"/>
              <a:gd name="T52" fmla="*/ 160 w 874"/>
              <a:gd name="T53" fmla="*/ 174 h 196"/>
              <a:gd name="T54" fmla="*/ 437 w 874"/>
              <a:gd name="T55" fmla="*/ 196 h 196"/>
              <a:gd name="T56" fmla="*/ 745 w 874"/>
              <a:gd name="T57" fmla="*/ 167 h 196"/>
              <a:gd name="T58" fmla="*/ 839 w 874"/>
              <a:gd name="T59" fmla="*/ 136 h 196"/>
              <a:gd name="T60" fmla="*/ 865 w 874"/>
              <a:gd name="T61" fmla="*/ 118 h 196"/>
              <a:gd name="T62" fmla="*/ 874 w 874"/>
              <a:gd name="T63" fmla="*/ 98 h 196"/>
              <a:gd name="T64" fmla="*/ 873 w 874"/>
              <a:gd name="T65" fmla="*/ 98 h 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874" h="196">
                <a:moveTo>
                  <a:pt x="873" y="98"/>
                </a:moveTo>
                <a:cubicBezTo>
                  <a:pt x="872" y="98"/>
                  <a:pt x="872" y="98"/>
                  <a:pt x="872" y="98"/>
                </a:cubicBezTo>
                <a:cubicBezTo>
                  <a:pt x="872" y="104"/>
                  <a:pt x="869" y="110"/>
                  <a:pt x="863" y="117"/>
                </a:cubicBezTo>
                <a:cubicBezTo>
                  <a:pt x="843" y="138"/>
                  <a:pt x="789" y="158"/>
                  <a:pt x="714" y="172"/>
                </a:cubicBezTo>
                <a:cubicBezTo>
                  <a:pt x="639" y="185"/>
                  <a:pt x="542" y="194"/>
                  <a:pt x="437" y="194"/>
                </a:cubicBezTo>
                <a:cubicBezTo>
                  <a:pt x="317" y="194"/>
                  <a:pt x="208" y="183"/>
                  <a:pt x="129" y="165"/>
                </a:cubicBezTo>
                <a:cubicBezTo>
                  <a:pt x="90" y="157"/>
                  <a:pt x="58" y="146"/>
                  <a:pt x="36" y="135"/>
                </a:cubicBezTo>
                <a:cubicBezTo>
                  <a:pt x="25" y="129"/>
                  <a:pt x="16" y="123"/>
                  <a:pt x="11" y="117"/>
                </a:cubicBezTo>
                <a:cubicBezTo>
                  <a:pt x="5" y="110"/>
                  <a:pt x="2" y="104"/>
                  <a:pt x="2" y="98"/>
                </a:cubicBezTo>
                <a:cubicBezTo>
                  <a:pt x="2" y="91"/>
                  <a:pt x="5" y="85"/>
                  <a:pt x="11" y="79"/>
                </a:cubicBezTo>
                <a:cubicBezTo>
                  <a:pt x="31" y="57"/>
                  <a:pt x="85" y="38"/>
                  <a:pt x="160" y="24"/>
                </a:cubicBezTo>
                <a:cubicBezTo>
                  <a:pt x="235" y="10"/>
                  <a:pt x="332" y="2"/>
                  <a:pt x="437" y="2"/>
                </a:cubicBezTo>
                <a:cubicBezTo>
                  <a:pt x="557" y="2"/>
                  <a:pt x="666" y="13"/>
                  <a:pt x="745" y="30"/>
                </a:cubicBezTo>
                <a:cubicBezTo>
                  <a:pt x="784" y="39"/>
                  <a:pt x="816" y="49"/>
                  <a:pt x="838" y="61"/>
                </a:cubicBezTo>
                <a:cubicBezTo>
                  <a:pt x="849" y="67"/>
                  <a:pt x="858" y="73"/>
                  <a:pt x="863" y="79"/>
                </a:cubicBezTo>
                <a:cubicBezTo>
                  <a:pt x="869" y="85"/>
                  <a:pt x="872" y="91"/>
                  <a:pt x="872" y="98"/>
                </a:cubicBezTo>
                <a:cubicBezTo>
                  <a:pt x="873" y="98"/>
                  <a:pt x="873" y="98"/>
                  <a:pt x="873" y="98"/>
                </a:cubicBezTo>
                <a:cubicBezTo>
                  <a:pt x="874" y="98"/>
                  <a:pt x="874" y="98"/>
                  <a:pt x="874" y="98"/>
                </a:cubicBezTo>
                <a:cubicBezTo>
                  <a:pt x="874" y="91"/>
                  <a:pt x="871" y="84"/>
                  <a:pt x="865" y="78"/>
                </a:cubicBezTo>
                <a:cubicBezTo>
                  <a:pt x="844" y="55"/>
                  <a:pt x="790" y="36"/>
                  <a:pt x="714" y="22"/>
                </a:cubicBezTo>
                <a:cubicBezTo>
                  <a:pt x="639" y="8"/>
                  <a:pt x="542" y="0"/>
                  <a:pt x="437" y="0"/>
                </a:cubicBezTo>
                <a:cubicBezTo>
                  <a:pt x="317" y="0"/>
                  <a:pt x="208" y="11"/>
                  <a:pt x="129" y="28"/>
                </a:cubicBezTo>
                <a:cubicBezTo>
                  <a:pt x="89" y="37"/>
                  <a:pt x="57" y="47"/>
                  <a:pt x="35" y="59"/>
                </a:cubicBezTo>
                <a:cubicBezTo>
                  <a:pt x="24" y="65"/>
                  <a:pt x="15" y="71"/>
                  <a:pt x="9" y="78"/>
                </a:cubicBezTo>
                <a:cubicBezTo>
                  <a:pt x="3" y="84"/>
                  <a:pt x="0" y="91"/>
                  <a:pt x="0" y="98"/>
                </a:cubicBezTo>
                <a:cubicBezTo>
                  <a:pt x="0" y="105"/>
                  <a:pt x="3" y="112"/>
                  <a:pt x="9" y="118"/>
                </a:cubicBezTo>
                <a:cubicBezTo>
                  <a:pt x="30" y="140"/>
                  <a:pt x="84" y="160"/>
                  <a:pt x="160" y="174"/>
                </a:cubicBezTo>
                <a:cubicBezTo>
                  <a:pt x="235" y="187"/>
                  <a:pt x="332" y="196"/>
                  <a:pt x="437" y="196"/>
                </a:cubicBezTo>
                <a:cubicBezTo>
                  <a:pt x="557" y="196"/>
                  <a:pt x="666" y="185"/>
                  <a:pt x="745" y="167"/>
                </a:cubicBezTo>
                <a:cubicBezTo>
                  <a:pt x="785" y="159"/>
                  <a:pt x="817" y="148"/>
                  <a:pt x="839" y="136"/>
                </a:cubicBezTo>
                <a:cubicBezTo>
                  <a:pt x="850" y="131"/>
                  <a:pt x="859" y="124"/>
                  <a:pt x="865" y="118"/>
                </a:cubicBezTo>
                <a:cubicBezTo>
                  <a:pt x="871" y="112"/>
                  <a:pt x="874" y="105"/>
                  <a:pt x="874" y="98"/>
                </a:cubicBezTo>
                <a:lnTo>
                  <a:pt x="873" y="9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211" name="椭圆 210"/>
          <p:cNvSpPr/>
          <p:nvPr/>
        </p:nvSpPr>
        <p:spPr>
          <a:xfrm>
            <a:off x="4196399" y="4121468"/>
            <a:ext cx="1100137" cy="28575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lIns="68558" tIns="34280" rIns="68558" bIns="34280" anchor="ctr"/>
          <a:lstStyle/>
          <a:p>
            <a:pPr algn="ctr" defTabSz="911225">
              <a:defRPr/>
            </a:pPr>
            <a:endParaRPr lang="zh-CN" altLang="en-US" sz="1600" kern="0">
              <a:solidFill>
                <a:sysClr val="window" lastClr="FFFFFF"/>
              </a:solidFill>
            </a:endParaRPr>
          </a:p>
        </p:txBody>
      </p:sp>
      <p:sp>
        <p:nvSpPr>
          <p:cNvPr id="212" name="Freeform 28"/>
          <p:cNvSpPr/>
          <p:nvPr/>
        </p:nvSpPr>
        <p:spPr bwMode="auto">
          <a:xfrm>
            <a:off x="2897823" y="4011931"/>
            <a:ext cx="698500" cy="174625"/>
          </a:xfrm>
          <a:custGeom>
            <a:avLst/>
            <a:gdLst>
              <a:gd name="T0" fmla="*/ 844 w 846"/>
              <a:gd name="T1" fmla="*/ 96 h 192"/>
              <a:gd name="T2" fmla="*/ 842 w 846"/>
              <a:gd name="T3" fmla="*/ 96 h 192"/>
              <a:gd name="T4" fmla="*/ 834 w 846"/>
              <a:gd name="T5" fmla="*/ 114 h 192"/>
              <a:gd name="T6" fmla="*/ 782 w 846"/>
              <a:gd name="T7" fmla="*/ 143 h 192"/>
              <a:gd name="T8" fmla="*/ 423 w 846"/>
              <a:gd name="T9" fmla="*/ 188 h 192"/>
              <a:gd name="T10" fmla="*/ 126 w 846"/>
              <a:gd name="T11" fmla="*/ 160 h 192"/>
              <a:gd name="T12" fmla="*/ 36 w 846"/>
              <a:gd name="T13" fmla="*/ 131 h 192"/>
              <a:gd name="T14" fmla="*/ 12 w 846"/>
              <a:gd name="T15" fmla="*/ 114 h 192"/>
              <a:gd name="T16" fmla="*/ 4 w 846"/>
              <a:gd name="T17" fmla="*/ 96 h 192"/>
              <a:gd name="T18" fmla="*/ 12 w 846"/>
              <a:gd name="T19" fmla="*/ 79 h 192"/>
              <a:gd name="T20" fmla="*/ 64 w 846"/>
              <a:gd name="T21" fmla="*/ 49 h 192"/>
              <a:gd name="T22" fmla="*/ 423 w 846"/>
              <a:gd name="T23" fmla="*/ 4 h 192"/>
              <a:gd name="T24" fmla="*/ 720 w 846"/>
              <a:gd name="T25" fmla="*/ 32 h 192"/>
              <a:gd name="T26" fmla="*/ 810 w 846"/>
              <a:gd name="T27" fmla="*/ 61 h 192"/>
              <a:gd name="T28" fmla="*/ 834 w 846"/>
              <a:gd name="T29" fmla="*/ 79 h 192"/>
              <a:gd name="T30" fmla="*/ 842 w 846"/>
              <a:gd name="T31" fmla="*/ 96 h 192"/>
              <a:gd name="T32" fmla="*/ 844 w 846"/>
              <a:gd name="T33" fmla="*/ 96 h 192"/>
              <a:gd name="T34" fmla="*/ 846 w 846"/>
              <a:gd name="T35" fmla="*/ 96 h 192"/>
              <a:gd name="T36" fmla="*/ 837 w 846"/>
              <a:gd name="T37" fmla="*/ 76 h 192"/>
              <a:gd name="T38" fmla="*/ 784 w 846"/>
              <a:gd name="T39" fmla="*/ 46 h 192"/>
              <a:gd name="T40" fmla="*/ 423 w 846"/>
              <a:gd name="T41" fmla="*/ 0 h 192"/>
              <a:gd name="T42" fmla="*/ 125 w 846"/>
              <a:gd name="T43" fmla="*/ 28 h 192"/>
              <a:gd name="T44" fmla="*/ 34 w 846"/>
              <a:gd name="T45" fmla="*/ 58 h 192"/>
              <a:gd name="T46" fmla="*/ 9 w 846"/>
              <a:gd name="T47" fmla="*/ 76 h 192"/>
              <a:gd name="T48" fmla="*/ 0 w 846"/>
              <a:gd name="T49" fmla="*/ 96 h 192"/>
              <a:gd name="T50" fmla="*/ 9 w 846"/>
              <a:gd name="T51" fmla="*/ 116 h 192"/>
              <a:gd name="T52" fmla="*/ 62 w 846"/>
              <a:gd name="T53" fmla="*/ 147 h 192"/>
              <a:gd name="T54" fmla="*/ 423 w 846"/>
              <a:gd name="T55" fmla="*/ 192 h 192"/>
              <a:gd name="T56" fmla="*/ 721 w 846"/>
              <a:gd name="T57" fmla="*/ 164 h 192"/>
              <a:gd name="T58" fmla="*/ 812 w 846"/>
              <a:gd name="T59" fmla="*/ 134 h 192"/>
              <a:gd name="T60" fmla="*/ 837 w 846"/>
              <a:gd name="T61" fmla="*/ 116 h 192"/>
              <a:gd name="T62" fmla="*/ 846 w 846"/>
              <a:gd name="T63" fmla="*/ 96 h 192"/>
              <a:gd name="T64" fmla="*/ 844 w 846"/>
              <a:gd name="T65" fmla="*/ 9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846" h="192">
                <a:moveTo>
                  <a:pt x="844" y="96"/>
                </a:moveTo>
                <a:cubicBezTo>
                  <a:pt x="842" y="96"/>
                  <a:pt x="842" y="96"/>
                  <a:pt x="842" y="96"/>
                </a:cubicBezTo>
                <a:cubicBezTo>
                  <a:pt x="842" y="102"/>
                  <a:pt x="839" y="108"/>
                  <a:pt x="834" y="114"/>
                </a:cubicBezTo>
                <a:cubicBezTo>
                  <a:pt x="824" y="124"/>
                  <a:pt x="807" y="134"/>
                  <a:pt x="782" y="143"/>
                </a:cubicBezTo>
                <a:cubicBezTo>
                  <a:pt x="709" y="170"/>
                  <a:pt x="575" y="188"/>
                  <a:pt x="423" y="188"/>
                </a:cubicBezTo>
                <a:cubicBezTo>
                  <a:pt x="307" y="188"/>
                  <a:pt x="202" y="177"/>
                  <a:pt x="126" y="160"/>
                </a:cubicBezTo>
                <a:cubicBezTo>
                  <a:pt x="88" y="152"/>
                  <a:pt x="57" y="142"/>
                  <a:pt x="36" y="131"/>
                </a:cubicBezTo>
                <a:cubicBezTo>
                  <a:pt x="26" y="125"/>
                  <a:pt x="18" y="119"/>
                  <a:pt x="12" y="114"/>
                </a:cubicBezTo>
                <a:cubicBezTo>
                  <a:pt x="7" y="108"/>
                  <a:pt x="4" y="102"/>
                  <a:pt x="4" y="96"/>
                </a:cubicBezTo>
                <a:cubicBezTo>
                  <a:pt x="4" y="90"/>
                  <a:pt x="7" y="84"/>
                  <a:pt x="12" y="79"/>
                </a:cubicBezTo>
                <a:cubicBezTo>
                  <a:pt x="22" y="68"/>
                  <a:pt x="39" y="58"/>
                  <a:pt x="64" y="49"/>
                </a:cubicBezTo>
                <a:cubicBezTo>
                  <a:pt x="137" y="22"/>
                  <a:pt x="271" y="4"/>
                  <a:pt x="423" y="4"/>
                </a:cubicBezTo>
                <a:cubicBezTo>
                  <a:pt x="539" y="4"/>
                  <a:pt x="644" y="15"/>
                  <a:pt x="720" y="32"/>
                </a:cubicBezTo>
                <a:cubicBezTo>
                  <a:pt x="758" y="40"/>
                  <a:pt x="789" y="50"/>
                  <a:pt x="810" y="61"/>
                </a:cubicBezTo>
                <a:cubicBezTo>
                  <a:pt x="820" y="67"/>
                  <a:pt x="828" y="73"/>
                  <a:pt x="834" y="79"/>
                </a:cubicBezTo>
                <a:cubicBezTo>
                  <a:pt x="839" y="84"/>
                  <a:pt x="842" y="90"/>
                  <a:pt x="842" y="96"/>
                </a:cubicBezTo>
                <a:cubicBezTo>
                  <a:pt x="844" y="96"/>
                  <a:pt x="844" y="96"/>
                  <a:pt x="844" y="96"/>
                </a:cubicBezTo>
                <a:cubicBezTo>
                  <a:pt x="846" y="96"/>
                  <a:pt x="846" y="96"/>
                  <a:pt x="846" y="96"/>
                </a:cubicBezTo>
                <a:cubicBezTo>
                  <a:pt x="846" y="89"/>
                  <a:pt x="843" y="82"/>
                  <a:pt x="837" y="76"/>
                </a:cubicBezTo>
                <a:cubicBezTo>
                  <a:pt x="827" y="65"/>
                  <a:pt x="808" y="55"/>
                  <a:pt x="784" y="46"/>
                </a:cubicBezTo>
                <a:cubicBezTo>
                  <a:pt x="709" y="18"/>
                  <a:pt x="576" y="0"/>
                  <a:pt x="423" y="0"/>
                </a:cubicBezTo>
                <a:cubicBezTo>
                  <a:pt x="307" y="0"/>
                  <a:pt x="201" y="11"/>
                  <a:pt x="125" y="28"/>
                </a:cubicBezTo>
                <a:cubicBezTo>
                  <a:pt x="87" y="36"/>
                  <a:pt x="56" y="47"/>
                  <a:pt x="34" y="58"/>
                </a:cubicBezTo>
                <a:cubicBezTo>
                  <a:pt x="23" y="64"/>
                  <a:pt x="15" y="70"/>
                  <a:pt x="9" y="76"/>
                </a:cubicBezTo>
                <a:cubicBezTo>
                  <a:pt x="3" y="82"/>
                  <a:pt x="0" y="89"/>
                  <a:pt x="0" y="96"/>
                </a:cubicBezTo>
                <a:cubicBezTo>
                  <a:pt x="0" y="103"/>
                  <a:pt x="3" y="110"/>
                  <a:pt x="9" y="116"/>
                </a:cubicBezTo>
                <a:cubicBezTo>
                  <a:pt x="19" y="127"/>
                  <a:pt x="38" y="137"/>
                  <a:pt x="62" y="147"/>
                </a:cubicBezTo>
                <a:cubicBezTo>
                  <a:pt x="137" y="174"/>
                  <a:pt x="270" y="192"/>
                  <a:pt x="423" y="192"/>
                </a:cubicBezTo>
                <a:cubicBezTo>
                  <a:pt x="539" y="192"/>
                  <a:pt x="645" y="181"/>
                  <a:pt x="721" y="164"/>
                </a:cubicBezTo>
                <a:cubicBezTo>
                  <a:pt x="759" y="156"/>
                  <a:pt x="790" y="146"/>
                  <a:pt x="812" y="134"/>
                </a:cubicBezTo>
                <a:cubicBezTo>
                  <a:pt x="822" y="129"/>
                  <a:pt x="831" y="123"/>
                  <a:pt x="837" y="116"/>
                </a:cubicBezTo>
                <a:cubicBezTo>
                  <a:pt x="843" y="110"/>
                  <a:pt x="846" y="103"/>
                  <a:pt x="846" y="96"/>
                </a:cubicBezTo>
                <a:cubicBezTo>
                  <a:pt x="844" y="96"/>
                  <a:pt x="844" y="96"/>
                  <a:pt x="844" y="9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213" name="Freeform 28"/>
          <p:cNvSpPr/>
          <p:nvPr/>
        </p:nvSpPr>
        <p:spPr bwMode="auto">
          <a:xfrm>
            <a:off x="2902585" y="3981768"/>
            <a:ext cx="693738" cy="173037"/>
          </a:xfrm>
          <a:custGeom>
            <a:avLst/>
            <a:gdLst>
              <a:gd name="T0" fmla="*/ 844 w 846"/>
              <a:gd name="T1" fmla="*/ 96 h 192"/>
              <a:gd name="T2" fmla="*/ 842 w 846"/>
              <a:gd name="T3" fmla="*/ 96 h 192"/>
              <a:gd name="T4" fmla="*/ 834 w 846"/>
              <a:gd name="T5" fmla="*/ 114 h 192"/>
              <a:gd name="T6" fmla="*/ 782 w 846"/>
              <a:gd name="T7" fmla="*/ 143 h 192"/>
              <a:gd name="T8" fmla="*/ 423 w 846"/>
              <a:gd name="T9" fmla="*/ 188 h 192"/>
              <a:gd name="T10" fmla="*/ 126 w 846"/>
              <a:gd name="T11" fmla="*/ 160 h 192"/>
              <a:gd name="T12" fmla="*/ 36 w 846"/>
              <a:gd name="T13" fmla="*/ 131 h 192"/>
              <a:gd name="T14" fmla="*/ 12 w 846"/>
              <a:gd name="T15" fmla="*/ 114 h 192"/>
              <a:gd name="T16" fmla="*/ 4 w 846"/>
              <a:gd name="T17" fmla="*/ 96 h 192"/>
              <a:gd name="T18" fmla="*/ 12 w 846"/>
              <a:gd name="T19" fmla="*/ 79 h 192"/>
              <a:gd name="T20" fmla="*/ 64 w 846"/>
              <a:gd name="T21" fmla="*/ 49 h 192"/>
              <a:gd name="T22" fmla="*/ 423 w 846"/>
              <a:gd name="T23" fmla="*/ 4 h 192"/>
              <a:gd name="T24" fmla="*/ 720 w 846"/>
              <a:gd name="T25" fmla="*/ 32 h 192"/>
              <a:gd name="T26" fmla="*/ 810 w 846"/>
              <a:gd name="T27" fmla="*/ 61 h 192"/>
              <a:gd name="T28" fmla="*/ 834 w 846"/>
              <a:gd name="T29" fmla="*/ 79 h 192"/>
              <a:gd name="T30" fmla="*/ 842 w 846"/>
              <a:gd name="T31" fmla="*/ 96 h 192"/>
              <a:gd name="T32" fmla="*/ 844 w 846"/>
              <a:gd name="T33" fmla="*/ 96 h 192"/>
              <a:gd name="T34" fmla="*/ 846 w 846"/>
              <a:gd name="T35" fmla="*/ 96 h 192"/>
              <a:gd name="T36" fmla="*/ 837 w 846"/>
              <a:gd name="T37" fmla="*/ 76 h 192"/>
              <a:gd name="T38" fmla="*/ 784 w 846"/>
              <a:gd name="T39" fmla="*/ 46 h 192"/>
              <a:gd name="T40" fmla="*/ 423 w 846"/>
              <a:gd name="T41" fmla="*/ 0 h 192"/>
              <a:gd name="T42" fmla="*/ 125 w 846"/>
              <a:gd name="T43" fmla="*/ 28 h 192"/>
              <a:gd name="T44" fmla="*/ 34 w 846"/>
              <a:gd name="T45" fmla="*/ 58 h 192"/>
              <a:gd name="T46" fmla="*/ 9 w 846"/>
              <a:gd name="T47" fmla="*/ 76 h 192"/>
              <a:gd name="T48" fmla="*/ 0 w 846"/>
              <a:gd name="T49" fmla="*/ 96 h 192"/>
              <a:gd name="T50" fmla="*/ 9 w 846"/>
              <a:gd name="T51" fmla="*/ 116 h 192"/>
              <a:gd name="T52" fmla="*/ 62 w 846"/>
              <a:gd name="T53" fmla="*/ 147 h 192"/>
              <a:gd name="T54" fmla="*/ 423 w 846"/>
              <a:gd name="T55" fmla="*/ 192 h 192"/>
              <a:gd name="T56" fmla="*/ 721 w 846"/>
              <a:gd name="T57" fmla="*/ 164 h 192"/>
              <a:gd name="T58" fmla="*/ 812 w 846"/>
              <a:gd name="T59" fmla="*/ 134 h 192"/>
              <a:gd name="T60" fmla="*/ 837 w 846"/>
              <a:gd name="T61" fmla="*/ 116 h 192"/>
              <a:gd name="T62" fmla="*/ 846 w 846"/>
              <a:gd name="T63" fmla="*/ 96 h 192"/>
              <a:gd name="T64" fmla="*/ 844 w 846"/>
              <a:gd name="T65" fmla="*/ 9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846" h="192">
                <a:moveTo>
                  <a:pt x="844" y="96"/>
                </a:moveTo>
                <a:cubicBezTo>
                  <a:pt x="842" y="96"/>
                  <a:pt x="842" y="96"/>
                  <a:pt x="842" y="96"/>
                </a:cubicBezTo>
                <a:cubicBezTo>
                  <a:pt x="842" y="102"/>
                  <a:pt x="839" y="108"/>
                  <a:pt x="834" y="114"/>
                </a:cubicBezTo>
                <a:cubicBezTo>
                  <a:pt x="824" y="124"/>
                  <a:pt x="807" y="134"/>
                  <a:pt x="782" y="143"/>
                </a:cubicBezTo>
                <a:cubicBezTo>
                  <a:pt x="709" y="170"/>
                  <a:pt x="575" y="188"/>
                  <a:pt x="423" y="188"/>
                </a:cubicBezTo>
                <a:cubicBezTo>
                  <a:pt x="307" y="188"/>
                  <a:pt x="202" y="177"/>
                  <a:pt x="126" y="160"/>
                </a:cubicBezTo>
                <a:cubicBezTo>
                  <a:pt x="88" y="152"/>
                  <a:pt x="57" y="142"/>
                  <a:pt x="36" y="131"/>
                </a:cubicBezTo>
                <a:cubicBezTo>
                  <a:pt x="26" y="125"/>
                  <a:pt x="18" y="119"/>
                  <a:pt x="12" y="114"/>
                </a:cubicBezTo>
                <a:cubicBezTo>
                  <a:pt x="7" y="108"/>
                  <a:pt x="4" y="102"/>
                  <a:pt x="4" y="96"/>
                </a:cubicBezTo>
                <a:cubicBezTo>
                  <a:pt x="4" y="90"/>
                  <a:pt x="7" y="84"/>
                  <a:pt x="12" y="79"/>
                </a:cubicBezTo>
                <a:cubicBezTo>
                  <a:pt x="22" y="68"/>
                  <a:pt x="39" y="58"/>
                  <a:pt x="64" y="49"/>
                </a:cubicBezTo>
                <a:cubicBezTo>
                  <a:pt x="137" y="22"/>
                  <a:pt x="271" y="4"/>
                  <a:pt x="423" y="4"/>
                </a:cubicBezTo>
                <a:cubicBezTo>
                  <a:pt x="539" y="4"/>
                  <a:pt x="644" y="15"/>
                  <a:pt x="720" y="32"/>
                </a:cubicBezTo>
                <a:cubicBezTo>
                  <a:pt x="758" y="40"/>
                  <a:pt x="789" y="50"/>
                  <a:pt x="810" y="61"/>
                </a:cubicBezTo>
                <a:cubicBezTo>
                  <a:pt x="820" y="67"/>
                  <a:pt x="828" y="73"/>
                  <a:pt x="834" y="79"/>
                </a:cubicBezTo>
                <a:cubicBezTo>
                  <a:pt x="839" y="84"/>
                  <a:pt x="842" y="90"/>
                  <a:pt x="842" y="96"/>
                </a:cubicBezTo>
                <a:cubicBezTo>
                  <a:pt x="844" y="96"/>
                  <a:pt x="844" y="96"/>
                  <a:pt x="844" y="96"/>
                </a:cubicBezTo>
                <a:cubicBezTo>
                  <a:pt x="846" y="96"/>
                  <a:pt x="846" y="96"/>
                  <a:pt x="846" y="96"/>
                </a:cubicBezTo>
                <a:cubicBezTo>
                  <a:pt x="846" y="89"/>
                  <a:pt x="843" y="82"/>
                  <a:pt x="837" y="76"/>
                </a:cubicBezTo>
                <a:cubicBezTo>
                  <a:pt x="827" y="65"/>
                  <a:pt x="808" y="55"/>
                  <a:pt x="784" y="46"/>
                </a:cubicBezTo>
                <a:cubicBezTo>
                  <a:pt x="709" y="18"/>
                  <a:pt x="576" y="0"/>
                  <a:pt x="423" y="0"/>
                </a:cubicBezTo>
                <a:cubicBezTo>
                  <a:pt x="307" y="0"/>
                  <a:pt x="201" y="11"/>
                  <a:pt x="125" y="28"/>
                </a:cubicBezTo>
                <a:cubicBezTo>
                  <a:pt x="87" y="36"/>
                  <a:pt x="56" y="47"/>
                  <a:pt x="34" y="58"/>
                </a:cubicBezTo>
                <a:cubicBezTo>
                  <a:pt x="23" y="64"/>
                  <a:pt x="15" y="70"/>
                  <a:pt x="9" y="76"/>
                </a:cubicBezTo>
                <a:cubicBezTo>
                  <a:pt x="3" y="82"/>
                  <a:pt x="0" y="89"/>
                  <a:pt x="0" y="96"/>
                </a:cubicBezTo>
                <a:cubicBezTo>
                  <a:pt x="0" y="103"/>
                  <a:pt x="3" y="110"/>
                  <a:pt x="9" y="116"/>
                </a:cubicBezTo>
                <a:cubicBezTo>
                  <a:pt x="19" y="127"/>
                  <a:pt x="38" y="137"/>
                  <a:pt x="62" y="147"/>
                </a:cubicBezTo>
                <a:cubicBezTo>
                  <a:pt x="137" y="174"/>
                  <a:pt x="270" y="192"/>
                  <a:pt x="423" y="192"/>
                </a:cubicBezTo>
                <a:cubicBezTo>
                  <a:pt x="539" y="192"/>
                  <a:pt x="645" y="181"/>
                  <a:pt x="721" y="164"/>
                </a:cubicBezTo>
                <a:cubicBezTo>
                  <a:pt x="759" y="156"/>
                  <a:pt x="790" y="146"/>
                  <a:pt x="812" y="134"/>
                </a:cubicBezTo>
                <a:cubicBezTo>
                  <a:pt x="822" y="129"/>
                  <a:pt x="831" y="123"/>
                  <a:pt x="837" y="116"/>
                </a:cubicBezTo>
                <a:cubicBezTo>
                  <a:pt x="843" y="110"/>
                  <a:pt x="846" y="103"/>
                  <a:pt x="846" y="96"/>
                </a:cubicBezTo>
                <a:cubicBezTo>
                  <a:pt x="844" y="96"/>
                  <a:pt x="844" y="96"/>
                  <a:pt x="844" y="9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68558" tIns="34280" rIns="68558" bIns="34280"/>
          <a:lstStyle/>
          <a:p>
            <a:pPr defTabSz="911225">
              <a:defRPr/>
            </a:pPr>
            <a:endParaRPr lang="zh-CN" altLang="en-US" sz="1600" kern="0">
              <a:solidFill>
                <a:sysClr val="windowText" lastClr="000000"/>
              </a:solidFill>
            </a:endParaRPr>
          </a:p>
        </p:txBody>
      </p:sp>
      <p:sp>
        <p:nvSpPr>
          <p:cNvPr id="214" name="矩形 213"/>
          <p:cNvSpPr/>
          <p:nvPr/>
        </p:nvSpPr>
        <p:spPr>
          <a:xfrm>
            <a:off x="4269423" y="4119881"/>
            <a:ext cx="906462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68558" tIns="34280" rIns="68558" bIns="34280" anchor="ctr"/>
          <a:lstStyle/>
          <a:p>
            <a:pPr algn="ctr" defTabSz="911225">
              <a:defRPr/>
            </a:pPr>
            <a:r>
              <a:rPr lang="en-US" altLang="zh-CN" sz="1100" b="1" kern="0" dirty="0">
                <a:solidFill>
                  <a:srgbClr val="2154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100" b="1" kern="0" dirty="0">
                <a:solidFill>
                  <a:srgbClr val="2154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</a:t>
            </a:r>
            <a:endParaRPr lang="zh-CN" altLang="en-US" sz="1100" b="1" kern="0" dirty="0">
              <a:solidFill>
                <a:srgbClr val="2154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911225">
              <a:defRPr/>
            </a:pPr>
            <a:r>
              <a:rPr lang="zh-CN" altLang="en-US" sz="1100" b="1" kern="0" dirty="0">
                <a:solidFill>
                  <a:srgbClr val="2154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架构体系</a:t>
            </a:r>
            <a:endParaRPr lang="zh-CN" altLang="en-US" sz="1100" b="1" kern="0" dirty="0">
              <a:solidFill>
                <a:srgbClr val="2154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5" name="矩形 214"/>
          <p:cNvSpPr/>
          <p:nvPr/>
        </p:nvSpPr>
        <p:spPr>
          <a:xfrm>
            <a:off x="2844165" y="3956685"/>
            <a:ext cx="934085" cy="21399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68558" tIns="34280" rIns="68558" bIns="34280" anchor="ctr"/>
          <a:lstStyle/>
          <a:p>
            <a:pPr algn="ctr" defTabSz="911225">
              <a:defRPr/>
            </a:pPr>
            <a:r>
              <a:rPr lang="zh-CN" altLang="en-US" sz="1100" b="1" kern="0" dirty="0">
                <a:solidFill>
                  <a:srgbClr val="2154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数据模块</a:t>
            </a:r>
            <a:endParaRPr lang="zh-CN" altLang="en-US" sz="1100" b="1" kern="0" dirty="0">
              <a:solidFill>
                <a:srgbClr val="2154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2405698" y="4354831"/>
            <a:ext cx="806450" cy="2159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68558" tIns="34280" rIns="68558" bIns="34280" anchor="ctr"/>
          <a:lstStyle/>
          <a:p>
            <a:pPr algn="ctr" defTabSz="911225">
              <a:defRPr/>
            </a:pPr>
            <a:r>
              <a:rPr lang="zh-CN" altLang="en-US" sz="1100" b="1" kern="0" dirty="0">
                <a:solidFill>
                  <a:srgbClr val="2154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分析</a:t>
            </a:r>
            <a:endParaRPr lang="zh-CN" altLang="en-US" sz="1100" b="1" kern="0" dirty="0">
              <a:solidFill>
                <a:srgbClr val="2154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7" name="矩形 216"/>
          <p:cNvSpPr/>
          <p:nvPr/>
        </p:nvSpPr>
        <p:spPr>
          <a:xfrm>
            <a:off x="6311265" y="4398010"/>
            <a:ext cx="906780" cy="2159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68558" tIns="34280" rIns="68558" bIns="34280" anchor="ctr"/>
          <a:lstStyle/>
          <a:p>
            <a:pPr algn="ctr" defTabSz="911225">
              <a:defRPr/>
            </a:pPr>
            <a:r>
              <a:rPr lang="zh-CN" altLang="en-US" sz="1100" b="1" kern="0" dirty="0">
                <a:solidFill>
                  <a:srgbClr val="2154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网关</a:t>
            </a:r>
            <a:endParaRPr lang="zh-CN" altLang="en-US" sz="1100" b="1" kern="0" dirty="0">
              <a:solidFill>
                <a:srgbClr val="2154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8" name="矩形 217"/>
          <p:cNvSpPr/>
          <p:nvPr/>
        </p:nvSpPr>
        <p:spPr>
          <a:xfrm>
            <a:off x="5834699" y="3967481"/>
            <a:ext cx="808037" cy="21431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68558" tIns="34280" rIns="68558" bIns="34280" anchor="ctr"/>
          <a:lstStyle/>
          <a:p>
            <a:pPr algn="ctr" defTabSz="911225">
              <a:defRPr/>
            </a:pPr>
            <a:r>
              <a:rPr lang="zh-CN" altLang="en-US" sz="1100" b="1" kern="0" dirty="0">
                <a:solidFill>
                  <a:srgbClr val="4F81BD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容器服务</a:t>
            </a:r>
            <a:endParaRPr lang="zh-CN" altLang="en-US" sz="1100" b="1" kern="0" dirty="0">
              <a:solidFill>
                <a:srgbClr val="4F81BD">
                  <a:lumMod val="5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右箭头 8"/>
          <p:cNvSpPr/>
          <p:nvPr/>
        </p:nvSpPr>
        <p:spPr>
          <a:xfrm>
            <a:off x="8058786" y="4294505"/>
            <a:ext cx="111125" cy="209550"/>
          </a:xfrm>
          <a:prstGeom prst="rightArrow">
            <a:avLst/>
          </a:prstGeom>
          <a:solidFill>
            <a:srgbClr val="4F81BD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91411" tIns="45706" rIns="91411" bIns="45706" anchor="ctr"/>
          <a:lstStyle/>
          <a:p>
            <a:pPr algn="ctr" defTabSz="911225">
              <a:defRPr/>
            </a:pPr>
            <a:endParaRPr lang="zh-CN" altLang="en-US" sz="3200" kern="0">
              <a:solidFill>
                <a:prstClr val="white"/>
              </a:solidFill>
            </a:endParaRPr>
          </a:p>
        </p:txBody>
      </p:sp>
      <p:pic>
        <p:nvPicPr>
          <p:cNvPr id="13" name="Picture 27" descr="男博士图标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9655" y="1569720"/>
            <a:ext cx="727075" cy="72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图片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96640" y="1548765"/>
            <a:ext cx="600075" cy="781685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79615" y="1462405"/>
            <a:ext cx="874395" cy="858520"/>
          </a:xfrm>
          <a:prstGeom prst="rect">
            <a:avLst/>
          </a:prstGeom>
        </p:spPr>
      </p:pic>
      <p:pic>
        <p:nvPicPr>
          <p:cNvPr id="60" name="图片 5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145" y="1564005"/>
            <a:ext cx="732790" cy="732790"/>
          </a:xfrm>
          <a:prstGeom prst="rect">
            <a:avLst/>
          </a:prstGeom>
        </p:spPr>
      </p:pic>
      <p:sp>
        <p:nvSpPr>
          <p:cNvPr id="82" name="文本框 47"/>
          <p:cNvSpPr txBox="1"/>
          <p:nvPr/>
        </p:nvSpPr>
        <p:spPr>
          <a:xfrm>
            <a:off x="148319" y="441364"/>
            <a:ext cx="8657015" cy="701675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户角色为导向：</a:t>
            </a:r>
            <a:r>
              <a:rPr lang="zh-CN" altLang="en-US" sz="16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适应不同用户角色，快捷使用</a:t>
            </a:r>
            <a:endParaRPr lang="en-US" altLang="zh-CN" sz="16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 indent="0">
              <a:lnSpc>
                <a:spcPct val="150000"/>
              </a:lnSpc>
              <a:buFont typeface="Wingdings" panose="05000000000000000000" pitchFamily="2" charset="2"/>
              <a:buNone/>
            </a:pPr>
            <a:r>
              <a:rPr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面向不同类型的客户，能够方便，快捷，有效的使用</a:t>
            </a:r>
            <a:r>
              <a:rPr lang="en-US" altLang="zh-CN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，实现工业</a:t>
            </a:r>
            <a:r>
              <a:rPr lang="en-US" altLang="zh-CN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0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定义，开发，发布，部署，浏览，落地一体化功能</a:t>
            </a:r>
            <a:endParaRPr lang="zh-CN" altLang="en-US" sz="10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矩形: 圆角 114"/>
          <p:cNvSpPr/>
          <p:nvPr/>
        </p:nvSpPr>
        <p:spPr>
          <a:xfrm>
            <a:off x="383540" y="1463040"/>
            <a:ext cx="2110740" cy="2428875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1050"/>
          </a:p>
        </p:txBody>
      </p:sp>
      <p:grpSp>
        <p:nvGrpSpPr>
          <p:cNvPr id="22" name="组合 10"/>
          <p:cNvGrpSpPr/>
          <p:nvPr/>
        </p:nvGrpSpPr>
        <p:grpSpPr bwMode="auto">
          <a:xfrm>
            <a:off x="568960" y="2330450"/>
            <a:ext cx="1471930" cy="285115"/>
            <a:chOff x="2714615" y="2000236"/>
            <a:chExt cx="5241046" cy="598243"/>
          </a:xfrm>
        </p:grpSpPr>
        <p:sp>
          <p:nvSpPr>
            <p:cNvPr id="23" name="AutoShape 13"/>
            <p:cNvSpPr>
              <a:spLocks noChangeArrowheads="1"/>
            </p:cNvSpPr>
            <p:nvPr/>
          </p:nvSpPr>
          <p:spPr bwMode="gray">
            <a:xfrm>
              <a:off x="3059101" y="2000236"/>
              <a:ext cx="4320000" cy="5000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C0504D">
                    <a:lumMod val="60000"/>
                    <a:lumOff val="40000"/>
                  </a:srgbClr>
                </a:gs>
                <a:gs pos="100000">
                  <a:srgbClr val="895FDB">
                    <a:alpha val="0"/>
                  </a:srgbClr>
                </a:gs>
              </a:gsLst>
              <a:lin ang="0" scaled="1"/>
              <a:tileRect/>
            </a:gradFill>
            <a:ln w="9525" algn="ctr">
              <a:noFill/>
              <a:rou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anchor="ctr"/>
            <a:p>
              <a:pPr>
                <a:defRPr/>
              </a:pPr>
              <a:endParaRPr lang="zh-CN" altLang="en-US" sz="900" kern="0" dirty="0">
                <a:solidFill>
                  <a:sysClr val="windowText" lastClr="000000"/>
                </a:solidFill>
                <a:latin typeface="仿宋_GB2312" pitchFamily="49" charset="-122"/>
                <a:ea typeface="仿宋_GB2312" pitchFamily="49" charset="-122"/>
              </a:endParaRPr>
            </a:p>
          </p:txBody>
        </p:sp>
        <p:sp>
          <p:nvSpPr>
            <p:cNvPr id="24" name="Text Box 14"/>
            <p:cNvSpPr txBox="1">
              <a:spLocks noChangeArrowheads="1"/>
            </p:cNvSpPr>
            <p:nvPr/>
          </p:nvSpPr>
          <p:spPr bwMode="blackWhite">
            <a:xfrm>
              <a:off x="3824776" y="2116154"/>
              <a:ext cx="4130885" cy="482325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wrap="square">
              <a:spAutoFit/>
            </a:bodyPr>
            <a:p>
              <a:r>
                <a:rPr lang="zh-CN" altLang="en-US" sz="900" b="1" dirty="0" smtClean="0"/>
                <a:t>平台管理</a:t>
              </a:r>
              <a:endParaRPr lang="zh-CN" altLang="en-US" sz="900" b="1" dirty="0" smtClean="0"/>
            </a:p>
          </p:txBody>
        </p:sp>
        <p:grpSp>
          <p:nvGrpSpPr>
            <p:cNvPr id="25" name="Group 15"/>
            <p:cNvGrpSpPr/>
            <p:nvPr/>
          </p:nvGrpSpPr>
          <p:grpSpPr bwMode="auto">
            <a:xfrm>
              <a:off x="2714615" y="2000236"/>
              <a:ext cx="455613" cy="501649"/>
              <a:chOff x="980" y="1388"/>
              <a:chExt cx="287" cy="316"/>
            </a:xfrm>
          </p:grpSpPr>
          <p:sp>
            <p:nvSpPr>
              <p:cNvPr id="26" name="Oval 17"/>
              <p:cNvSpPr>
                <a:spLocks noChangeArrowheads="1"/>
              </p:cNvSpPr>
              <p:nvPr/>
            </p:nvSpPr>
            <p:spPr bwMode="gray">
              <a:xfrm>
                <a:off x="1028" y="1461"/>
                <a:ext cx="220" cy="220"/>
              </a:xfrm>
              <a:prstGeom prst="ellipse">
                <a:avLst/>
              </a:prstGeom>
              <a:solidFill>
                <a:srgbClr val="FFFFFF">
                  <a:alpha val="10196"/>
                </a:srgbClr>
              </a:solidFill>
              <a:ln w="9525" algn="ctr">
                <a:noFill/>
                <a:round/>
              </a:ln>
            </p:spPr>
            <p:txBody>
              <a:bodyPr wrap="none" anchor="ctr"/>
              <a:p>
                <a:pPr>
                  <a:defRPr/>
                </a:pPr>
                <a:endParaRPr lang="zh-CN" altLang="en-US" sz="900" kern="0" dirty="0">
                  <a:solidFill>
                    <a:sysClr val="windowText" lastClr="000000"/>
                  </a:solidFill>
                  <a:latin typeface="仿宋_GB2312" pitchFamily="49" charset="-122"/>
                  <a:ea typeface="仿宋_GB2312" pitchFamily="49" charset="-122"/>
                </a:endParaRPr>
              </a:p>
            </p:txBody>
          </p:sp>
          <p:sp>
            <p:nvSpPr>
              <p:cNvPr id="27" name="Oval 16"/>
              <p:cNvSpPr>
                <a:spLocks noChangeArrowheads="1"/>
              </p:cNvSpPr>
              <p:nvPr/>
            </p:nvSpPr>
            <p:spPr bwMode="gray">
              <a:xfrm>
                <a:off x="980" y="1388"/>
                <a:ext cx="287" cy="316"/>
              </a:xfrm>
              <a:prstGeom prst="ellipse">
                <a:avLst/>
              </a:prstGeom>
              <a:solidFill>
                <a:srgbClr val="C0504D">
                  <a:lumMod val="60000"/>
                  <a:lumOff val="40000"/>
                  <a:alpha val="50000"/>
                </a:srgbClr>
              </a:solidFill>
              <a:ln w="9525" algn="ctr">
                <a:noFill/>
                <a:round/>
              </a:ln>
              <a:effectLst/>
              <a:scene3d>
                <a:camera prst="orthographicFront">
                  <a:rot lat="0" lon="0" rev="0"/>
                </a:camera>
                <a:lightRig rig="contrasting" dir="t">
                  <a:rot lat="0" lon="0" rev="7800000"/>
                </a:lightRig>
              </a:scene3d>
              <a:sp3d>
                <a:bevelT w="139700" h="139700"/>
              </a:sp3d>
            </p:spPr>
            <p:txBody>
              <a:bodyPr wrap="none" anchor="ctr"/>
              <a:p>
                <a:pPr>
                  <a:defRPr/>
                </a:pPr>
                <a:endParaRPr lang="zh-CN" altLang="en-US" sz="900" kern="0" dirty="0">
                  <a:solidFill>
                    <a:sysClr val="windowText" lastClr="000000"/>
                  </a:solidFill>
                  <a:latin typeface="仿宋_GB2312" pitchFamily="49" charset="-122"/>
                  <a:ea typeface="仿宋_GB2312" pitchFamily="49" charset="-122"/>
                </a:endParaRPr>
              </a:p>
            </p:txBody>
          </p:sp>
        </p:grpSp>
      </p:grpSp>
      <p:sp>
        <p:nvSpPr>
          <p:cNvPr id="11" name="矩形: 圆角 114"/>
          <p:cNvSpPr/>
          <p:nvPr/>
        </p:nvSpPr>
        <p:spPr>
          <a:xfrm>
            <a:off x="3064510" y="1356995"/>
            <a:ext cx="2978785" cy="2428875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1050"/>
          </a:p>
        </p:txBody>
      </p:sp>
      <p:sp>
        <p:nvSpPr>
          <p:cNvPr id="12" name="矩形: 圆角 114"/>
          <p:cNvSpPr/>
          <p:nvPr/>
        </p:nvSpPr>
        <p:spPr>
          <a:xfrm>
            <a:off x="6626860" y="1286510"/>
            <a:ext cx="2110740" cy="2428875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1050"/>
          </a:p>
        </p:txBody>
      </p:sp>
      <p:grpSp>
        <p:nvGrpSpPr>
          <p:cNvPr id="14" name="组合 10"/>
          <p:cNvGrpSpPr/>
          <p:nvPr/>
        </p:nvGrpSpPr>
        <p:grpSpPr bwMode="auto">
          <a:xfrm>
            <a:off x="3227070" y="2365375"/>
            <a:ext cx="1471930" cy="285115"/>
            <a:chOff x="2714615" y="2000236"/>
            <a:chExt cx="5241046" cy="598243"/>
          </a:xfrm>
        </p:grpSpPr>
        <p:sp>
          <p:nvSpPr>
            <p:cNvPr id="15" name="AutoShape 13"/>
            <p:cNvSpPr>
              <a:spLocks noChangeArrowheads="1"/>
            </p:cNvSpPr>
            <p:nvPr/>
          </p:nvSpPr>
          <p:spPr bwMode="gray">
            <a:xfrm>
              <a:off x="3059101" y="2000236"/>
              <a:ext cx="4320000" cy="5000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C0504D">
                    <a:lumMod val="60000"/>
                    <a:lumOff val="40000"/>
                  </a:srgbClr>
                </a:gs>
                <a:gs pos="100000">
                  <a:srgbClr val="895FDB">
                    <a:alpha val="0"/>
                  </a:srgbClr>
                </a:gs>
              </a:gsLst>
              <a:lin ang="0" scaled="1"/>
              <a:tileRect/>
            </a:gradFill>
            <a:ln w="9525" algn="ctr">
              <a:noFill/>
              <a:rou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anchor="ctr"/>
            <a:p>
              <a:pPr>
                <a:defRPr/>
              </a:pPr>
              <a:endParaRPr lang="zh-CN" altLang="en-US" sz="900" kern="0" dirty="0">
                <a:solidFill>
                  <a:sysClr val="windowText" lastClr="000000"/>
                </a:solidFill>
                <a:latin typeface="仿宋_GB2312" pitchFamily="49" charset="-122"/>
                <a:ea typeface="仿宋_GB2312" pitchFamily="49" charset="-122"/>
              </a:endParaRPr>
            </a:p>
          </p:txBody>
        </p:sp>
        <p:sp>
          <p:nvSpPr>
            <p:cNvPr id="16" name="Text Box 14"/>
            <p:cNvSpPr txBox="1">
              <a:spLocks noChangeArrowheads="1"/>
            </p:cNvSpPr>
            <p:nvPr/>
          </p:nvSpPr>
          <p:spPr bwMode="blackWhite">
            <a:xfrm>
              <a:off x="3824776" y="2116154"/>
              <a:ext cx="4130885" cy="482325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wrap="square">
              <a:spAutoFit/>
            </a:bodyPr>
            <a:p>
              <a:r>
                <a:rPr lang="zh-CN" altLang="en-US" sz="900" b="1" dirty="0" smtClean="0"/>
                <a:t>普通开发者</a:t>
              </a:r>
              <a:endParaRPr lang="zh-CN" altLang="en-US" sz="900" b="1" dirty="0" smtClean="0"/>
            </a:p>
          </p:txBody>
        </p:sp>
        <p:grpSp>
          <p:nvGrpSpPr>
            <p:cNvPr id="17" name="Group 15"/>
            <p:cNvGrpSpPr/>
            <p:nvPr/>
          </p:nvGrpSpPr>
          <p:grpSpPr bwMode="auto">
            <a:xfrm>
              <a:off x="2714615" y="2000236"/>
              <a:ext cx="455613" cy="501649"/>
              <a:chOff x="980" y="1388"/>
              <a:chExt cx="287" cy="316"/>
            </a:xfrm>
          </p:grpSpPr>
          <p:sp>
            <p:nvSpPr>
              <p:cNvPr id="18" name="Oval 17"/>
              <p:cNvSpPr>
                <a:spLocks noChangeArrowheads="1"/>
              </p:cNvSpPr>
              <p:nvPr/>
            </p:nvSpPr>
            <p:spPr bwMode="gray">
              <a:xfrm>
                <a:off x="1028" y="1461"/>
                <a:ext cx="220" cy="220"/>
              </a:xfrm>
              <a:prstGeom prst="ellipse">
                <a:avLst/>
              </a:prstGeom>
              <a:solidFill>
                <a:srgbClr val="FFFFFF">
                  <a:alpha val="10196"/>
                </a:srgbClr>
              </a:solidFill>
              <a:ln w="9525" algn="ctr">
                <a:noFill/>
                <a:round/>
              </a:ln>
            </p:spPr>
            <p:txBody>
              <a:bodyPr wrap="none" anchor="ctr"/>
              <a:p>
                <a:pPr>
                  <a:defRPr/>
                </a:pPr>
                <a:endParaRPr lang="zh-CN" altLang="en-US" sz="900" kern="0" dirty="0">
                  <a:solidFill>
                    <a:sysClr val="windowText" lastClr="000000"/>
                  </a:solidFill>
                  <a:latin typeface="仿宋_GB2312" pitchFamily="49" charset="-122"/>
                  <a:ea typeface="仿宋_GB2312" pitchFamily="49" charset="-122"/>
                </a:endParaRPr>
              </a:p>
            </p:txBody>
          </p:sp>
          <p:sp>
            <p:nvSpPr>
              <p:cNvPr id="20" name="Oval 16"/>
              <p:cNvSpPr>
                <a:spLocks noChangeArrowheads="1"/>
              </p:cNvSpPr>
              <p:nvPr/>
            </p:nvSpPr>
            <p:spPr bwMode="gray">
              <a:xfrm>
                <a:off x="980" y="1388"/>
                <a:ext cx="287" cy="316"/>
              </a:xfrm>
              <a:prstGeom prst="ellipse">
                <a:avLst/>
              </a:prstGeom>
              <a:solidFill>
                <a:srgbClr val="C0504D">
                  <a:lumMod val="60000"/>
                  <a:lumOff val="40000"/>
                  <a:alpha val="50000"/>
                </a:srgbClr>
              </a:solidFill>
              <a:ln w="9525" algn="ctr">
                <a:noFill/>
                <a:round/>
              </a:ln>
              <a:effectLst/>
              <a:scene3d>
                <a:camera prst="orthographicFront">
                  <a:rot lat="0" lon="0" rev="0"/>
                </a:camera>
                <a:lightRig rig="contrasting" dir="t">
                  <a:rot lat="0" lon="0" rev="7800000"/>
                </a:lightRig>
              </a:scene3d>
              <a:sp3d>
                <a:bevelT w="139700" h="139700"/>
              </a:sp3d>
            </p:spPr>
            <p:txBody>
              <a:bodyPr wrap="none" anchor="ctr"/>
              <a:p>
                <a:pPr>
                  <a:defRPr/>
                </a:pPr>
                <a:endParaRPr lang="zh-CN" altLang="en-US" sz="900" kern="0" dirty="0">
                  <a:solidFill>
                    <a:sysClr val="windowText" lastClr="000000"/>
                  </a:solidFill>
                  <a:latin typeface="仿宋_GB2312" pitchFamily="49" charset="-122"/>
                  <a:ea typeface="仿宋_GB2312" pitchFamily="49" charset="-122"/>
                </a:endParaRPr>
              </a:p>
            </p:txBody>
          </p:sp>
        </p:grpSp>
      </p:grpSp>
      <p:grpSp>
        <p:nvGrpSpPr>
          <p:cNvPr id="21" name="组合 10"/>
          <p:cNvGrpSpPr/>
          <p:nvPr/>
        </p:nvGrpSpPr>
        <p:grpSpPr bwMode="auto">
          <a:xfrm>
            <a:off x="4653280" y="2365375"/>
            <a:ext cx="1471930" cy="285115"/>
            <a:chOff x="2714615" y="2000236"/>
            <a:chExt cx="5241046" cy="598243"/>
          </a:xfrm>
        </p:grpSpPr>
        <p:sp>
          <p:nvSpPr>
            <p:cNvPr id="28" name="AutoShape 13"/>
            <p:cNvSpPr>
              <a:spLocks noChangeArrowheads="1"/>
            </p:cNvSpPr>
            <p:nvPr/>
          </p:nvSpPr>
          <p:spPr bwMode="gray">
            <a:xfrm>
              <a:off x="3059101" y="2000236"/>
              <a:ext cx="4320000" cy="5000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C0504D">
                    <a:lumMod val="60000"/>
                    <a:lumOff val="40000"/>
                  </a:srgbClr>
                </a:gs>
                <a:gs pos="100000">
                  <a:srgbClr val="895FDB">
                    <a:alpha val="0"/>
                  </a:srgbClr>
                </a:gs>
              </a:gsLst>
              <a:lin ang="0" scaled="1"/>
              <a:tileRect/>
            </a:gradFill>
            <a:ln w="9525" algn="ctr">
              <a:noFill/>
              <a:rou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anchor="ctr"/>
            <a:p>
              <a:pPr>
                <a:defRPr/>
              </a:pPr>
              <a:endParaRPr lang="zh-CN" altLang="en-US" sz="900" kern="0" dirty="0">
                <a:solidFill>
                  <a:sysClr val="windowText" lastClr="000000"/>
                </a:solidFill>
                <a:latin typeface="仿宋_GB2312" pitchFamily="49" charset="-122"/>
                <a:ea typeface="仿宋_GB2312" pitchFamily="49" charset="-122"/>
              </a:endParaRPr>
            </a:p>
          </p:txBody>
        </p:sp>
        <p:sp>
          <p:nvSpPr>
            <p:cNvPr id="29" name="Text Box 14"/>
            <p:cNvSpPr txBox="1">
              <a:spLocks noChangeArrowheads="1"/>
            </p:cNvSpPr>
            <p:nvPr/>
          </p:nvSpPr>
          <p:spPr bwMode="blackWhite">
            <a:xfrm>
              <a:off x="3824776" y="2116154"/>
              <a:ext cx="4130885" cy="482325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wrap="square">
              <a:spAutoFit/>
            </a:bodyPr>
            <a:p>
              <a:r>
                <a:rPr lang="zh-CN" altLang="en-US" sz="900" b="1" dirty="0" smtClean="0"/>
                <a:t>深度开发者</a:t>
              </a:r>
              <a:endParaRPr lang="zh-CN" altLang="en-US" sz="900" b="1" dirty="0" smtClean="0"/>
            </a:p>
          </p:txBody>
        </p:sp>
        <p:grpSp>
          <p:nvGrpSpPr>
            <p:cNvPr id="30" name="Group 15"/>
            <p:cNvGrpSpPr/>
            <p:nvPr/>
          </p:nvGrpSpPr>
          <p:grpSpPr bwMode="auto">
            <a:xfrm>
              <a:off x="2714615" y="2000236"/>
              <a:ext cx="455613" cy="501649"/>
              <a:chOff x="980" y="1388"/>
              <a:chExt cx="287" cy="316"/>
            </a:xfrm>
          </p:grpSpPr>
          <p:sp>
            <p:nvSpPr>
              <p:cNvPr id="31" name="Oval 17"/>
              <p:cNvSpPr>
                <a:spLocks noChangeArrowheads="1"/>
              </p:cNvSpPr>
              <p:nvPr/>
            </p:nvSpPr>
            <p:spPr bwMode="gray">
              <a:xfrm>
                <a:off x="1028" y="1461"/>
                <a:ext cx="220" cy="220"/>
              </a:xfrm>
              <a:prstGeom prst="ellipse">
                <a:avLst/>
              </a:prstGeom>
              <a:solidFill>
                <a:srgbClr val="FFFFFF">
                  <a:alpha val="10196"/>
                </a:srgbClr>
              </a:solidFill>
              <a:ln w="9525" algn="ctr">
                <a:noFill/>
                <a:round/>
              </a:ln>
            </p:spPr>
            <p:txBody>
              <a:bodyPr wrap="none" anchor="ctr"/>
              <a:p>
                <a:pPr>
                  <a:defRPr/>
                </a:pPr>
                <a:endParaRPr lang="zh-CN" altLang="en-US" sz="900" kern="0" dirty="0">
                  <a:solidFill>
                    <a:sysClr val="windowText" lastClr="000000"/>
                  </a:solidFill>
                  <a:latin typeface="仿宋_GB2312" pitchFamily="49" charset="-122"/>
                  <a:ea typeface="仿宋_GB2312" pitchFamily="49" charset="-122"/>
                </a:endParaRPr>
              </a:p>
            </p:txBody>
          </p:sp>
          <p:sp>
            <p:nvSpPr>
              <p:cNvPr id="32" name="Oval 16"/>
              <p:cNvSpPr>
                <a:spLocks noChangeArrowheads="1"/>
              </p:cNvSpPr>
              <p:nvPr/>
            </p:nvSpPr>
            <p:spPr bwMode="gray">
              <a:xfrm>
                <a:off x="980" y="1388"/>
                <a:ext cx="287" cy="316"/>
              </a:xfrm>
              <a:prstGeom prst="ellipse">
                <a:avLst/>
              </a:prstGeom>
              <a:solidFill>
                <a:srgbClr val="C0504D">
                  <a:lumMod val="60000"/>
                  <a:lumOff val="40000"/>
                  <a:alpha val="50000"/>
                </a:srgbClr>
              </a:solidFill>
              <a:ln w="9525" algn="ctr">
                <a:noFill/>
                <a:round/>
              </a:ln>
              <a:effectLst/>
              <a:scene3d>
                <a:camera prst="orthographicFront">
                  <a:rot lat="0" lon="0" rev="0"/>
                </a:camera>
                <a:lightRig rig="contrasting" dir="t">
                  <a:rot lat="0" lon="0" rev="7800000"/>
                </a:lightRig>
              </a:scene3d>
              <a:sp3d>
                <a:bevelT w="139700" h="139700"/>
              </a:sp3d>
            </p:spPr>
            <p:txBody>
              <a:bodyPr wrap="none" anchor="ctr"/>
              <a:p>
                <a:pPr>
                  <a:defRPr/>
                </a:pPr>
                <a:endParaRPr lang="zh-CN" altLang="en-US" sz="900" kern="0" dirty="0">
                  <a:solidFill>
                    <a:sysClr val="windowText" lastClr="000000"/>
                  </a:solidFill>
                  <a:latin typeface="仿宋_GB2312" pitchFamily="49" charset="-122"/>
                  <a:ea typeface="仿宋_GB2312" pitchFamily="49" charset="-122"/>
                </a:endParaRPr>
              </a:p>
            </p:txBody>
          </p:sp>
        </p:grpSp>
      </p:grpSp>
      <p:grpSp>
        <p:nvGrpSpPr>
          <p:cNvPr id="33" name="组合 10"/>
          <p:cNvGrpSpPr/>
          <p:nvPr/>
        </p:nvGrpSpPr>
        <p:grpSpPr bwMode="auto">
          <a:xfrm>
            <a:off x="6859905" y="2320925"/>
            <a:ext cx="1471930" cy="285115"/>
            <a:chOff x="2714615" y="2000236"/>
            <a:chExt cx="5241046" cy="598243"/>
          </a:xfrm>
        </p:grpSpPr>
        <p:sp>
          <p:nvSpPr>
            <p:cNvPr id="34" name="AutoShape 13"/>
            <p:cNvSpPr>
              <a:spLocks noChangeArrowheads="1"/>
            </p:cNvSpPr>
            <p:nvPr/>
          </p:nvSpPr>
          <p:spPr bwMode="gray">
            <a:xfrm>
              <a:off x="3059101" y="2000236"/>
              <a:ext cx="4320000" cy="5000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C0504D">
                    <a:lumMod val="60000"/>
                    <a:lumOff val="40000"/>
                  </a:srgbClr>
                </a:gs>
                <a:gs pos="100000">
                  <a:srgbClr val="895FDB">
                    <a:alpha val="0"/>
                  </a:srgbClr>
                </a:gs>
              </a:gsLst>
              <a:lin ang="0" scaled="1"/>
              <a:tileRect/>
            </a:gradFill>
            <a:ln w="9525" algn="ctr">
              <a:noFill/>
              <a:rou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anchor="ctr"/>
            <a:p>
              <a:pPr>
                <a:defRPr/>
              </a:pPr>
              <a:endParaRPr lang="zh-CN" altLang="en-US" sz="900" kern="0" dirty="0">
                <a:solidFill>
                  <a:sysClr val="windowText" lastClr="000000"/>
                </a:solidFill>
                <a:latin typeface="仿宋_GB2312" pitchFamily="49" charset="-122"/>
                <a:ea typeface="仿宋_GB2312" pitchFamily="49" charset="-122"/>
              </a:endParaRPr>
            </a:p>
          </p:txBody>
        </p:sp>
        <p:sp>
          <p:nvSpPr>
            <p:cNvPr id="35" name="Text Box 14"/>
            <p:cNvSpPr txBox="1">
              <a:spLocks noChangeArrowheads="1"/>
            </p:cNvSpPr>
            <p:nvPr/>
          </p:nvSpPr>
          <p:spPr bwMode="blackWhite">
            <a:xfrm>
              <a:off x="3824776" y="2116154"/>
              <a:ext cx="4130885" cy="482325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wrap="square">
              <a:spAutoFit/>
            </a:bodyPr>
            <a:p>
              <a:r>
                <a:rPr lang="zh-CN" altLang="en-US" sz="900" b="1" dirty="0" smtClean="0"/>
                <a:t>应用使用者</a:t>
              </a:r>
              <a:endParaRPr lang="zh-CN" altLang="en-US" sz="900" b="1" dirty="0" smtClean="0"/>
            </a:p>
          </p:txBody>
        </p:sp>
        <p:grpSp>
          <p:nvGrpSpPr>
            <p:cNvPr id="36" name="Group 15"/>
            <p:cNvGrpSpPr/>
            <p:nvPr/>
          </p:nvGrpSpPr>
          <p:grpSpPr bwMode="auto">
            <a:xfrm>
              <a:off x="2714615" y="2000236"/>
              <a:ext cx="455613" cy="501649"/>
              <a:chOff x="980" y="1388"/>
              <a:chExt cx="287" cy="316"/>
            </a:xfrm>
          </p:grpSpPr>
          <p:sp>
            <p:nvSpPr>
              <p:cNvPr id="37" name="Oval 17"/>
              <p:cNvSpPr>
                <a:spLocks noChangeArrowheads="1"/>
              </p:cNvSpPr>
              <p:nvPr/>
            </p:nvSpPr>
            <p:spPr bwMode="gray">
              <a:xfrm>
                <a:off x="1028" y="1461"/>
                <a:ext cx="220" cy="220"/>
              </a:xfrm>
              <a:prstGeom prst="ellipse">
                <a:avLst/>
              </a:prstGeom>
              <a:solidFill>
                <a:srgbClr val="FFFFFF">
                  <a:alpha val="10196"/>
                </a:srgbClr>
              </a:solidFill>
              <a:ln w="9525" algn="ctr">
                <a:noFill/>
                <a:round/>
              </a:ln>
            </p:spPr>
            <p:txBody>
              <a:bodyPr wrap="none" anchor="ctr"/>
              <a:p>
                <a:pPr>
                  <a:defRPr/>
                </a:pPr>
                <a:endParaRPr lang="zh-CN" altLang="en-US" sz="900" kern="0" dirty="0">
                  <a:solidFill>
                    <a:sysClr val="windowText" lastClr="000000"/>
                  </a:solidFill>
                  <a:latin typeface="仿宋_GB2312" pitchFamily="49" charset="-122"/>
                  <a:ea typeface="仿宋_GB2312" pitchFamily="49" charset="-122"/>
                </a:endParaRPr>
              </a:p>
            </p:txBody>
          </p:sp>
          <p:sp>
            <p:nvSpPr>
              <p:cNvPr id="38" name="Oval 16"/>
              <p:cNvSpPr>
                <a:spLocks noChangeArrowheads="1"/>
              </p:cNvSpPr>
              <p:nvPr/>
            </p:nvSpPr>
            <p:spPr bwMode="gray">
              <a:xfrm>
                <a:off x="980" y="1388"/>
                <a:ext cx="287" cy="316"/>
              </a:xfrm>
              <a:prstGeom prst="ellipse">
                <a:avLst/>
              </a:prstGeom>
              <a:solidFill>
                <a:srgbClr val="C0504D">
                  <a:lumMod val="60000"/>
                  <a:lumOff val="40000"/>
                  <a:alpha val="50000"/>
                </a:srgbClr>
              </a:solidFill>
              <a:ln w="9525" algn="ctr">
                <a:noFill/>
                <a:round/>
              </a:ln>
              <a:effectLst/>
              <a:scene3d>
                <a:camera prst="orthographicFront">
                  <a:rot lat="0" lon="0" rev="0"/>
                </a:camera>
                <a:lightRig rig="contrasting" dir="t">
                  <a:rot lat="0" lon="0" rev="7800000"/>
                </a:lightRig>
              </a:scene3d>
              <a:sp3d>
                <a:bevelT w="139700" h="139700"/>
              </a:sp3d>
            </p:spPr>
            <p:txBody>
              <a:bodyPr wrap="none" anchor="ctr"/>
              <a:p>
                <a:pPr>
                  <a:defRPr/>
                </a:pPr>
                <a:endParaRPr lang="zh-CN" altLang="en-US" sz="900" kern="0" dirty="0">
                  <a:solidFill>
                    <a:sysClr val="windowText" lastClr="000000"/>
                  </a:solidFill>
                  <a:latin typeface="仿宋_GB2312" pitchFamily="49" charset="-122"/>
                  <a:ea typeface="仿宋_GB2312" pitchFamily="49" charset="-122"/>
                </a:endParaRPr>
              </a:p>
            </p:txBody>
          </p:sp>
        </p:grpSp>
      </p:grpSp>
      <p:sp>
        <p:nvSpPr>
          <p:cNvPr id="39" name="文本框 38"/>
          <p:cNvSpPr txBox="1"/>
          <p:nvPr/>
        </p:nvSpPr>
        <p:spPr>
          <a:xfrm>
            <a:off x="610235" y="2767965"/>
            <a:ext cx="1795780" cy="1337945"/>
          </a:xfrm>
          <a:prstGeom prst="rect">
            <a:avLst/>
          </a:prstGeom>
          <a:noFill/>
        </p:spPr>
        <p:txBody>
          <a:bodyPr wrap="square" rtlCol="0" anchor="t" anchorCtr="1">
            <a:spAutoFit/>
          </a:bodyPr>
          <a:p>
            <a:pPr marL="171450" indent="-171450" algn="l">
              <a:buFont typeface="Wingdings" panose="05000000000000000000" charset="0"/>
              <a:buChar char="Ø"/>
            </a:pPr>
            <a:r>
              <a:rPr lang="zh-CN" altLang="en-US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管理平台模型</a:t>
            </a:r>
            <a:endParaRPr lang="zh-CN" altLang="en-US" sz="9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r>
              <a:rPr lang="en-US" altLang="zh-CN" sz="9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PP</a:t>
            </a:r>
            <a:r>
              <a:rPr lang="zh-CN" altLang="en-US" sz="9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管理，发布审核</a:t>
            </a: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r>
              <a:rPr lang="en-US" altLang="zh-CN" sz="9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PP</a:t>
            </a:r>
            <a:r>
              <a:rPr lang="zh-CN" altLang="en-US" sz="9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订阅使用分析</a:t>
            </a: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r>
              <a:rPr lang="zh-CN" altLang="en-US" sz="9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商业化运营分析平台</a:t>
            </a: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indent="0" algn="l">
              <a:buFont typeface="Wingdings" panose="05000000000000000000" charset="0"/>
              <a:buNone/>
            </a:pPr>
            <a:r>
              <a:rPr lang="zh-CN" altLang="en-US" sz="9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海尔智研院</a:t>
            </a:r>
            <a:endParaRPr lang="zh-CN" altLang="en-US" sz="900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3227070" y="2728595"/>
            <a:ext cx="1426210" cy="1614805"/>
          </a:xfrm>
          <a:prstGeom prst="rect">
            <a:avLst/>
          </a:prstGeom>
          <a:noFill/>
        </p:spPr>
        <p:txBody>
          <a:bodyPr wrap="square" rtlCol="0" anchor="t" anchorCtr="1">
            <a:spAutoFit/>
          </a:bodyPr>
          <a:p>
            <a:pPr marL="171450" indent="-171450" algn="l">
              <a:buFont typeface="Wingdings" panose="05000000000000000000" charset="0"/>
              <a:buChar char="Ø"/>
            </a:pPr>
            <a:r>
              <a:rPr lang="zh-CN" altLang="en-US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浏览设备模型</a:t>
            </a:r>
            <a:endParaRPr lang="zh-CN" altLang="en-US" sz="9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r>
              <a:rPr lang="zh-CN" altLang="en-US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可视化组态开发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PP</a:t>
            </a:r>
            <a:endParaRPr lang="zh-CN" altLang="en-US" sz="9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r>
              <a:rPr lang="zh-CN" altLang="en-US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可视化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PP </a:t>
            </a:r>
            <a:r>
              <a:rPr lang="zh-CN" altLang="en-US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快捷发布</a:t>
            </a:r>
            <a:endParaRPr lang="zh-CN" altLang="en-US" sz="9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indent="0" algn="l">
              <a:buFont typeface="Wingdings" panose="05000000000000000000" charset="0"/>
              <a:buNone/>
            </a:pPr>
            <a:r>
              <a:rPr lang="zh-CN" altLang="en-US" sz="9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没有编程知识的人员</a:t>
            </a:r>
            <a:endParaRPr lang="zh-CN" altLang="en-US" sz="9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indent="0" algn="l">
              <a:buFont typeface="Wingdings" panose="05000000000000000000" charset="0"/>
              <a:buNone/>
            </a:pPr>
            <a:r>
              <a:rPr lang="zh-CN" altLang="en-US" sz="9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（机理专家，工厂专家</a:t>
            </a:r>
            <a:endParaRPr lang="zh-CN" altLang="en-US" sz="9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indent="0" algn="l">
              <a:buFont typeface="Wingdings" panose="05000000000000000000" charset="0"/>
              <a:buNone/>
            </a:pPr>
            <a:r>
              <a:rPr lang="zh-CN" altLang="en-US" sz="9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 设备专家，行业专家）</a:t>
            </a:r>
            <a:endParaRPr lang="zh-CN" altLang="en-US" sz="9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indent="0" algn="l">
              <a:buFont typeface="Wingdings" panose="05000000000000000000" charset="0"/>
              <a:buNone/>
            </a:pPr>
            <a:r>
              <a:rPr lang="zh-CN" altLang="en-US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</a:t>
            </a: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41" name="文本框 40"/>
          <p:cNvSpPr txBox="1"/>
          <p:nvPr/>
        </p:nvSpPr>
        <p:spPr>
          <a:xfrm>
            <a:off x="4699000" y="2767965"/>
            <a:ext cx="1426210" cy="1198880"/>
          </a:xfrm>
          <a:prstGeom prst="rect">
            <a:avLst/>
          </a:prstGeom>
          <a:noFill/>
        </p:spPr>
        <p:txBody>
          <a:bodyPr wrap="square" rtlCol="0" anchor="t" anchorCtr="1">
            <a:spAutoFit/>
          </a:bodyPr>
          <a:p>
            <a:pPr indent="0" algn="l">
              <a:buFont typeface="Wingdings" panose="05000000000000000000" charset="0"/>
              <a:buNone/>
            </a:pPr>
            <a:r>
              <a:rPr lang="zh-CN" altLang="en-US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专业平台应用开发</a:t>
            </a:r>
            <a:endParaRPr lang="zh-CN" altLang="en-US" sz="9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r>
              <a:rPr lang="zh-CN" altLang="en-US" sz="9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微服务</a:t>
            </a:r>
            <a:r>
              <a:rPr lang="en-US" altLang="zh-CN" sz="9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PI</a:t>
            </a:r>
            <a:r>
              <a:rPr lang="zh-CN" altLang="en-US" sz="9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开发</a:t>
            </a: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r>
              <a:rPr lang="en-US" altLang="zh-CN" sz="9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UI</a:t>
            </a:r>
            <a:r>
              <a:rPr lang="zh-CN" altLang="en-US" sz="9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定制</a:t>
            </a: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indent="0" algn="l">
              <a:buFont typeface="Wingdings" panose="05000000000000000000" charset="0"/>
              <a:buNone/>
            </a:pPr>
            <a:r>
              <a:rPr lang="zh-CN" altLang="en-US" sz="9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专业工业</a:t>
            </a:r>
            <a:r>
              <a:rPr lang="en-US" altLang="zh-CN" sz="9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PP</a:t>
            </a:r>
            <a:r>
              <a:rPr lang="zh-CN" altLang="en-US" sz="9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开发者</a:t>
            </a: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42" name="文本框 41"/>
          <p:cNvSpPr txBox="1"/>
          <p:nvPr/>
        </p:nvSpPr>
        <p:spPr>
          <a:xfrm>
            <a:off x="6927215" y="2767965"/>
            <a:ext cx="1426210" cy="1198880"/>
          </a:xfrm>
          <a:prstGeom prst="rect">
            <a:avLst/>
          </a:prstGeom>
          <a:noFill/>
        </p:spPr>
        <p:txBody>
          <a:bodyPr wrap="square" rtlCol="0" anchor="t" anchorCtr="1">
            <a:spAutoFit/>
          </a:bodyPr>
          <a:p>
            <a:pPr marL="171450" indent="-171450" algn="l">
              <a:buFont typeface="Wingdings" panose="05000000000000000000" charset="0"/>
              <a:buChar char="Ø"/>
            </a:pPr>
            <a:r>
              <a:rPr lang="zh-CN" altLang="en-US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浏览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PP</a:t>
            </a:r>
            <a:endParaRPr lang="zh-CN" altLang="en-US" sz="9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r>
              <a:rPr lang="zh-CN" altLang="en-US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选择与购买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PP</a:t>
            </a:r>
            <a:endParaRPr lang="zh-CN" altLang="en-US" sz="9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r>
              <a:rPr lang="en-US" altLang="zh-CN" sz="9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PP</a:t>
            </a:r>
            <a:r>
              <a:rPr lang="zh-CN" altLang="en-US" sz="9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在线使用</a:t>
            </a: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indent="0" algn="l">
              <a:buFont typeface="Wingdings" panose="05000000000000000000" charset="0"/>
              <a:buNone/>
            </a:pP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indent="0" algn="l">
              <a:buFont typeface="Wingdings" panose="05000000000000000000" charset="0"/>
              <a:buNone/>
            </a:pPr>
            <a:r>
              <a:rPr lang="zh-CN" altLang="en-US" sz="9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工厂工人，管理者，集团管理者，工业专家等</a:t>
            </a: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marL="171450" indent="-171450" algn="l">
              <a:buFont typeface="Wingdings" panose="05000000000000000000" charset="0"/>
              <a:buChar char="Ø"/>
            </a:pPr>
            <a:endParaRPr lang="zh-CN" altLang="en-US" sz="9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矩形 87"/>
          <p:cNvSpPr>
            <a:spLocks noChangeArrowheads="1"/>
          </p:cNvSpPr>
          <p:nvPr/>
        </p:nvSpPr>
        <p:spPr bwMode="auto">
          <a:xfrm>
            <a:off x="263526" y="541819"/>
            <a:ext cx="884555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7962" tIns="37962" rIns="37962" bIns="37962">
            <a:spAutoFit/>
          </a:bodyPr>
          <a:lstStyle/>
          <a:p>
            <a:pPr marL="283845" indent="-283845" defTabSz="912495" fontAlgn="base">
              <a:lnSpc>
                <a:spcPts val="266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跨品牌连接机器人，开放式  工业云应用平台</a:t>
            </a:r>
            <a:endParaRPr lang="zh-CN" altLang="en-US" sz="1600" b="1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2" name="TextBox 188"/>
          <p:cNvSpPr txBox="1">
            <a:spLocks noChangeArrowheads="1"/>
          </p:cNvSpPr>
          <p:nvPr/>
        </p:nvSpPr>
        <p:spPr bwMode="auto">
          <a:xfrm>
            <a:off x="7491413" y="1420813"/>
            <a:ext cx="1282700" cy="643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0" tIns="45705" rIns="91410" bIns="45705">
            <a:spAutoFit/>
          </a:bodyPr>
          <a:lstStyle>
            <a:lvl1pPr marL="34925" indent="-34925" defTabSz="911225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911225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911225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911225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911225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b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机器人厂商</a:t>
            </a:r>
            <a:endParaRPr lang="en-US" altLang="zh-CN" b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b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机器人专家</a:t>
            </a:r>
            <a:endParaRPr lang="zh-CN" altLang="en-US" b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b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现场专家</a:t>
            </a:r>
            <a:endParaRPr lang="zh-CN" altLang="en-US" b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3" name="梯形 162"/>
          <p:cNvSpPr/>
          <p:nvPr/>
        </p:nvSpPr>
        <p:spPr>
          <a:xfrm>
            <a:off x="833438" y="2328864"/>
            <a:ext cx="6438900" cy="784225"/>
          </a:xfrm>
          <a:prstGeom prst="trapezoid">
            <a:avLst>
              <a:gd name="adj" fmla="val 244541"/>
            </a:avLst>
          </a:prstGeom>
          <a:solidFill>
            <a:srgbClr val="215483"/>
          </a:solidFill>
          <a:ln w="25400" cap="flat" cmpd="sng" algn="ctr">
            <a:noFill/>
            <a:prstDash val="solid"/>
          </a:ln>
          <a:effectLst/>
        </p:spPr>
        <p:txBody>
          <a:bodyPr lIns="68557" tIns="34279" rIns="68557" bIns="34279" anchor="ctr"/>
          <a:lstStyle/>
          <a:p>
            <a:pPr algn="ctr" defTabSz="911225">
              <a:defRPr/>
            </a:pPr>
            <a:endParaRPr lang="zh-CN" altLang="en-US" b="1" kern="0" dirty="0">
              <a:solidFill>
                <a:sysClr val="window" lastClr="FFFFFF"/>
              </a:solidFill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166" name="文本框 258"/>
          <p:cNvSpPr txBox="1"/>
          <p:nvPr/>
        </p:nvSpPr>
        <p:spPr>
          <a:xfrm>
            <a:off x="299721" y="2190751"/>
            <a:ext cx="351155" cy="814388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</p:spPr>
        <p:txBody>
          <a:bodyPr vert="eaVert" lIns="68557" tIns="34279" rIns="68557" bIns="34279">
            <a:spAutoFit/>
          </a:bodyPr>
          <a:lstStyle>
            <a:defPPr>
              <a:defRPr lang="zh-CN"/>
            </a:defPPr>
            <a:lvl1pPr algn="ctr">
              <a:defRPr sz="140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defTabSz="911225">
              <a:defRPr/>
            </a:pPr>
            <a:r>
              <a:rPr lang="zh-CN" altLang="en-US" b="1" kern="0">
                <a:solidFill>
                  <a:srgbClr val="4F81BD">
                    <a:lumMod val="75000"/>
                  </a:srgbClr>
                </a:solidFill>
              </a:rPr>
              <a:t>应 用 层</a:t>
            </a:r>
            <a:endParaRPr lang="zh-CN" altLang="en-US" b="1" kern="0" dirty="0">
              <a:solidFill>
                <a:srgbClr val="4F81BD">
                  <a:lumMod val="75000"/>
                </a:srgbClr>
              </a:solidFill>
            </a:endParaRPr>
          </a:p>
        </p:txBody>
      </p:sp>
      <p:sp>
        <p:nvSpPr>
          <p:cNvPr id="167" name="文本框 259"/>
          <p:cNvSpPr txBox="1">
            <a:spLocks noChangeArrowheads="1"/>
          </p:cNvSpPr>
          <p:nvPr/>
        </p:nvSpPr>
        <p:spPr bwMode="auto">
          <a:xfrm>
            <a:off x="314961" y="1004889"/>
            <a:ext cx="320040" cy="995362"/>
          </a:xfrm>
          <a:prstGeom prst="rect">
            <a:avLst/>
          </a:prstGeom>
          <a:solidFill>
            <a:srgbClr val="DCE6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68557" tIns="34279" rIns="68557" bIns="34279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913765" fontAlgn="base">
              <a:spcBef>
                <a:spcPts val="600"/>
              </a:spcBef>
              <a:spcAft>
                <a:spcPct val="0"/>
              </a:spcAft>
            </a:pPr>
            <a:r>
              <a:rPr lang="zh-CN" altLang="en-US" b="1" smtClean="0">
                <a:solidFill>
                  <a:srgbClr val="37609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者 层</a:t>
            </a:r>
            <a:endParaRPr lang="zh-CN" altLang="en-US" b="1" smtClean="0">
              <a:solidFill>
                <a:srgbClr val="37609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9" name="矩形 168"/>
          <p:cNvSpPr/>
          <p:nvPr/>
        </p:nvSpPr>
        <p:spPr>
          <a:xfrm>
            <a:off x="3300414" y="2620964"/>
            <a:ext cx="1647825" cy="43180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rgbClr val="215483"/>
            </a:solidFill>
            <a:prstDash val="solid"/>
          </a:ln>
          <a:effectLst/>
        </p:spPr>
        <p:txBody>
          <a:bodyPr lIns="68557" tIns="34279" rIns="68557" bIns="34279" anchor="b"/>
          <a:lstStyle/>
          <a:p>
            <a:pPr algn="ctr" defTabSz="911225">
              <a:defRPr/>
            </a:pPr>
            <a:r>
              <a:rPr lang="zh-CN" altLang="en-US" sz="1100" b="1" kern="0" dirty="0">
                <a:solidFill>
                  <a:srgbClr val="2154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海尔工业互联网平台</a:t>
            </a:r>
            <a:endParaRPr lang="zh-CN" altLang="en-US" sz="1100" b="1" kern="0" dirty="0">
              <a:solidFill>
                <a:srgbClr val="2154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1" name="矩形 170"/>
          <p:cNvSpPr/>
          <p:nvPr/>
        </p:nvSpPr>
        <p:spPr>
          <a:xfrm>
            <a:off x="5130641" y="2575084"/>
            <a:ext cx="881063" cy="43005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57" tIns="34279" rIns="68557" bIns="34279" anchor="ctr"/>
          <a:lstStyle/>
          <a:p>
            <a:pPr algn="ctr" defTabSz="911225">
              <a:defRPr/>
            </a:pPr>
            <a:r>
              <a:rPr lang="zh-CN" altLang="en-US" sz="1100" b="1" kern="0" dirty="0">
                <a:solidFill>
                  <a:srgbClr val="2154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业</a:t>
            </a:r>
            <a:endParaRPr lang="zh-CN" altLang="en-US" sz="1100" b="1" kern="0" dirty="0">
              <a:solidFill>
                <a:srgbClr val="2154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911225">
              <a:defRPr/>
            </a:pPr>
            <a:r>
              <a:rPr lang="zh-CN" altLang="en-US" sz="1100" b="1" kern="0" dirty="0">
                <a:solidFill>
                  <a:srgbClr val="2154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属工艺</a:t>
            </a:r>
            <a:endParaRPr lang="zh-CN" altLang="en-US" sz="1100" b="1" kern="0" dirty="0">
              <a:solidFill>
                <a:srgbClr val="2154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2" name="矩形 171"/>
          <p:cNvSpPr/>
          <p:nvPr/>
        </p:nvSpPr>
        <p:spPr>
          <a:xfrm>
            <a:off x="2095500" y="2582704"/>
            <a:ext cx="881063" cy="422434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rgbClr val="215483"/>
            </a:solidFill>
            <a:prstDash val="solid"/>
          </a:ln>
          <a:effectLst/>
        </p:spPr>
        <p:txBody>
          <a:bodyPr lIns="68557" tIns="34279" rIns="68557" bIns="34279" anchor="ctr"/>
          <a:lstStyle/>
          <a:p>
            <a:pPr algn="ctr" defTabSz="911225">
              <a:defRPr/>
            </a:pPr>
            <a:r>
              <a:rPr lang="zh-CN" altLang="en-US" sz="1100" b="1" kern="0" dirty="0">
                <a:solidFill>
                  <a:srgbClr val="2154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跨品牌</a:t>
            </a:r>
            <a:endParaRPr lang="zh-CN" altLang="en-US" sz="1100" b="1" kern="0" dirty="0">
              <a:solidFill>
                <a:srgbClr val="2154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911225">
              <a:defRPr/>
            </a:pPr>
            <a:r>
              <a:rPr lang="zh-CN" altLang="en-US" sz="1100" b="1" kern="0" dirty="0">
                <a:solidFill>
                  <a:srgbClr val="2154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机器人服务</a:t>
            </a:r>
            <a:endParaRPr lang="zh-CN" altLang="en-US" sz="1100" b="1" kern="0" dirty="0">
              <a:solidFill>
                <a:srgbClr val="2154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5" name="Freeform 5"/>
          <p:cNvSpPr/>
          <p:nvPr/>
        </p:nvSpPr>
        <p:spPr bwMode="auto">
          <a:xfrm>
            <a:off x="2379663" y="1217614"/>
            <a:ext cx="3359150" cy="896937"/>
          </a:xfrm>
          <a:custGeom>
            <a:avLst/>
            <a:gdLst>
              <a:gd name="T0" fmla="*/ 186 w 3097"/>
              <a:gd name="T1" fmla="*/ 808 h 808"/>
              <a:gd name="T2" fmla="*/ 2980 w 3097"/>
              <a:gd name="T3" fmla="*/ 808 h 808"/>
              <a:gd name="T4" fmla="*/ 3092 w 3097"/>
              <a:gd name="T5" fmla="*/ 697 h 808"/>
              <a:gd name="T6" fmla="*/ 2943 w 3097"/>
              <a:gd name="T7" fmla="*/ 585 h 808"/>
              <a:gd name="T8" fmla="*/ 2818 w 3097"/>
              <a:gd name="T9" fmla="*/ 351 h 808"/>
              <a:gd name="T10" fmla="*/ 2532 w 3097"/>
              <a:gd name="T11" fmla="*/ 385 h 808"/>
              <a:gd name="T12" fmla="*/ 2218 w 3097"/>
              <a:gd name="T13" fmla="*/ 134 h 808"/>
              <a:gd name="T14" fmla="*/ 1864 w 3097"/>
              <a:gd name="T15" fmla="*/ 237 h 808"/>
              <a:gd name="T16" fmla="*/ 1382 w 3097"/>
              <a:gd name="T17" fmla="*/ 23 h 808"/>
              <a:gd name="T18" fmla="*/ 991 w 3097"/>
              <a:gd name="T19" fmla="*/ 259 h 808"/>
              <a:gd name="T20" fmla="*/ 471 w 3097"/>
              <a:gd name="T21" fmla="*/ 212 h 808"/>
              <a:gd name="T22" fmla="*/ 294 w 3097"/>
              <a:gd name="T23" fmla="*/ 491 h 808"/>
              <a:gd name="T24" fmla="*/ 60 w 3097"/>
              <a:gd name="T25" fmla="*/ 599 h 808"/>
              <a:gd name="T26" fmla="*/ 186 w 3097"/>
              <a:gd name="T27" fmla="*/ 808 h 8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097" h="808">
                <a:moveTo>
                  <a:pt x="186" y="808"/>
                </a:moveTo>
                <a:cubicBezTo>
                  <a:pt x="2980" y="808"/>
                  <a:pt x="2980" y="808"/>
                  <a:pt x="2980" y="808"/>
                </a:cubicBezTo>
                <a:cubicBezTo>
                  <a:pt x="2980" y="808"/>
                  <a:pt x="3097" y="805"/>
                  <a:pt x="3092" y="697"/>
                </a:cubicBezTo>
                <a:cubicBezTo>
                  <a:pt x="3080" y="571"/>
                  <a:pt x="2943" y="585"/>
                  <a:pt x="2943" y="585"/>
                </a:cubicBezTo>
                <a:cubicBezTo>
                  <a:pt x="2943" y="585"/>
                  <a:pt x="2986" y="429"/>
                  <a:pt x="2818" y="351"/>
                </a:cubicBezTo>
                <a:cubicBezTo>
                  <a:pt x="2672" y="282"/>
                  <a:pt x="2532" y="385"/>
                  <a:pt x="2532" y="385"/>
                </a:cubicBezTo>
                <a:cubicBezTo>
                  <a:pt x="2532" y="385"/>
                  <a:pt x="2466" y="168"/>
                  <a:pt x="2218" y="134"/>
                </a:cubicBezTo>
                <a:cubicBezTo>
                  <a:pt x="2033" y="109"/>
                  <a:pt x="1864" y="237"/>
                  <a:pt x="1864" y="237"/>
                </a:cubicBezTo>
                <a:cubicBezTo>
                  <a:pt x="1864" y="237"/>
                  <a:pt x="1741" y="0"/>
                  <a:pt x="1382" y="23"/>
                </a:cubicBezTo>
                <a:cubicBezTo>
                  <a:pt x="1088" y="42"/>
                  <a:pt x="991" y="259"/>
                  <a:pt x="991" y="259"/>
                </a:cubicBezTo>
                <a:cubicBezTo>
                  <a:pt x="811" y="106"/>
                  <a:pt x="551" y="165"/>
                  <a:pt x="471" y="212"/>
                </a:cubicBezTo>
                <a:cubicBezTo>
                  <a:pt x="294" y="307"/>
                  <a:pt x="294" y="491"/>
                  <a:pt x="294" y="491"/>
                </a:cubicBezTo>
                <a:cubicBezTo>
                  <a:pt x="294" y="491"/>
                  <a:pt x="111" y="457"/>
                  <a:pt x="60" y="599"/>
                </a:cubicBezTo>
                <a:cubicBezTo>
                  <a:pt x="0" y="766"/>
                  <a:pt x="186" y="808"/>
                  <a:pt x="186" y="808"/>
                </a:cubicBezTo>
                <a:close/>
              </a:path>
            </a:pathLst>
          </a:custGeom>
          <a:solidFill>
            <a:srgbClr val="BDD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26" name="Freeform 6"/>
          <p:cNvSpPr/>
          <p:nvPr/>
        </p:nvSpPr>
        <p:spPr bwMode="auto">
          <a:xfrm>
            <a:off x="2379663" y="1217614"/>
            <a:ext cx="3359150" cy="896937"/>
          </a:xfrm>
          <a:custGeom>
            <a:avLst/>
            <a:gdLst>
              <a:gd name="T0" fmla="*/ 186 w 3097"/>
              <a:gd name="T1" fmla="*/ 808 h 808"/>
              <a:gd name="T2" fmla="*/ 2980 w 3097"/>
              <a:gd name="T3" fmla="*/ 808 h 808"/>
              <a:gd name="T4" fmla="*/ 3092 w 3097"/>
              <a:gd name="T5" fmla="*/ 697 h 808"/>
              <a:gd name="T6" fmla="*/ 2943 w 3097"/>
              <a:gd name="T7" fmla="*/ 585 h 808"/>
              <a:gd name="T8" fmla="*/ 2818 w 3097"/>
              <a:gd name="T9" fmla="*/ 351 h 808"/>
              <a:gd name="T10" fmla="*/ 2532 w 3097"/>
              <a:gd name="T11" fmla="*/ 385 h 808"/>
              <a:gd name="T12" fmla="*/ 2218 w 3097"/>
              <a:gd name="T13" fmla="*/ 134 h 808"/>
              <a:gd name="T14" fmla="*/ 1864 w 3097"/>
              <a:gd name="T15" fmla="*/ 237 h 808"/>
              <a:gd name="T16" fmla="*/ 1382 w 3097"/>
              <a:gd name="T17" fmla="*/ 23 h 808"/>
              <a:gd name="T18" fmla="*/ 991 w 3097"/>
              <a:gd name="T19" fmla="*/ 259 h 808"/>
              <a:gd name="T20" fmla="*/ 471 w 3097"/>
              <a:gd name="T21" fmla="*/ 212 h 808"/>
              <a:gd name="T22" fmla="*/ 294 w 3097"/>
              <a:gd name="T23" fmla="*/ 491 h 808"/>
              <a:gd name="T24" fmla="*/ 60 w 3097"/>
              <a:gd name="T25" fmla="*/ 599 h 808"/>
              <a:gd name="T26" fmla="*/ 186 w 3097"/>
              <a:gd name="T27" fmla="*/ 808 h 8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097" h="808">
                <a:moveTo>
                  <a:pt x="186" y="808"/>
                </a:moveTo>
                <a:cubicBezTo>
                  <a:pt x="2980" y="808"/>
                  <a:pt x="2980" y="808"/>
                  <a:pt x="2980" y="808"/>
                </a:cubicBezTo>
                <a:cubicBezTo>
                  <a:pt x="2980" y="808"/>
                  <a:pt x="3097" y="805"/>
                  <a:pt x="3092" y="697"/>
                </a:cubicBezTo>
                <a:cubicBezTo>
                  <a:pt x="3080" y="571"/>
                  <a:pt x="2943" y="585"/>
                  <a:pt x="2943" y="585"/>
                </a:cubicBezTo>
                <a:cubicBezTo>
                  <a:pt x="2943" y="585"/>
                  <a:pt x="2986" y="429"/>
                  <a:pt x="2818" y="351"/>
                </a:cubicBezTo>
                <a:cubicBezTo>
                  <a:pt x="2672" y="282"/>
                  <a:pt x="2532" y="385"/>
                  <a:pt x="2532" y="385"/>
                </a:cubicBezTo>
                <a:cubicBezTo>
                  <a:pt x="2532" y="385"/>
                  <a:pt x="2466" y="168"/>
                  <a:pt x="2218" y="134"/>
                </a:cubicBezTo>
                <a:cubicBezTo>
                  <a:pt x="2033" y="109"/>
                  <a:pt x="1864" y="237"/>
                  <a:pt x="1864" y="237"/>
                </a:cubicBezTo>
                <a:cubicBezTo>
                  <a:pt x="1864" y="237"/>
                  <a:pt x="1741" y="0"/>
                  <a:pt x="1382" y="23"/>
                </a:cubicBezTo>
                <a:cubicBezTo>
                  <a:pt x="1088" y="42"/>
                  <a:pt x="991" y="259"/>
                  <a:pt x="991" y="259"/>
                </a:cubicBezTo>
                <a:cubicBezTo>
                  <a:pt x="811" y="106"/>
                  <a:pt x="551" y="165"/>
                  <a:pt x="471" y="212"/>
                </a:cubicBezTo>
                <a:cubicBezTo>
                  <a:pt x="294" y="307"/>
                  <a:pt x="294" y="491"/>
                  <a:pt x="294" y="491"/>
                </a:cubicBezTo>
                <a:cubicBezTo>
                  <a:pt x="294" y="491"/>
                  <a:pt x="111" y="457"/>
                  <a:pt x="60" y="599"/>
                </a:cubicBezTo>
                <a:cubicBezTo>
                  <a:pt x="0" y="766"/>
                  <a:pt x="186" y="808"/>
                  <a:pt x="186" y="808"/>
                </a:cubicBezTo>
                <a:close/>
              </a:path>
            </a:pathLst>
          </a:custGeom>
          <a:noFill/>
          <a:ln w="6350" cap="flat">
            <a:solidFill>
              <a:srgbClr val="1F4E79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27" name="Oval 12"/>
          <p:cNvSpPr>
            <a:spLocks noChangeArrowheads="1"/>
          </p:cNvSpPr>
          <p:nvPr/>
        </p:nvSpPr>
        <p:spPr bwMode="auto">
          <a:xfrm>
            <a:off x="3824289" y="1404939"/>
            <a:ext cx="339725" cy="349250"/>
          </a:xfrm>
          <a:prstGeom prst="ellipse">
            <a:avLst/>
          </a:prstGeom>
          <a:noFill/>
          <a:ln w="6350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28" name="Oval 13"/>
          <p:cNvSpPr>
            <a:spLocks noChangeArrowheads="1"/>
          </p:cNvSpPr>
          <p:nvPr/>
        </p:nvSpPr>
        <p:spPr bwMode="auto">
          <a:xfrm>
            <a:off x="3843339" y="1423989"/>
            <a:ext cx="301625" cy="311150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29" name="Oval 14"/>
          <p:cNvSpPr>
            <a:spLocks noChangeArrowheads="1"/>
          </p:cNvSpPr>
          <p:nvPr/>
        </p:nvSpPr>
        <p:spPr bwMode="auto">
          <a:xfrm>
            <a:off x="3362326" y="1749426"/>
            <a:ext cx="274638" cy="280988"/>
          </a:xfrm>
          <a:prstGeom prst="ellipse">
            <a:avLst/>
          </a:prstGeom>
          <a:noFill/>
          <a:ln w="6350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30" name="Oval 15"/>
          <p:cNvSpPr>
            <a:spLocks noChangeArrowheads="1"/>
          </p:cNvSpPr>
          <p:nvPr/>
        </p:nvSpPr>
        <p:spPr bwMode="auto">
          <a:xfrm>
            <a:off x="3378200" y="1765301"/>
            <a:ext cx="244475" cy="250825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31" name="Oval 16"/>
          <p:cNvSpPr>
            <a:spLocks noChangeArrowheads="1"/>
          </p:cNvSpPr>
          <p:nvPr/>
        </p:nvSpPr>
        <p:spPr bwMode="auto">
          <a:xfrm>
            <a:off x="2979739" y="1479551"/>
            <a:ext cx="250825" cy="258763"/>
          </a:xfrm>
          <a:prstGeom prst="ellipse">
            <a:avLst/>
          </a:prstGeom>
          <a:noFill/>
          <a:ln w="6350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32" name="Oval 17"/>
          <p:cNvSpPr>
            <a:spLocks noChangeArrowheads="1"/>
          </p:cNvSpPr>
          <p:nvPr/>
        </p:nvSpPr>
        <p:spPr bwMode="auto">
          <a:xfrm>
            <a:off x="2992439" y="1493839"/>
            <a:ext cx="225425" cy="230187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33" name="Oval 18"/>
          <p:cNvSpPr>
            <a:spLocks noChangeArrowheads="1"/>
          </p:cNvSpPr>
          <p:nvPr/>
        </p:nvSpPr>
        <p:spPr bwMode="auto">
          <a:xfrm>
            <a:off x="4346575" y="1833563"/>
            <a:ext cx="204788" cy="209550"/>
          </a:xfrm>
          <a:prstGeom prst="ellipse">
            <a:avLst/>
          </a:prstGeom>
          <a:noFill/>
          <a:ln w="6350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34" name="Oval 19"/>
          <p:cNvSpPr>
            <a:spLocks noChangeArrowheads="1"/>
          </p:cNvSpPr>
          <p:nvPr/>
        </p:nvSpPr>
        <p:spPr bwMode="auto">
          <a:xfrm>
            <a:off x="4364038" y="1852614"/>
            <a:ext cx="171450" cy="174625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35" name="Oval 20"/>
          <p:cNvSpPr>
            <a:spLocks noChangeArrowheads="1"/>
          </p:cNvSpPr>
          <p:nvPr/>
        </p:nvSpPr>
        <p:spPr bwMode="auto">
          <a:xfrm>
            <a:off x="2876550" y="1868489"/>
            <a:ext cx="204788" cy="211137"/>
          </a:xfrm>
          <a:prstGeom prst="ellipse">
            <a:avLst/>
          </a:prstGeom>
          <a:noFill/>
          <a:ln w="6350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36" name="Oval 21"/>
          <p:cNvSpPr>
            <a:spLocks noChangeArrowheads="1"/>
          </p:cNvSpPr>
          <p:nvPr/>
        </p:nvSpPr>
        <p:spPr bwMode="auto">
          <a:xfrm>
            <a:off x="2894014" y="1887539"/>
            <a:ext cx="169862" cy="174625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37" name="Oval 22"/>
          <p:cNvSpPr>
            <a:spLocks noChangeArrowheads="1"/>
          </p:cNvSpPr>
          <p:nvPr/>
        </p:nvSpPr>
        <p:spPr bwMode="auto">
          <a:xfrm>
            <a:off x="4630739" y="1479551"/>
            <a:ext cx="314325" cy="322263"/>
          </a:xfrm>
          <a:prstGeom prst="ellipse">
            <a:avLst/>
          </a:prstGeom>
          <a:noFill/>
          <a:ln w="6350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38" name="Oval 23"/>
          <p:cNvSpPr>
            <a:spLocks noChangeArrowheads="1"/>
          </p:cNvSpPr>
          <p:nvPr/>
        </p:nvSpPr>
        <p:spPr bwMode="auto">
          <a:xfrm>
            <a:off x="4648200" y="1497014"/>
            <a:ext cx="279400" cy="287337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39" name="Oval 24"/>
          <p:cNvSpPr>
            <a:spLocks noChangeArrowheads="1"/>
          </p:cNvSpPr>
          <p:nvPr/>
        </p:nvSpPr>
        <p:spPr bwMode="auto">
          <a:xfrm>
            <a:off x="5162551" y="1738314"/>
            <a:ext cx="311150" cy="319087"/>
          </a:xfrm>
          <a:prstGeom prst="ellipse">
            <a:avLst/>
          </a:prstGeom>
          <a:noFill/>
          <a:ln w="6350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40" name="Oval 25"/>
          <p:cNvSpPr>
            <a:spLocks noChangeArrowheads="1"/>
          </p:cNvSpPr>
          <p:nvPr/>
        </p:nvSpPr>
        <p:spPr bwMode="auto">
          <a:xfrm>
            <a:off x="5180013" y="1755776"/>
            <a:ext cx="276225" cy="282575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41" name="Line 26"/>
          <p:cNvSpPr>
            <a:spLocks noChangeShapeType="1"/>
          </p:cNvSpPr>
          <p:nvPr/>
        </p:nvSpPr>
        <p:spPr bwMode="auto">
          <a:xfrm>
            <a:off x="3217863" y="1677989"/>
            <a:ext cx="165100" cy="138112"/>
          </a:xfrm>
          <a:prstGeom prst="lin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42" name="Line 27"/>
          <p:cNvSpPr>
            <a:spLocks noChangeShapeType="1"/>
          </p:cNvSpPr>
          <p:nvPr/>
        </p:nvSpPr>
        <p:spPr bwMode="auto">
          <a:xfrm flipV="1">
            <a:off x="3614739" y="1652589"/>
            <a:ext cx="225425" cy="158750"/>
          </a:xfrm>
          <a:prstGeom prst="lin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43" name="Line 28"/>
          <p:cNvSpPr>
            <a:spLocks noChangeShapeType="1"/>
          </p:cNvSpPr>
          <p:nvPr/>
        </p:nvSpPr>
        <p:spPr bwMode="auto">
          <a:xfrm>
            <a:off x="4143375" y="1666876"/>
            <a:ext cx="230188" cy="200025"/>
          </a:xfrm>
          <a:prstGeom prst="lin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44" name="Line 29"/>
          <p:cNvSpPr>
            <a:spLocks noChangeShapeType="1"/>
          </p:cNvSpPr>
          <p:nvPr/>
        </p:nvSpPr>
        <p:spPr bwMode="auto">
          <a:xfrm>
            <a:off x="4164014" y="1579564"/>
            <a:ext cx="200025" cy="14287"/>
          </a:xfrm>
          <a:prstGeom prst="lin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45" name="Line 30"/>
          <p:cNvSpPr>
            <a:spLocks noChangeShapeType="1"/>
          </p:cNvSpPr>
          <p:nvPr/>
        </p:nvSpPr>
        <p:spPr bwMode="auto">
          <a:xfrm flipV="1">
            <a:off x="3076575" y="1889125"/>
            <a:ext cx="285750" cy="65088"/>
          </a:xfrm>
          <a:prstGeom prst="lin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46" name="Line 31"/>
          <p:cNvSpPr>
            <a:spLocks noChangeShapeType="1"/>
          </p:cNvSpPr>
          <p:nvPr/>
        </p:nvSpPr>
        <p:spPr bwMode="auto">
          <a:xfrm flipV="1">
            <a:off x="4535489" y="1754189"/>
            <a:ext cx="127000" cy="127000"/>
          </a:xfrm>
          <a:prstGeom prst="lin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47" name="Line 32"/>
          <p:cNvSpPr>
            <a:spLocks noChangeShapeType="1"/>
          </p:cNvSpPr>
          <p:nvPr/>
        </p:nvSpPr>
        <p:spPr bwMode="auto">
          <a:xfrm>
            <a:off x="4929189" y="1712914"/>
            <a:ext cx="250825" cy="112712"/>
          </a:xfrm>
          <a:prstGeom prst="lin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48" name="Freeform 33"/>
          <p:cNvSpPr>
            <a:spLocks noEditPoints="1"/>
          </p:cNvSpPr>
          <p:nvPr/>
        </p:nvSpPr>
        <p:spPr bwMode="auto">
          <a:xfrm>
            <a:off x="4005264" y="1573214"/>
            <a:ext cx="77787" cy="92075"/>
          </a:xfrm>
          <a:custGeom>
            <a:avLst/>
            <a:gdLst>
              <a:gd name="T0" fmla="*/ 4 w 71"/>
              <a:gd name="T1" fmla="*/ 0 h 83"/>
              <a:gd name="T2" fmla="*/ 0 w 71"/>
              <a:gd name="T3" fmla="*/ 23 h 83"/>
              <a:gd name="T4" fmla="*/ 0 w 71"/>
              <a:gd name="T5" fmla="*/ 78 h 83"/>
              <a:gd name="T6" fmla="*/ 67 w 71"/>
              <a:gd name="T7" fmla="*/ 83 h 83"/>
              <a:gd name="T8" fmla="*/ 71 w 71"/>
              <a:gd name="T9" fmla="*/ 5 h 83"/>
              <a:gd name="T10" fmla="*/ 67 w 71"/>
              <a:gd name="T11" fmla="*/ 0 h 83"/>
              <a:gd name="T12" fmla="*/ 4 w 71"/>
              <a:gd name="T13" fmla="*/ 79 h 83"/>
              <a:gd name="T14" fmla="*/ 67 w 71"/>
              <a:gd name="T15" fmla="*/ 25 h 83"/>
              <a:gd name="T16" fmla="*/ 67 w 71"/>
              <a:gd name="T17" fmla="*/ 79 h 83"/>
              <a:gd name="T18" fmla="*/ 4 w 71"/>
              <a:gd name="T19" fmla="*/ 23 h 83"/>
              <a:gd name="T20" fmla="*/ 67 w 71"/>
              <a:gd name="T21" fmla="*/ 4 h 83"/>
              <a:gd name="T22" fmla="*/ 67 w 71"/>
              <a:gd name="T23" fmla="*/ 23 h 83"/>
              <a:gd name="T24" fmla="*/ 65 w 71"/>
              <a:gd name="T25" fmla="*/ 10 h 83"/>
              <a:gd name="T26" fmla="*/ 58 w 71"/>
              <a:gd name="T27" fmla="*/ 12 h 83"/>
              <a:gd name="T28" fmla="*/ 58 w 71"/>
              <a:gd name="T29" fmla="*/ 10 h 83"/>
              <a:gd name="T30" fmla="*/ 56 w 71"/>
              <a:gd name="T31" fmla="*/ 10 h 83"/>
              <a:gd name="T32" fmla="*/ 50 w 71"/>
              <a:gd name="T33" fmla="*/ 12 h 83"/>
              <a:gd name="T34" fmla="*/ 50 w 71"/>
              <a:gd name="T35" fmla="*/ 10 h 83"/>
              <a:gd name="T36" fmla="*/ 31 w 71"/>
              <a:gd name="T37" fmla="*/ 8 h 83"/>
              <a:gd name="T38" fmla="*/ 48 w 71"/>
              <a:gd name="T39" fmla="*/ 15 h 83"/>
              <a:gd name="T40" fmla="*/ 48 w 71"/>
              <a:gd name="T41" fmla="*/ 8 h 83"/>
              <a:gd name="T42" fmla="*/ 33 w 71"/>
              <a:gd name="T43" fmla="*/ 12 h 83"/>
              <a:gd name="T44" fmla="*/ 46 w 71"/>
              <a:gd name="T45" fmla="*/ 10 h 83"/>
              <a:gd name="T46" fmla="*/ 46 w 71"/>
              <a:gd name="T47" fmla="*/ 12 h 83"/>
              <a:gd name="T48" fmla="*/ 56 w 71"/>
              <a:gd name="T49" fmla="*/ 50 h 83"/>
              <a:gd name="T50" fmla="*/ 15 w 71"/>
              <a:gd name="T51" fmla="*/ 50 h 83"/>
              <a:gd name="T52" fmla="*/ 35 w 71"/>
              <a:gd name="T53" fmla="*/ 70 h 83"/>
              <a:gd name="T54" fmla="*/ 52 w 71"/>
              <a:gd name="T55" fmla="*/ 50 h 83"/>
              <a:gd name="T56" fmla="*/ 19 w 71"/>
              <a:gd name="T57" fmla="*/ 50 h 83"/>
              <a:gd name="T58" fmla="*/ 35 w 71"/>
              <a:gd name="T59" fmla="*/ 34 h 83"/>
              <a:gd name="T60" fmla="*/ 46 w 71"/>
              <a:gd name="T61" fmla="*/ 50 h 83"/>
              <a:gd name="T62" fmla="*/ 24 w 71"/>
              <a:gd name="T63" fmla="*/ 50 h 83"/>
              <a:gd name="T64" fmla="*/ 35 w 71"/>
              <a:gd name="T65" fmla="*/ 61 h 83"/>
              <a:gd name="T66" fmla="*/ 44 w 71"/>
              <a:gd name="T67" fmla="*/ 50 h 83"/>
              <a:gd name="T68" fmla="*/ 27 w 71"/>
              <a:gd name="T69" fmla="*/ 50 h 83"/>
              <a:gd name="T70" fmla="*/ 35 w 71"/>
              <a:gd name="T71" fmla="*/ 42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1" h="83">
                <a:moveTo>
                  <a:pt x="67" y="0"/>
                </a:move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5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81"/>
                  <a:pt x="2" y="83"/>
                  <a:pt x="4" y="83"/>
                </a:cubicBezTo>
                <a:cubicBezTo>
                  <a:pt x="67" y="83"/>
                  <a:pt x="67" y="83"/>
                  <a:pt x="67" y="83"/>
                </a:cubicBezTo>
                <a:cubicBezTo>
                  <a:pt x="69" y="83"/>
                  <a:pt x="71" y="81"/>
                  <a:pt x="71" y="78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2"/>
                  <a:pt x="69" y="0"/>
                  <a:pt x="67" y="0"/>
                </a:cubicBezTo>
                <a:cubicBezTo>
                  <a:pt x="67" y="0"/>
                  <a:pt x="67" y="0"/>
                  <a:pt x="67" y="0"/>
                </a:cubicBezTo>
                <a:close/>
                <a:moveTo>
                  <a:pt x="67" y="79"/>
                </a:moveTo>
                <a:cubicBezTo>
                  <a:pt x="4" y="79"/>
                  <a:pt x="4" y="79"/>
                  <a:pt x="4" y="79"/>
                </a:cubicBezTo>
                <a:cubicBezTo>
                  <a:pt x="4" y="25"/>
                  <a:pt x="4" y="25"/>
                  <a:pt x="4" y="25"/>
                </a:cubicBezTo>
                <a:cubicBezTo>
                  <a:pt x="67" y="25"/>
                  <a:pt x="67" y="25"/>
                  <a:pt x="67" y="25"/>
                </a:cubicBezTo>
                <a:cubicBezTo>
                  <a:pt x="67" y="79"/>
                  <a:pt x="67" y="79"/>
                  <a:pt x="67" y="79"/>
                </a:cubicBezTo>
                <a:cubicBezTo>
                  <a:pt x="67" y="79"/>
                  <a:pt x="67" y="79"/>
                  <a:pt x="67" y="79"/>
                </a:cubicBezTo>
                <a:close/>
                <a:moveTo>
                  <a:pt x="67" y="23"/>
                </a:moveTo>
                <a:cubicBezTo>
                  <a:pt x="4" y="23"/>
                  <a:pt x="4" y="23"/>
                  <a:pt x="4" y="23"/>
                </a:cubicBezTo>
                <a:cubicBezTo>
                  <a:pt x="4" y="4"/>
                  <a:pt x="4" y="4"/>
                  <a:pt x="4" y="4"/>
                </a:cubicBezTo>
                <a:cubicBezTo>
                  <a:pt x="67" y="4"/>
                  <a:pt x="67" y="4"/>
                  <a:pt x="67" y="4"/>
                </a:cubicBezTo>
                <a:cubicBezTo>
                  <a:pt x="67" y="23"/>
                  <a:pt x="67" y="23"/>
                  <a:pt x="67" y="23"/>
                </a:cubicBezTo>
                <a:cubicBezTo>
                  <a:pt x="67" y="23"/>
                  <a:pt x="67" y="23"/>
                  <a:pt x="67" y="23"/>
                </a:cubicBezTo>
                <a:close/>
                <a:moveTo>
                  <a:pt x="58" y="10"/>
                </a:moveTo>
                <a:cubicBezTo>
                  <a:pt x="65" y="10"/>
                  <a:pt x="65" y="10"/>
                  <a:pt x="65" y="10"/>
                </a:cubicBezTo>
                <a:cubicBezTo>
                  <a:pt x="65" y="12"/>
                  <a:pt x="65" y="12"/>
                  <a:pt x="65" y="12"/>
                </a:cubicBezTo>
                <a:cubicBezTo>
                  <a:pt x="58" y="12"/>
                  <a:pt x="58" y="12"/>
                  <a:pt x="58" y="12"/>
                </a:cubicBezTo>
                <a:cubicBezTo>
                  <a:pt x="58" y="10"/>
                  <a:pt x="58" y="10"/>
                  <a:pt x="58" y="10"/>
                </a:cubicBezTo>
                <a:cubicBezTo>
                  <a:pt x="58" y="10"/>
                  <a:pt x="58" y="10"/>
                  <a:pt x="58" y="10"/>
                </a:cubicBezTo>
                <a:close/>
                <a:moveTo>
                  <a:pt x="50" y="10"/>
                </a:moveTo>
                <a:cubicBezTo>
                  <a:pt x="56" y="10"/>
                  <a:pt x="56" y="10"/>
                  <a:pt x="56" y="10"/>
                </a:cubicBezTo>
                <a:cubicBezTo>
                  <a:pt x="56" y="12"/>
                  <a:pt x="56" y="12"/>
                  <a:pt x="56" y="12"/>
                </a:cubicBezTo>
                <a:cubicBezTo>
                  <a:pt x="50" y="12"/>
                  <a:pt x="50" y="12"/>
                  <a:pt x="50" y="12"/>
                </a:cubicBezTo>
                <a:cubicBezTo>
                  <a:pt x="50" y="10"/>
                  <a:pt x="50" y="10"/>
                  <a:pt x="50" y="10"/>
                </a:cubicBezTo>
                <a:cubicBezTo>
                  <a:pt x="50" y="10"/>
                  <a:pt x="50" y="10"/>
                  <a:pt x="50" y="10"/>
                </a:cubicBezTo>
                <a:close/>
                <a:moveTo>
                  <a:pt x="48" y="8"/>
                </a:moveTo>
                <a:cubicBezTo>
                  <a:pt x="31" y="8"/>
                  <a:pt x="31" y="8"/>
                  <a:pt x="31" y="8"/>
                </a:cubicBezTo>
                <a:cubicBezTo>
                  <a:pt x="31" y="15"/>
                  <a:pt x="31" y="15"/>
                  <a:pt x="31" y="15"/>
                </a:cubicBezTo>
                <a:cubicBezTo>
                  <a:pt x="48" y="15"/>
                  <a:pt x="48" y="15"/>
                  <a:pt x="48" y="15"/>
                </a:cubicBezTo>
                <a:cubicBezTo>
                  <a:pt x="48" y="8"/>
                  <a:pt x="48" y="8"/>
                  <a:pt x="48" y="8"/>
                </a:cubicBezTo>
                <a:cubicBezTo>
                  <a:pt x="48" y="8"/>
                  <a:pt x="48" y="8"/>
                  <a:pt x="48" y="8"/>
                </a:cubicBezTo>
                <a:close/>
                <a:moveTo>
                  <a:pt x="46" y="12"/>
                </a:moveTo>
                <a:cubicBezTo>
                  <a:pt x="33" y="12"/>
                  <a:pt x="33" y="12"/>
                  <a:pt x="33" y="12"/>
                </a:cubicBezTo>
                <a:cubicBezTo>
                  <a:pt x="33" y="10"/>
                  <a:pt x="33" y="10"/>
                  <a:pt x="33" y="10"/>
                </a:cubicBezTo>
                <a:cubicBezTo>
                  <a:pt x="46" y="10"/>
                  <a:pt x="46" y="10"/>
                  <a:pt x="46" y="10"/>
                </a:cubicBezTo>
                <a:cubicBezTo>
                  <a:pt x="46" y="12"/>
                  <a:pt x="46" y="12"/>
                  <a:pt x="46" y="12"/>
                </a:cubicBezTo>
                <a:cubicBezTo>
                  <a:pt x="46" y="12"/>
                  <a:pt x="46" y="12"/>
                  <a:pt x="46" y="12"/>
                </a:cubicBezTo>
                <a:close/>
                <a:moveTo>
                  <a:pt x="35" y="70"/>
                </a:moveTo>
                <a:cubicBezTo>
                  <a:pt x="47" y="70"/>
                  <a:pt x="56" y="61"/>
                  <a:pt x="56" y="50"/>
                </a:cubicBezTo>
                <a:cubicBezTo>
                  <a:pt x="56" y="39"/>
                  <a:pt x="47" y="30"/>
                  <a:pt x="35" y="30"/>
                </a:cubicBezTo>
                <a:cubicBezTo>
                  <a:pt x="24" y="30"/>
                  <a:pt x="15" y="39"/>
                  <a:pt x="15" y="50"/>
                </a:cubicBezTo>
                <a:cubicBezTo>
                  <a:pt x="15" y="61"/>
                  <a:pt x="24" y="70"/>
                  <a:pt x="35" y="70"/>
                </a:cubicBezTo>
                <a:cubicBezTo>
                  <a:pt x="35" y="70"/>
                  <a:pt x="35" y="70"/>
                  <a:pt x="35" y="70"/>
                </a:cubicBezTo>
                <a:close/>
                <a:moveTo>
                  <a:pt x="35" y="34"/>
                </a:moveTo>
                <a:cubicBezTo>
                  <a:pt x="44" y="34"/>
                  <a:pt x="52" y="41"/>
                  <a:pt x="52" y="50"/>
                </a:cubicBezTo>
                <a:cubicBezTo>
                  <a:pt x="52" y="59"/>
                  <a:pt x="44" y="66"/>
                  <a:pt x="35" y="66"/>
                </a:cubicBezTo>
                <a:cubicBezTo>
                  <a:pt x="26" y="66"/>
                  <a:pt x="19" y="59"/>
                  <a:pt x="19" y="50"/>
                </a:cubicBezTo>
                <a:cubicBezTo>
                  <a:pt x="19" y="41"/>
                  <a:pt x="26" y="34"/>
                  <a:pt x="35" y="34"/>
                </a:cubicBezTo>
                <a:cubicBezTo>
                  <a:pt x="35" y="34"/>
                  <a:pt x="35" y="34"/>
                  <a:pt x="35" y="34"/>
                </a:cubicBezTo>
                <a:close/>
                <a:moveTo>
                  <a:pt x="35" y="61"/>
                </a:moveTo>
                <a:cubicBezTo>
                  <a:pt x="41" y="61"/>
                  <a:pt x="46" y="56"/>
                  <a:pt x="46" y="50"/>
                </a:cubicBezTo>
                <a:cubicBezTo>
                  <a:pt x="46" y="44"/>
                  <a:pt x="41" y="40"/>
                  <a:pt x="35" y="40"/>
                </a:cubicBezTo>
                <a:cubicBezTo>
                  <a:pt x="29" y="40"/>
                  <a:pt x="24" y="44"/>
                  <a:pt x="24" y="50"/>
                </a:cubicBezTo>
                <a:cubicBezTo>
                  <a:pt x="24" y="56"/>
                  <a:pt x="29" y="61"/>
                  <a:pt x="35" y="61"/>
                </a:cubicBezTo>
                <a:cubicBezTo>
                  <a:pt x="35" y="61"/>
                  <a:pt x="35" y="61"/>
                  <a:pt x="35" y="61"/>
                </a:cubicBezTo>
                <a:close/>
                <a:moveTo>
                  <a:pt x="35" y="42"/>
                </a:moveTo>
                <a:cubicBezTo>
                  <a:pt x="40" y="42"/>
                  <a:pt x="44" y="45"/>
                  <a:pt x="44" y="50"/>
                </a:cubicBezTo>
                <a:cubicBezTo>
                  <a:pt x="44" y="55"/>
                  <a:pt x="40" y="59"/>
                  <a:pt x="35" y="59"/>
                </a:cubicBezTo>
                <a:cubicBezTo>
                  <a:pt x="30" y="59"/>
                  <a:pt x="27" y="55"/>
                  <a:pt x="27" y="50"/>
                </a:cubicBezTo>
                <a:cubicBezTo>
                  <a:pt x="27" y="45"/>
                  <a:pt x="30" y="42"/>
                  <a:pt x="35" y="42"/>
                </a:cubicBezTo>
                <a:cubicBezTo>
                  <a:pt x="35" y="42"/>
                  <a:pt x="35" y="42"/>
                  <a:pt x="35" y="42"/>
                </a:cubicBezTo>
                <a:close/>
              </a:path>
            </a:pathLst>
          </a:custGeom>
          <a:solidFill>
            <a:srgbClr val="21548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49" name="Freeform 34"/>
          <p:cNvSpPr>
            <a:spLocks noEditPoints="1"/>
          </p:cNvSpPr>
          <p:nvPr/>
        </p:nvSpPr>
        <p:spPr bwMode="auto">
          <a:xfrm>
            <a:off x="3910014" y="1498600"/>
            <a:ext cx="77787" cy="171450"/>
          </a:xfrm>
          <a:custGeom>
            <a:avLst/>
            <a:gdLst>
              <a:gd name="T0" fmla="*/ 3 w 72"/>
              <a:gd name="T1" fmla="*/ 153 h 153"/>
              <a:gd name="T2" fmla="*/ 0 w 72"/>
              <a:gd name="T3" fmla="*/ 113 h 153"/>
              <a:gd name="T4" fmla="*/ 69 w 72"/>
              <a:gd name="T5" fmla="*/ 110 h 153"/>
              <a:gd name="T6" fmla="*/ 72 w 72"/>
              <a:gd name="T7" fmla="*/ 149 h 153"/>
              <a:gd name="T8" fmla="*/ 3 w 72"/>
              <a:gd name="T9" fmla="*/ 113 h 153"/>
              <a:gd name="T10" fmla="*/ 3 w 72"/>
              <a:gd name="T11" fmla="*/ 149 h 153"/>
              <a:gd name="T12" fmla="*/ 69 w 72"/>
              <a:gd name="T13" fmla="*/ 150 h 153"/>
              <a:gd name="T14" fmla="*/ 70 w 72"/>
              <a:gd name="T15" fmla="*/ 113 h 153"/>
              <a:gd name="T16" fmla="*/ 3 w 72"/>
              <a:gd name="T17" fmla="*/ 113 h 153"/>
              <a:gd name="T18" fmla="*/ 69 w 72"/>
              <a:gd name="T19" fmla="*/ 108 h 153"/>
              <a:gd name="T20" fmla="*/ 0 w 72"/>
              <a:gd name="T21" fmla="*/ 104 h 153"/>
              <a:gd name="T22" fmla="*/ 3 w 72"/>
              <a:gd name="T23" fmla="*/ 77 h 153"/>
              <a:gd name="T24" fmla="*/ 72 w 72"/>
              <a:gd name="T25" fmla="*/ 80 h 153"/>
              <a:gd name="T26" fmla="*/ 69 w 72"/>
              <a:gd name="T27" fmla="*/ 108 h 153"/>
              <a:gd name="T28" fmla="*/ 3 w 72"/>
              <a:gd name="T29" fmla="*/ 80 h 153"/>
              <a:gd name="T30" fmla="*/ 3 w 72"/>
              <a:gd name="T31" fmla="*/ 105 h 153"/>
              <a:gd name="T32" fmla="*/ 70 w 72"/>
              <a:gd name="T33" fmla="*/ 104 h 153"/>
              <a:gd name="T34" fmla="*/ 69 w 72"/>
              <a:gd name="T35" fmla="*/ 80 h 153"/>
              <a:gd name="T36" fmla="*/ 3 w 72"/>
              <a:gd name="T37" fmla="*/ 80 h 153"/>
              <a:gd name="T38" fmla="*/ 40 w 72"/>
              <a:gd name="T39" fmla="*/ 75 h 153"/>
              <a:gd name="T40" fmla="*/ 37 w 72"/>
              <a:gd name="T41" fmla="*/ 3 h 153"/>
              <a:gd name="T42" fmla="*/ 69 w 72"/>
              <a:gd name="T43" fmla="*/ 0 h 153"/>
              <a:gd name="T44" fmla="*/ 72 w 72"/>
              <a:gd name="T45" fmla="*/ 71 h 153"/>
              <a:gd name="T46" fmla="*/ 40 w 72"/>
              <a:gd name="T47" fmla="*/ 3 h 153"/>
              <a:gd name="T48" fmla="*/ 40 w 72"/>
              <a:gd name="T49" fmla="*/ 71 h 153"/>
              <a:gd name="T50" fmla="*/ 69 w 72"/>
              <a:gd name="T51" fmla="*/ 72 h 153"/>
              <a:gd name="T52" fmla="*/ 70 w 72"/>
              <a:gd name="T53" fmla="*/ 3 h 153"/>
              <a:gd name="T54" fmla="*/ 40 w 72"/>
              <a:gd name="T55" fmla="*/ 3 h 153"/>
              <a:gd name="T56" fmla="*/ 32 w 72"/>
              <a:gd name="T57" fmla="*/ 75 h 153"/>
              <a:gd name="T58" fmla="*/ 0 w 72"/>
              <a:gd name="T59" fmla="*/ 71 h 153"/>
              <a:gd name="T60" fmla="*/ 3 w 72"/>
              <a:gd name="T61" fmla="*/ 0 h 153"/>
              <a:gd name="T62" fmla="*/ 35 w 72"/>
              <a:gd name="T63" fmla="*/ 3 h 153"/>
              <a:gd name="T64" fmla="*/ 32 w 72"/>
              <a:gd name="T65" fmla="*/ 75 h 153"/>
              <a:gd name="T66" fmla="*/ 3 w 72"/>
              <a:gd name="T67" fmla="*/ 3 h 153"/>
              <a:gd name="T68" fmla="*/ 3 w 72"/>
              <a:gd name="T69" fmla="*/ 72 h 153"/>
              <a:gd name="T70" fmla="*/ 33 w 72"/>
              <a:gd name="T71" fmla="*/ 71 h 153"/>
              <a:gd name="T72" fmla="*/ 32 w 72"/>
              <a:gd name="T73" fmla="*/ 3 h 153"/>
              <a:gd name="T74" fmla="*/ 3 w 72"/>
              <a:gd name="T75" fmla="*/ 3 h 153"/>
              <a:gd name="T76" fmla="*/ 47 w 72"/>
              <a:gd name="T77" fmla="*/ 31 h 153"/>
              <a:gd name="T78" fmla="*/ 44 w 72"/>
              <a:gd name="T79" fmla="*/ 18 h 153"/>
              <a:gd name="T80" fmla="*/ 63 w 72"/>
              <a:gd name="T81" fmla="*/ 14 h 153"/>
              <a:gd name="T82" fmla="*/ 66 w 72"/>
              <a:gd name="T83" fmla="*/ 28 h 153"/>
              <a:gd name="T84" fmla="*/ 47 w 72"/>
              <a:gd name="T85" fmla="*/ 17 h 153"/>
              <a:gd name="T86" fmla="*/ 47 w 72"/>
              <a:gd name="T87" fmla="*/ 28 h 153"/>
              <a:gd name="T88" fmla="*/ 63 w 72"/>
              <a:gd name="T89" fmla="*/ 28 h 153"/>
              <a:gd name="T90" fmla="*/ 64 w 72"/>
              <a:gd name="T91" fmla="*/ 18 h 153"/>
              <a:gd name="T92" fmla="*/ 47 w 72"/>
              <a:gd name="T93" fmla="*/ 17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72" h="153">
                <a:moveTo>
                  <a:pt x="69" y="153"/>
                </a:moveTo>
                <a:cubicBezTo>
                  <a:pt x="3" y="153"/>
                  <a:pt x="3" y="153"/>
                  <a:pt x="3" y="153"/>
                </a:cubicBezTo>
                <a:cubicBezTo>
                  <a:pt x="2" y="153"/>
                  <a:pt x="0" y="151"/>
                  <a:pt x="0" y="149"/>
                </a:cubicBezTo>
                <a:cubicBezTo>
                  <a:pt x="0" y="113"/>
                  <a:pt x="0" y="113"/>
                  <a:pt x="0" y="113"/>
                </a:cubicBezTo>
                <a:cubicBezTo>
                  <a:pt x="0" y="111"/>
                  <a:pt x="2" y="110"/>
                  <a:pt x="3" y="110"/>
                </a:cubicBezTo>
                <a:cubicBezTo>
                  <a:pt x="69" y="110"/>
                  <a:pt x="69" y="110"/>
                  <a:pt x="69" y="110"/>
                </a:cubicBezTo>
                <a:cubicBezTo>
                  <a:pt x="71" y="110"/>
                  <a:pt x="72" y="111"/>
                  <a:pt x="72" y="113"/>
                </a:cubicBezTo>
                <a:cubicBezTo>
                  <a:pt x="72" y="149"/>
                  <a:pt x="72" y="149"/>
                  <a:pt x="72" y="149"/>
                </a:cubicBezTo>
                <a:cubicBezTo>
                  <a:pt x="72" y="151"/>
                  <a:pt x="71" y="153"/>
                  <a:pt x="69" y="153"/>
                </a:cubicBezTo>
                <a:close/>
                <a:moveTo>
                  <a:pt x="3" y="113"/>
                </a:moveTo>
                <a:cubicBezTo>
                  <a:pt x="3" y="113"/>
                  <a:pt x="3" y="113"/>
                  <a:pt x="3" y="113"/>
                </a:cubicBezTo>
                <a:cubicBezTo>
                  <a:pt x="3" y="149"/>
                  <a:pt x="3" y="149"/>
                  <a:pt x="3" y="149"/>
                </a:cubicBezTo>
                <a:cubicBezTo>
                  <a:pt x="3" y="150"/>
                  <a:pt x="3" y="150"/>
                  <a:pt x="3" y="150"/>
                </a:cubicBezTo>
                <a:cubicBezTo>
                  <a:pt x="69" y="150"/>
                  <a:pt x="69" y="150"/>
                  <a:pt x="69" y="150"/>
                </a:cubicBezTo>
                <a:cubicBezTo>
                  <a:pt x="69" y="150"/>
                  <a:pt x="70" y="150"/>
                  <a:pt x="70" y="149"/>
                </a:cubicBezTo>
                <a:cubicBezTo>
                  <a:pt x="70" y="113"/>
                  <a:pt x="70" y="113"/>
                  <a:pt x="70" y="113"/>
                </a:cubicBezTo>
                <a:cubicBezTo>
                  <a:pt x="70" y="113"/>
                  <a:pt x="69" y="113"/>
                  <a:pt x="69" y="113"/>
                </a:cubicBezTo>
                <a:cubicBezTo>
                  <a:pt x="3" y="113"/>
                  <a:pt x="3" y="113"/>
                  <a:pt x="3" y="113"/>
                </a:cubicBezTo>
                <a:cubicBezTo>
                  <a:pt x="3" y="113"/>
                  <a:pt x="3" y="113"/>
                  <a:pt x="3" y="113"/>
                </a:cubicBezTo>
                <a:close/>
                <a:moveTo>
                  <a:pt x="69" y="108"/>
                </a:moveTo>
                <a:cubicBezTo>
                  <a:pt x="3" y="108"/>
                  <a:pt x="3" y="108"/>
                  <a:pt x="3" y="108"/>
                </a:cubicBezTo>
                <a:cubicBezTo>
                  <a:pt x="2" y="108"/>
                  <a:pt x="0" y="106"/>
                  <a:pt x="0" y="104"/>
                </a:cubicBezTo>
                <a:cubicBezTo>
                  <a:pt x="0" y="80"/>
                  <a:pt x="0" y="80"/>
                  <a:pt x="0" y="80"/>
                </a:cubicBezTo>
                <a:cubicBezTo>
                  <a:pt x="0" y="78"/>
                  <a:pt x="2" y="77"/>
                  <a:pt x="3" y="77"/>
                </a:cubicBezTo>
                <a:cubicBezTo>
                  <a:pt x="69" y="77"/>
                  <a:pt x="69" y="77"/>
                  <a:pt x="69" y="77"/>
                </a:cubicBezTo>
                <a:cubicBezTo>
                  <a:pt x="71" y="77"/>
                  <a:pt x="72" y="78"/>
                  <a:pt x="72" y="80"/>
                </a:cubicBezTo>
                <a:cubicBezTo>
                  <a:pt x="72" y="104"/>
                  <a:pt x="72" y="104"/>
                  <a:pt x="72" y="104"/>
                </a:cubicBezTo>
                <a:cubicBezTo>
                  <a:pt x="72" y="106"/>
                  <a:pt x="71" y="108"/>
                  <a:pt x="69" y="108"/>
                </a:cubicBezTo>
                <a:close/>
                <a:moveTo>
                  <a:pt x="3" y="80"/>
                </a:moveTo>
                <a:cubicBezTo>
                  <a:pt x="3" y="80"/>
                  <a:pt x="3" y="80"/>
                  <a:pt x="3" y="80"/>
                </a:cubicBezTo>
                <a:cubicBezTo>
                  <a:pt x="3" y="104"/>
                  <a:pt x="3" y="104"/>
                  <a:pt x="3" y="104"/>
                </a:cubicBezTo>
                <a:cubicBezTo>
                  <a:pt x="3" y="105"/>
                  <a:pt x="3" y="105"/>
                  <a:pt x="3" y="105"/>
                </a:cubicBezTo>
                <a:cubicBezTo>
                  <a:pt x="69" y="105"/>
                  <a:pt x="69" y="105"/>
                  <a:pt x="69" y="105"/>
                </a:cubicBezTo>
                <a:cubicBezTo>
                  <a:pt x="69" y="105"/>
                  <a:pt x="70" y="105"/>
                  <a:pt x="70" y="104"/>
                </a:cubicBezTo>
                <a:cubicBezTo>
                  <a:pt x="70" y="80"/>
                  <a:pt x="70" y="80"/>
                  <a:pt x="70" y="80"/>
                </a:cubicBezTo>
                <a:cubicBezTo>
                  <a:pt x="70" y="80"/>
                  <a:pt x="69" y="80"/>
                  <a:pt x="69" y="80"/>
                </a:cubicBezTo>
                <a:cubicBezTo>
                  <a:pt x="3" y="80"/>
                  <a:pt x="3" y="80"/>
                  <a:pt x="3" y="80"/>
                </a:cubicBezTo>
                <a:cubicBezTo>
                  <a:pt x="3" y="80"/>
                  <a:pt x="3" y="80"/>
                  <a:pt x="3" y="80"/>
                </a:cubicBezTo>
                <a:close/>
                <a:moveTo>
                  <a:pt x="69" y="75"/>
                </a:moveTo>
                <a:cubicBezTo>
                  <a:pt x="40" y="75"/>
                  <a:pt x="40" y="75"/>
                  <a:pt x="40" y="75"/>
                </a:cubicBezTo>
                <a:cubicBezTo>
                  <a:pt x="38" y="75"/>
                  <a:pt x="37" y="73"/>
                  <a:pt x="37" y="71"/>
                </a:cubicBezTo>
                <a:cubicBezTo>
                  <a:pt x="37" y="3"/>
                  <a:pt x="37" y="3"/>
                  <a:pt x="37" y="3"/>
                </a:cubicBezTo>
                <a:cubicBezTo>
                  <a:pt x="37" y="1"/>
                  <a:pt x="38" y="0"/>
                  <a:pt x="40" y="0"/>
                </a:cubicBezTo>
                <a:cubicBezTo>
                  <a:pt x="69" y="0"/>
                  <a:pt x="69" y="0"/>
                  <a:pt x="69" y="0"/>
                </a:cubicBezTo>
                <a:cubicBezTo>
                  <a:pt x="71" y="0"/>
                  <a:pt x="72" y="1"/>
                  <a:pt x="72" y="3"/>
                </a:cubicBezTo>
                <a:cubicBezTo>
                  <a:pt x="72" y="71"/>
                  <a:pt x="72" y="71"/>
                  <a:pt x="72" y="71"/>
                </a:cubicBezTo>
                <a:cubicBezTo>
                  <a:pt x="72" y="73"/>
                  <a:pt x="71" y="75"/>
                  <a:pt x="69" y="75"/>
                </a:cubicBezTo>
                <a:close/>
                <a:moveTo>
                  <a:pt x="40" y="3"/>
                </a:moveTo>
                <a:cubicBezTo>
                  <a:pt x="40" y="3"/>
                  <a:pt x="40" y="3"/>
                  <a:pt x="40" y="3"/>
                </a:cubicBezTo>
                <a:cubicBezTo>
                  <a:pt x="40" y="71"/>
                  <a:pt x="40" y="71"/>
                  <a:pt x="40" y="71"/>
                </a:cubicBezTo>
                <a:cubicBezTo>
                  <a:pt x="40" y="72"/>
                  <a:pt x="40" y="72"/>
                  <a:pt x="40" y="72"/>
                </a:cubicBezTo>
                <a:cubicBezTo>
                  <a:pt x="69" y="72"/>
                  <a:pt x="69" y="72"/>
                  <a:pt x="69" y="72"/>
                </a:cubicBezTo>
                <a:cubicBezTo>
                  <a:pt x="69" y="72"/>
                  <a:pt x="70" y="72"/>
                  <a:pt x="70" y="71"/>
                </a:cubicBezTo>
                <a:cubicBezTo>
                  <a:pt x="70" y="3"/>
                  <a:pt x="70" y="3"/>
                  <a:pt x="70" y="3"/>
                </a:cubicBezTo>
                <a:cubicBezTo>
                  <a:pt x="70" y="3"/>
                  <a:pt x="69" y="3"/>
                  <a:pt x="69" y="3"/>
                </a:cubicBezTo>
                <a:cubicBezTo>
                  <a:pt x="40" y="3"/>
                  <a:pt x="40" y="3"/>
                  <a:pt x="40" y="3"/>
                </a:cubicBezTo>
                <a:cubicBezTo>
                  <a:pt x="40" y="3"/>
                  <a:pt x="40" y="3"/>
                  <a:pt x="40" y="3"/>
                </a:cubicBezTo>
                <a:close/>
                <a:moveTo>
                  <a:pt x="32" y="75"/>
                </a:moveTo>
                <a:cubicBezTo>
                  <a:pt x="3" y="75"/>
                  <a:pt x="3" y="75"/>
                  <a:pt x="3" y="75"/>
                </a:cubicBezTo>
                <a:cubicBezTo>
                  <a:pt x="1" y="75"/>
                  <a:pt x="0" y="73"/>
                  <a:pt x="0" y="71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4" y="0"/>
                  <a:pt x="35" y="1"/>
                  <a:pt x="35" y="3"/>
                </a:cubicBezTo>
                <a:cubicBezTo>
                  <a:pt x="35" y="71"/>
                  <a:pt x="35" y="71"/>
                  <a:pt x="35" y="71"/>
                </a:cubicBezTo>
                <a:cubicBezTo>
                  <a:pt x="35" y="73"/>
                  <a:pt x="34" y="75"/>
                  <a:pt x="32" y="75"/>
                </a:cubicBezTo>
                <a:close/>
                <a:moveTo>
                  <a:pt x="3" y="3"/>
                </a:moveTo>
                <a:cubicBezTo>
                  <a:pt x="3" y="3"/>
                  <a:pt x="3" y="3"/>
                  <a:pt x="3" y="3"/>
                </a:cubicBezTo>
                <a:cubicBezTo>
                  <a:pt x="3" y="71"/>
                  <a:pt x="3" y="71"/>
                  <a:pt x="3" y="71"/>
                </a:cubicBezTo>
                <a:cubicBezTo>
                  <a:pt x="3" y="72"/>
                  <a:pt x="3" y="72"/>
                  <a:pt x="3" y="72"/>
                </a:cubicBezTo>
                <a:cubicBezTo>
                  <a:pt x="32" y="72"/>
                  <a:pt x="32" y="72"/>
                  <a:pt x="32" y="72"/>
                </a:cubicBezTo>
                <a:cubicBezTo>
                  <a:pt x="32" y="72"/>
                  <a:pt x="33" y="72"/>
                  <a:pt x="33" y="71"/>
                </a:cubicBezTo>
                <a:cubicBezTo>
                  <a:pt x="33" y="3"/>
                  <a:pt x="33" y="3"/>
                  <a:pt x="33" y="3"/>
                </a:cubicBezTo>
                <a:cubicBezTo>
                  <a:pt x="33" y="3"/>
                  <a:pt x="32" y="3"/>
                  <a:pt x="32" y="3"/>
                </a:cubicBezTo>
                <a:cubicBezTo>
                  <a:pt x="3" y="3"/>
                  <a:pt x="3" y="3"/>
                  <a:pt x="3" y="3"/>
                </a:cubicBezTo>
                <a:cubicBezTo>
                  <a:pt x="3" y="3"/>
                  <a:pt x="3" y="3"/>
                  <a:pt x="3" y="3"/>
                </a:cubicBezTo>
                <a:close/>
                <a:moveTo>
                  <a:pt x="63" y="31"/>
                </a:moveTo>
                <a:cubicBezTo>
                  <a:pt x="47" y="31"/>
                  <a:pt x="47" y="31"/>
                  <a:pt x="47" y="31"/>
                </a:cubicBezTo>
                <a:cubicBezTo>
                  <a:pt x="45" y="31"/>
                  <a:pt x="44" y="30"/>
                  <a:pt x="44" y="28"/>
                </a:cubicBezTo>
                <a:cubicBezTo>
                  <a:pt x="44" y="18"/>
                  <a:pt x="44" y="18"/>
                  <a:pt x="44" y="18"/>
                </a:cubicBezTo>
                <a:cubicBezTo>
                  <a:pt x="44" y="16"/>
                  <a:pt x="45" y="14"/>
                  <a:pt x="47" y="14"/>
                </a:cubicBezTo>
                <a:cubicBezTo>
                  <a:pt x="63" y="14"/>
                  <a:pt x="63" y="14"/>
                  <a:pt x="63" y="14"/>
                </a:cubicBezTo>
                <a:cubicBezTo>
                  <a:pt x="65" y="14"/>
                  <a:pt x="66" y="16"/>
                  <a:pt x="66" y="18"/>
                </a:cubicBezTo>
                <a:cubicBezTo>
                  <a:pt x="66" y="28"/>
                  <a:pt x="66" y="28"/>
                  <a:pt x="66" y="28"/>
                </a:cubicBezTo>
                <a:cubicBezTo>
                  <a:pt x="66" y="30"/>
                  <a:pt x="65" y="31"/>
                  <a:pt x="63" y="31"/>
                </a:cubicBezTo>
                <a:close/>
                <a:moveTo>
                  <a:pt x="47" y="17"/>
                </a:moveTo>
                <a:cubicBezTo>
                  <a:pt x="47" y="17"/>
                  <a:pt x="47" y="18"/>
                  <a:pt x="47" y="18"/>
                </a:cubicBezTo>
                <a:cubicBezTo>
                  <a:pt x="47" y="28"/>
                  <a:pt x="47" y="28"/>
                  <a:pt x="47" y="28"/>
                </a:cubicBezTo>
                <a:cubicBezTo>
                  <a:pt x="47" y="28"/>
                  <a:pt x="47" y="28"/>
                  <a:pt x="47" y="28"/>
                </a:cubicBezTo>
                <a:cubicBezTo>
                  <a:pt x="63" y="28"/>
                  <a:pt x="63" y="28"/>
                  <a:pt x="63" y="28"/>
                </a:cubicBezTo>
                <a:cubicBezTo>
                  <a:pt x="63" y="28"/>
                  <a:pt x="64" y="28"/>
                  <a:pt x="64" y="28"/>
                </a:cubicBezTo>
                <a:cubicBezTo>
                  <a:pt x="64" y="18"/>
                  <a:pt x="64" y="18"/>
                  <a:pt x="64" y="18"/>
                </a:cubicBezTo>
                <a:cubicBezTo>
                  <a:pt x="64" y="18"/>
                  <a:pt x="63" y="17"/>
                  <a:pt x="63" y="17"/>
                </a:cubicBezTo>
                <a:cubicBezTo>
                  <a:pt x="47" y="17"/>
                  <a:pt x="47" y="17"/>
                  <a:pt x="47" y="17"/>
                </a:cubicBezTo>
                <a:cubicBezTo>
                  <a:pt x="47" y="17"/>
                  <a:pt x="47" y="17"/>
                  <a:pt x="47" y="17"/>
                </a:cubicBezTo>
                <a:close/>
              </a:path>
            </a:pathLst>
          </a:custGeom>
          <a:solidFill>
            <a:srgbClr val="21548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50" name="Freeform 35"/>
          <p:cNvSpPr>
            <a:spLocks noEditPoints="1"/>
          </p:cNvSpPr>
          <p:nvPr/>
        </p:nvSpPr>
        <p:spPr bwMode="auto">
          <a:xfrm>
            <a:off x="4051301" y="1519239"/>
            <a:ext cx="17463" cy="17462"/>
          </a:xfrm>
          <a:custGeom>
            <a:avLst/>
            <a:gdLst>
              <a:gd name="T0" fmla="*/ 7 w 15"/>
              <a:gd name="T1" fmla="*/ 16 h 16"/>
              <a:gd name="T2" fmla="*/ 15 w 15"/>
              <a:gd name="T3" fmla="*/ 8 h 16"/>
              <a:gd name="T4" fmla="*/ 7 w 15"/>
              <a:gd name="T5" fmla="*/ 0 h 16"/>
              <a:gd name="T6" fmla="*/ 0 w 15"/>
              <a:gd name="T7" fmla="*/ 8 h 16"/>
              <a:gd name="T8" fmla="*/ 7 w 15"/>
              <a:gd name="T9" fmla="*/ 16 h 16"/>
              <a:gd name="T10" fmla="*/ 7 w 15"/>
              <a:gd name="T11" fmla="*/ 3 h 16"/>
              <a:gd name="T12" fmla="*/ 12 w 15"/>
              <a:gd name="T13" fmla="*/ 8 h 16"/>
              <a:gd name="T14" fmla="*/ 7 w 15"/>
              <a:gd name="T15" fmla="*/ 13 h 16"/>
              <a:gd name="T16" fmla="*/ 3 w 15"/>
              <a:gd name="T17" fmla="*/ 8 h 16"/>
              <a:gd name="T18" fmla="*/ 7 w 15"/>
              <a:gd name="T19" fmla="*/ 3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6">
                <a:moveTo>
                  <a:pt x="7" y="16"/>
                </a:moveTo>
                <a:cubicBezTo>
                  <a:pt x="12" y="16"/>
                  <a:pt x="15" y="12"/>
                  <a:pt x="15" y="8"/>
                </a:cubicBezTo>
                <a:cubicBezTo>
                  <a:pt x="15" y="4"/>
                  <a:pt x="12" y="0"/>
                  <a:pt x="7" y="0"/>
                </a:cubicBezTo>
                <a:cubicBezTo>
                  <a:pt x="3" y="0"/>
                  <a:pt x="0" y="4"/>
                  <a:pt x="0" y="8"/>
                </a:cubicBezTo>
                <a:cubicBezTo>
                  <a:pt x="0" y="12"/>
                  <a:pt x="3" y="16"/>
                  <a:pt x="7" y="16"/>
                </a:cubicBezTo>
                <a:close/>
                <a:moveTo>
                  <a:pt x="7" y="3"/>
                </a:moveTo>
                <a:cubicBezTo>
                  <a:pt x="10" y="3"/>
                  <a:pt x="12" y="5"/>
                  <a:pt x="12" y="8"/>
                </a:cubicBezTo>
                <a:cubicBezTo>
                  <a:pt x="12" y="10"/>
                  <a:pt x="10" y="13"/>
                  <a:pt x="7" y="13"/>
                </a:cubicBezTo>
                <a:cubicBezTo>
                  <a:pt x="5" y="13"/>
                  <a:pt x="3" y="10"/>
                  <a:pt x="3" y="8"/>
                </a:cubicBezTo>
                <a:cubicBezTo>
                  <a:pt x="3" y="5"/>
                  <a:pt x="5" y="3"/>
                  <a:pt x="7" y="3"/>
                </a:cubicBezTo>
                <a:close/>
              </a:path>
            </a:pathLst>
          </a:custGeom>
          <a:solidFill>
            <a:srgbClr val="21548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51" name="Freeform 36"/>
          <p:cNvSpPr>
            <a:spLocks noEditPoints="1"/>
          </p:cNvSpPr>
          <p:nvPr/>
        </p:nvSpPr>
        <p:spPr bwMode="auto">
          <a:xfrm>
            <a:off x="4000500" y="1512888"/>
            <a:ext cx="76200" cy="42862"/>
          </a:xfrm>
          <a:custGeom>
            <a:avLst/>
            <a:gdLst>
              <a:gd name="T0" fmla="*/ 70 w 70"/>
              <a:gd name="T1" fmla="*/ 20 h 39"/>
              <a:gd name="T2" fmla="*/ 66 w 70"/>
              <a:gd name="T3" fmla="*/ 1 h 39"/>
              <a:gd name="T4" fmla="*/ 66 w 70"/>
              <a:gd name="T5" fmla="*/ 1 h 39"/>
              <a:gd name="T6" fmla="*/ 65 w 70"/>
              <a:gd name="T7" fmla="*/ 0 h 39"/>
              <a:gd name="T8" fmla="*/ 6 w 70"/>
              <a:gd name="T9" fmla="*/ 0 h 39"/>
              <a:gd name="T10" fmla="*/ 6 w 70"/>
              <a:gd name="T11" fmla="*/ 0 h 39"/>
              <a:gd name="T12" fmla="*/ 4 w 70"/>
              <a:gd name="T13" fmla="*/ 1 h 39"/>
              <a:gd name="T14" fmla="*/ 0 w 70"/>
              <a:gd name="T15" fmla="*/ 20 h 39"/>
              <a:gd name="T16" fmla="*/ 4 w 70"/>
              <a:gd name="T17" fmla="*/ 38 h 39"/>
              <a:gd name="T18" fmla="*/ 5 w 70"/>
              <a:gd name="T19" fmla="*/ 39 h 39"/>
              <a:gd name="T20" fmla="*/ 6 w 70"/>
              <a:gd name="T21" fmla="*/ 39 h 39"/>
              <a:gd name="T22" fmla="*/ 65 w 70"/>
              <a:gd name="T23" fmla="*/ 39 h 39"/>
              <a:gd name="T24" fmla="*/ 66 w 70"/>
              <a:gd name="T25" fmla="*/ 39 h 39"/>
              <a:gd name="T26" fmla="*/ 66 w 70"/>
              <a:gd name="T27" fmla="*/ 38 h 39"/>
              <a:gd name="T28" fmla="*/ 70 w 70"/>
              <a:gd name="T29" fmla="*/ 20 h 39"/>
              <a:gd name="T30" fmla="*/ 3 w 70"/>
              <a:gd name="T31" fmla="*/ 20 h 39"/>
              <a:gd name="T32" fmla="*/ 7 w 70"/>
              <a:gd name="T33" fmla="*/ 3 h 39"/>
              <a:gd name="T34" fmla="*/ 64 w 70"/>
              <a:gd name="T35" fmla="*/ 3 h 39"/>
              <a:gd name="T36" fmla="*/ 67 w 70"/>
              <a:gd name="T37" fmla="*/ 20 h 39"/>
              <a:gd name="T38" fmla="*/ 64 w 70"/>
              <a:gd name="T39" fmla="*/ 36 h 39"/>
              <a:gd name="T40" fmla="*/ 49 w 70"/>
              <a:gd name="T41" fmla="*/ 36 h 39"/>
              <a:gd name="T42" fmla="*/ 49 w 70"/>
              <a:gd name="T43" fmla="*/ 29 h 39"/>
              <a:gd name="T44" fmla="*/ 47 w 70"/>
              <a:gd name="T45" fmla="*/ 27 h 39"/>
              <a:gd name="T46" fmla="*/ 23 w 70"/>
              <a:gd name="T47" fmla="*/ 27 h 39"/>
              <a:gd name="T48" fmla="*/ 21 w 70"/>
              <a:gd name="T49" fmla="*/ 29 h 39"/>
              <a:gd name="T50" fmla="*/ 21 w 70"/>
              <a:gd name="T51" fmla="*/ 36 h 39"/>
              <a:gd name="T52" fmla="*/ 7 w 70"/>
              <a:gd name="T53" fmla="*/ 36 h 39"/>
              <a:gd name="T54" fmla="*/ 3 w 70"/>
              <a:gd name="T55" fmla="*/ 20 h 39"/>
              <a:gd name="T56" fmla="*/ 46 w 70"/>
              <a:gd name="T57" fmla="*/ 36 h 39"/>
              <a:gd name="T58" fmla="*/ 25 w 70"/>
              <a:gd name="T59" fmla="*/ 36 h 39"/>
              <a:gd name="T60" fmla="*/ 25 w 70"/>
              <a:gd name="T61" fmla="*/ 31 h 39"/>
              <a:gd name="T62" fmla="*/ 25 w 70"/>
              <a:gd name="T63" fmla="*/ 30 h 39"/>
              <a:gd name="T64" fmla="*/ 45 w 70"/>
              <a:gd name="T65" fmla="*/ 30 h 39"/>
              <a:gd name="T66" fmla="*/ 46 w 70"/>
              <a:gd name="T67" fmla="*/ 31 h 39"/>
              <a:gd name="T68" fmla="*/ 46 w 70"/>
              <a:gd name="T69" fmla="*/ 36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70" h="39">
                <a:moveTo>
                  <a:pt x="70" y="20"/>
                </a:moveTo>
                <a:cubicBezTo>
                  <a:pt x="70" y="13"/>
                  <a:pt x="69" y="7"/>
                  <a:pt x="66" y="1"/>
                </a:cubicBezTo>
                <a:cubicBezTo>
                  <a:pt x="66" y="1"/>
                  <a:pt x="66" y="1"/>
                  <a:pt x="66" y="1"/>
                </a:cubicBezTo>
                <a:cubicBezTo>
                  <a:pt x="66" y="1"/>
                  <a:pt x="65" y="0"/>
                  <a:pt x="65" y="0"/>
                </a:cubicBezTo>
                <a:cubicBezTo>
                  <a:pt x="6" y="0"/>
                  <a:pt x="6" y="0"/>
                  <a:pt x="6" y="0"/>
                </a:cubicBezTo>
                <a:cubicBezTo>
                  <a:pt x="6" y="0"/>
                  <a:pt x="6" y="0"/>
                  <a:pt x="6" y="0"/>
                </a:cubicBezTo>
                <a:cubicBezTo>
                  <a:pt x="5" y="0"/>
                  <a:pt x="4" y="1"/>
                  <a:pt x="4" y="1"/>
                </a:cubicBezTo>
                <a:cubicBezTo>
                  <a:pt x="2" y="7"/>
                  <a:pt x="0" y="13"/>
                  <a:pt x="0" y="20"/>
                </a:cubicBezTo>
                <a:cubicBezTo>
                  <a:pt x="0" y="26"/>
                  <a:pt x="2" y="32"/>
                  <a:pt x="4" y="38"/>
                </a:cubicBezTo>
                <a:cubicBezTo>
                  <a:pt x="4" y="39"/>
                  <a:pt x="5" y="39"/>
                  <a:pt x="5" y="39"/>
                </a:cubicBezTo>
                <a:cubicBezTo>
                  <a:pt x="5" y="39"/>
                  <a:pt x="6" y="39"/>
                  <a:pt x="6" y="39"/>
                </a:cubicBezTo>
                <a:cubicBezTo>
                  <a:pt x="65" y="39"/>
                  <a:pt x="65" y="39"/>
                  <a:pt x="65" y="39"/>
                </a:cubicBezTo>
                <a:cubicBezTo>
                  <a:pt x="65" y="39"/>
                  <a:pt x="66" y="39"/>
                  <a:pt x="66" y="39"/>
                </a:cubicBezTo>
                <a:cubicBezTo>
                  <a:pt x="66" y="38"/>
                  <a:pt x="66" y="38"/>
                  <a:pt x="66" y="38"/>
                </a:cubicBezTo>
                <a:cubicBezTo>
                  <a:pt x="69" y="32"/>
                  <a:pt x="70" y="26"/>
                  <a:pt x="70" y="20"/>
                </a:cubicBezTo>
                <a:close/>
                <a:moveTo>
                  <a:pt x="3" y="20"/>
                </a:moveTo>
                <a:cubicBezTo>
                  <a:pt x="3" y="14"/>
                  <a:pt x="4" y="8"/>
                  <a:pt x="7" y="3"/>
                </a:cubicBezTo>
                <a:cubicBezTo>
                  <a:pt x="64" y="3"/>
                  <a:pt x="64" y="3"/>
                  <a:pt x="64" y="3"/>
                </a:cubicBezTo>
                <a:cubicBezTo>
                  <a:pt x="66" y="8"/>
                  <a:pt x="67" y="14"/>
                  <a:pt x="67" y="20"/>
                </a:cubicBezTo>
                <a:cubicBezTo>
                  <a:pt x="67" y="26"/>
                  <a:pt x="66" y="31"/>
                  <a:pt x="64" y="36"/>
                </a:cubicBezTo>
                <a:cubicBezTo>
                  <a:pt x="49" y="36"/>
                  <a:pt x="49" y="36"/>
                  <a:pt x="49" y="36"/>
                </a:cubicBezTo>
                <a:cubicBezTo>
                  <a:pt x="49" y="29"/>
                  <a:pt x="49" y="29"/>
                  <a:pt x="49" y="29"/>
                </a:cubicBezTo>
                <a:cubicBezTo>
                  <a:pt x="49" y="28"/>
                  <a:pt x="48" y="27"/>
                  <a:pt x="47" y="27"/>
                </a:cubicBezTo>
                <a:cubicBezTo>
                  <a:pt x="23" y="27"/>
                  <a:pt x="23" y="27"/>
                  <a:pt x="23" y="27"/>
                </a:cubicBezTo>
                <a:cubicBezTo>
                  <a:pt x="22" y="27"/>
                  <a:pt x="21" y="28"/>
                  <a:pt x="21" y="29"/>
                </a:cubicBezTo>
                <a:cubicBezTo>
                  <a:pt x="21" y="36"/>
                  <a:pt x="21" y="36"/>
                  <a:pt x="21" y="36"/>
                </a:cubicBezTo>
                <a:cubicBezTo>
                  <a:pt x="7" y="36"/>
                  <a:pt x="7" y="36"/>
                  <a:pt x="7" y="36"/>
                </a:cubicBezTo>
                <a:cubicBezTo>
                  <a:pt x="5" y="31"/>
                  <a:pt x="3" y="25"/>
                  <a:pt x="3" y="20"/>
                </a:cubicBezTo>
                <a:close/>
                <a:moveTo>
                  <a:pt x="46" y="36"/>
                </a:moveTo>
                <a:cubicBezTo>
                  <a:pt x="25" y="36"/>
                  <a:pt x="25" y="36"/>
                  <a:pt x="25" y="36"/>
                </a:cubicBezTo>
                <a:cubicBezTo>
                  <a:pt x="25" y="31"/>
                  <a:pt x="25" y="31"/>
                  <a:pt x="25" y="31"/>
                </a:cubicBezTo>
                <a:cubicBezTo>
                  <a:pt x="25" y="31"/>
                  <a:pt x="25" y="30"/>
                  <a:pt x="25" y="30"/>
                </a:cubicBezTo>
                <a:cubicBezTo>
                  <a:pt x="45" y="30"/>
                  <a:pt x="45" y="30"/>
                  <a:pt x="45" y="30"/>
                </a:cubicBezTo>
                <a:cubicBezTo>
                  <a:pt x="45" y="30"/>
                  <a:pt x="46" y="31"/>
                  <a:pt x="46" y="31"/>
                </a:cubicBezTo>
                <a:cubicBezTo>
                  <a:pt x="46" y="36"/>
                  <a:pt x="46" y="36"/>
                  <a:pt x="46" y="36"/>
                </a:cubicBezTo>
                <a:close/>
              </a:path>
            </a:pathLst>
          </a:custGeom>
          <a:solidFill>
            <a:srgbClr val="21548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52" name="Rectangle 37"/>
          <p:cNvSpPr>
            <a:spLocks noChangeArrowheads="1"/>
          </p:cNvSpPr>
          <p:nvPr/>
        </p:nvSpPr>
        <p:spPr bwMode="auto">
          <a:xfrm>
            <a:off x="3751263" y="1770064"/>
            <a:ext cx="558800" cy="168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1225">
              <a:defRPr/>
            </a:pPr>
            <a:r>
              <a:rPr lang="zh-CN" altLang="zh-CN" sz="1100" kern="0" dirty="0">
                <a:solidFill>
                  <a:srgbClr val="215483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家电企业</a:t>
            </a:r>
            <a:endParaRPr lang="zh-CN" altLang="zh-CN" kern="0" dirty="0">
              <a:solidFill>
                <a:prstClr val="black"/>
              </a:solidFill>
            </a:endParaRPr>
          </a:p>
        </p:txBody>
      </p:sp>
      <p:sp>
        <p:nvSpPr>
          <p:cNvPr id="253" name="Rectangle 38"/>
          <p:cNvSpPr>
            <a:spLocks noChangeArrowheads="1"/>
          </p:cNvSpPr>
          <p:nvPr/>
        </p:nvSpPr>
        <p:spPr bwMode="auto">
          <a:xfrm>
            <a:off x="2805114" y="1746251"/>
            <a:ext cx="355600" cy="107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1225">
              <a:defRPr/>
            </a:pPr>
            <a:r>
              <a:rPr lang="zh-CN" altLang="zh-CN" sz="700" kern="0" dirty="0">
                <a:solidFill>
                  <a:srgbClr val="215483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服装企业</a:t>
            </a:r>
            <a:endParaRPr lang="zh-CN" altLang="zh-CN" kern="0" dirty="0">
              <a:solidFill>
                <a:prstClr val="black"/>
              </a:solidFill>
            </a:endParaRPr>
          </a:p>
        </p:txBody>
      </p:sp>
      <p:sp>
        <p:nvSpPr>
          <p:cNvPr id="254" name="Rectangle 39"/>
          <p:cNvSpPr>
            <a:spLocks noChangeArrowheads="1"/>
          </p:cNvSpPr>
          <p:nvPr/>
        </p:nvSpPr>
        <p:spPr bwMode="auto">
          <a:xfrm>
            <a:off x="4524375" y="1997077"/>
            <a:ext cx="177800" cy="107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1225">
              <a:defRPr/>
            </a:pPr>
            <a:r>
              <a:rPr lang="zh-CN" altLang="zh-CN" sz="700" kern="0" dirty="0">
                <a:solidFill>
                  <a:srgbClr val="215483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创客</a:t>
            </a:r>
            <a:endParaRPr lang="zh-CN" altLang="zh-CN" kern="0" dirty="0">
              <a:solidFill>
                <a:prstClr val="black"/>
              </a:solidFill>
            </a:endParaRPr>
          </a:p>
        </p:txBody>
      </p:sp>
      <p:sp>
        <p:nvSpPr>
          <p:cNvPr id="255" name="Rectangle 40"/>
          <p:cNvSpPr>
            <a:spLocks noChangeArrowheads="1"/>
          </p:cNvSpPr>
          <p:nvPr/>
        </p:nvSpPr>
        <p:spPr bwMode="auto">
          <a:xfrm>
            <a:off x="4362450" y="1624014"/>
            <a:ext cx="177800" cy="107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91122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700" kern="0" dirty="0">
                <a:solidFill>
                  <a:srgbClr val="215483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创客</a:t>
            </a:r>
            <a:endParaRPr lang="zh-CN" altLang="zh-CN" sz="700" kern="0" dirty="0">
              <a:solidFill>
                <a:srgbClr val="215483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56" name="Rectangle 41"/>
          <p:cNvSpPr>
            <a:spLocks noChangeArrowheads="1"/>
          </p:cNvSpPr>
          <p:nvPr/>
        </p:nvSpPr>
        <p:spPr bwMode="auto">
          <a:xfrm>
            <a:off x="2670175" y="1958976"/>
            <a:ext cx="177800" cy="107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1225">
              <a:defRPr/>
            </a:pPr>
            <a:r>
              <a:rPr lang="zh-CN" altLang="zh-CN" sz="700" kern="0" dirty="0">
                <a:solidFill>
                  <a:srgbClr val="215483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政府</a:t>
            </a:r>
            <a:endParaRPr lang="zh-CN" altLang="zh-CN" kern="0" dirty="0">
              <a:solidFill>
                <a:prstClr val="black"/>
              </a:solidFill>
            </a:endParaRPr>
          </a:p>
        </p:txBody>
      </p:sp>
      <p:sp>
        <p:nvSpPr>
          <p:cNvPr id="257" name="Rectangle 42"/>
          <p:cNvSpPr>
            <a:spLocks noChangeArrowheads="1"/>
          </p:cNvSpPr>
          <p:nvPr/>
        </p:nvSpPr>
        <p:spPr bwMode="auto">
          <a:xfrm>
            <a:off x="3324226" y="1625601"/>
            <a:ext cx="355600" cy="107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1225">
              <a:defRPr/>
            </a:pPr>
            <a:r>
              <a:rPr lang="zh-CN" altLang="zh-CN" sz="700" kern="0">
                <a:solidFill>
                  <a:srgbClr val="215483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食品企业</a:t>
            </a:r>
            <a:endParaRPr lang="zh-CN" altLang="zh-CN" kern="0">
              <a:solidFill>
                <a:prstClr val="black"/>
              </a:solidFill>
            </a:endParaRPr>
          </a:p>
        </p:txBody>
      </p:sp>
      <p:sp>
        <p:nvSpPr>
          <p:cNvPr id="258" name="Rectangle 43"/>
          <p:cNvSpPr>
            <a:spLocks noChangeArrowheads="1"/>
          </p:cNvSpPr>
          <p:nvPr/>
        </p:nvSpPr>
        <p:spPr bwMode="auto">
          <a:xfrm>
            <a:off x="4660901" y="1806576"/>
            <a:ext cx="355600" cy="107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1225">
              <a:defRPr/>
            </a:pPr>
            <a:r>
              <a:rPr lang="zh-CN" altLang="en-US" sz="700" kern="0" dirty="0">
                <a:solidFill>
                  <a:srgbClr val="215483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装备</a:t>
            </a:r>
            <a:r>
              <a:rPr lang="zh-CN" altLang="zh-CN" sz="700" kern="0" dirty="0">
                <a:solidFill>
                  <a:srgbClr val="215483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行业</a:t>
            </a:r>
            <a:endParaRPr lang="zh-CN" altLang="zh-CN" kern="0" dirty="0">
              <a:solidFill>
                <a:prstClr val="black"/>
              </a:solidFill>
            </a:endParaRPr>
          </a:p>
        </p:txBody>
      </p:sp>
      <p:sp>
        <p:nvSpPr>
          <p:cNvPr id="259" name="Rectangle 44"/>
          <p:cNvSpPr>
            <a:spLocks noChangeArrowheads="1"/>
          </p:cNvSpPr>
          <p:nvPr/>
        </p:nvSpPr>
        <p:spPr bwMode="auto">
          <a:xfrm>
            <a:off x="5124451" y="1657350"/>
            <a:ext cx="381000" cy="7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1225">
              <a:defRPr/>
            </a:pPr>
            <a:r>
              <a:rPr lang="zh-CN" altLang="zh-CN" sz="500" kern="0" dirty="0">
                <a:solidFill>
                  <a:srgbClr val="215483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消费电子行业</a:t>
            </a:r>
            <a:endParaRPr lang="zh-CN" altLang="zh-CN" kern="0" dirty="0">
              <a:solidFill>
                <a:prstClr val="black"/>
              </a:solidFill>
            </a:endParaRPr>
          </a:p>
        </p:txBody>
      </p:sp>
      <p:sp>
        <p:nvSpPr>
          <p:cNvPr id="260" name="Freeform 45"/>
          <p:cNvSpPr>
            <a:spLocks noEditPoints="1"/>
          </p:cNvSpPr>
          <p:nvPr/>
        </p:nvSpPr>
        <p:spPr bwMode="auto">
          <a:xfrm>
            <a:off x="4397375" y="1536700"/>
            <a:ext cx="65088" cy="71438"/>
          </a:xfrm>
          <a:custGeom>
            <a:avLst/>
            <a:gdLst>
              <a:gd name="T0" fmla="*/ 41 w 60"/>
              <a:gd name="T1" fmla="*/ 36 h 64"/>
              <a:gd name="T2" fmla="*/ 49 w 60"/>
              <a:gd name="T3" fmla="*/ 20 h 64"/>
              <a:gd name="T4" fmla="*/ 30 w 60"/>
              <a:gd name="T5" fmla="*/ 0 h 64"/>
              <a:gd name="T6" fmla="*/ 11 w 60"/>
              <a:gd name="T7" fmla="*/ 20 h 64"/>
              <a:gd name="T8" fmla="*/ 19 w 60"/>
              <a:gd name="T9" fmla="*/ 36 h 64"/>
              <a:gd name="T10" fmla="*/ 0 w 60"/>
              <a:gd name="T11" fmla="*/ 64 h 64"/>
              <a:gd name="T12" fmla="*/ 0 w 60"/>
              <a:gd name="T13" fmla="*/ 64 h 64"/>
              <a:gd name="T14" fmla="*/ 6 w 60"/>
              <a:gd name="T15" fmla="*/ 64 h 64"/>
              <a:gd name="T16" fmla="*/ 6 w 60"/>
              <a:gd name="T17" fmla="*/ 64 h 64"/>
              <a:gd name="T18" fmla="*/ 27 w 60"/>
              <a:gd name="T19" fmla="*/ 39 h 64"/>
              <a:gd name="T20" fmla="*/ 33 w 60"/>
              <a:gd name="T21" fmla="*/ 39 h 64"/>
              <a:gd name="T22" fmla="*/ 33 w 60"/>
              <a:gd name="T23" fmla="*/ 39 h 64"/>
              <a:gd name="T24" fmla="*/ 33 w 60"/>
              <a:gd name="T25" fmla="*/ 39 h 64"/>
              <a:gd name="T26" fmla="*/ 54 w 60"/>
              <a:gd name="T27" fmla="*/ 64 h 64"/>
              <a:gd name="T28" fmla="*/ 54 w 60"/>
              <a:gd name="T29" fmla="*/ 64 h 64"/>
              <a:gd name="T30" fmla="*/ 60 w 60"/>
              <a:gd name="T31" fmla="*/ 64 h 64"/>
              <a:gd name="T32" fmla="*/ 60 w 60"/>
              <a:gd name="T33" fmla="*/ 64 h 64"/>
              <a:gd name="T34" fmla="*/ 41 w 60"/>
              <a:gd name="T35" fmla="*/ 36 h 64"/>
              <a:gd name="T36" fmla="*/ 41 w 60"/>
              <a:gd name="T37" fmla="*/ 36 h 64"/>
              <a:gd name="T38" fmla="*/ 30 w 60"/>
              <a:gd name="T39" fmla="*/ 34 h 64"/>
              <a:gd name="T40" fmla="*/ 16 w 60"/>
              <a:gd name="T41" fmla="*/ 20 h 64"/>
              <a:gd name="T42" fmla="*/ 30 w 60"/>
              <a:gd name="T43" fmla="*/ 5 h 64"/>
              <a:gd name="T44" fmla="*/ 44 w 60"/>
              <a:gd name="T45" fmla="*/ 20 h 64"/>
              <a:gd name="T46" fmla="*/ 30 w 60"/>
              <a:gd name="T47" fmla="*/ 34 h 64"/>
              <a:gd name="T48" fmla="*/ 30 w 60"/>
              <a:gd name="T49" fmla="*/ 34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64">
                <a:moveTo>
                  <a:pt x="41" y="36"/>
                </a:moveTo>
                <a:cubicBezTo>
                  <a:pt x="46" y="32"/>
                  <a:pt x="49" y="27"/>
                  <a:pt x="49" y="20"/>
                </a:cubicBezTo>
                <a:cubicBezTo>
                  <a:pt x="49" y="9"/>
                  <a:pt x="40" y="0"/>
                  <a:pt x="30" y="0"/>
                </a:cubicBezTo>
                <a:cubicBezTo>
                  <a:pt x="19" y="0"/>
                  <a:pt x="11" y="9"/>
                  <a:pt x="11" y="20"/>
                </a:cubicBezTo>
                <a:cubicBezTo>
                  <a:pt x="11" y="26"/>
                  <a:pt x="14" y="32"/>
                  <a:pt x="19" y="36"/>
                </a:cubicBezTo>
                <a:cubicBezTo>
                  <a:pt x="8" y="40"/>
                  <a:pt x="0" y="51"/>
                  <a:pt x="0" y="64"/>
                </a:cubicBezTo>
                <a:cubicBezTo>
                  <a:pt x="0" y="64"/>
                  <a:pt x="0" y="64"/>
                  <a:pt x="0" y="64"/>
                </a:cubicBezTo>
                <a:cubicBezTo>
                  <a:pt x="6" y="64"/>
                  <a:pt x="6" y="64"/>
                  <a:pt x="6" y="64"/>
                </a:cubicBezTo>
                <a:cubicBezTo>
                  <a:pt x="6" y="64"/>
                  <a:pt x="6" y="64"/>
                  <a:pt x="6" y="64"/>
                </a:cubicBezTo>
                <a:cubicBezTo>
                  <a:pt x="6" y="52"/>
                  <a:pt x="15" y="41"/>
                  <a:pt x="27" y="39"/>
                </a:cubicBezTo>
                <a:cubicBezTo>
                  <a:pt x="27" y="39"/>
                  <a:pt x="30" y="39"/>
                  <a:pt x="33" y="39"/>
                </a:cubicBezTo>
                <a:cubicBezTo>
                  <a:pt x="33" y="39"/>
                  <a:pt x="33" y="39"/>
                  <a:pt x="33" y="39"/>
                </a:cubicBezTo>
                <a:cubicBezTo>
                  <a:pt x="33" y="39"/>
                  <a:pt x="33" y="39"/>
                  <a:pt x="33" y="39"/>
                </a:cubicBezTo>
                <a:cubicBezTo>
                  <a:pt x="45" y="41"/>
                  <a:pt x="54" y="52"/>
                  <a:pt x="54" y="64"/>
                </a:cubicBezTo>
                <a:cubicBezTo>
                  <a:pt x="54" y="64"/>
                  <a:pt x="54" y="64"/>
                  <a:pt x="54" y="64"/>
                </a:cubicBezTo>
                <a:cubicBezTo>
                  <a:pt x="60" y="64"/>
                  <a:pt x="60" y="64"/>
                  <a:pt x="60" y="64"/>
                </a:cubicBezTo>
                <a:cubicBezTo>
                  <a:pt x="60" y="64"/>
                  <a:pt x="60" y="64"/>
                  <a:pt x="60" y="64"/>
                </a:cubicBezTo>
                <a:cubicBezTo>
                  <a:pt x="60" y="51"/>
                  <a:pt x="52" y="40"/>
                  <a:pt x="41" y="36"/>
                </a:cubicBezTo>
                <a:cubicBezTo>
                  <a:pt x="41" y="36"/>
                  <a:pt x="41" y="36"/>
                  <a:pt x="41" y="36"/>
                </a:cubicBezTo>
                <a:close/>
                <a:moveTo>
                  <a:pt x="30" y="34"/>
                </a:moveTo>
                <a:cubicBezTo>
                  <a:pt x="22" y="34"/>
                  <a:pt x="16" y="28"/>
                  <a:pt x="16" y="20"/>
                </a:cubicBezTo>
                <a:cubicBezTo>
                  <a:pt x="16" y="11"/>
                  <a:pt x="22" y="5"/>
                  <a:pt x="30" y="5"/>
                </a:cubicBezTo>
                <a:cubicBezTo>
                  <a:pt x="38" y="5"/>
                  <a:pt x="44" y="11"/>
                  <a:pt x="44" y="20"/>
                </a:cubicBezTo>
                <a:cubicBezTo>
                  <a:pt x="44" y="28"/>
                  <a:pt x="38" y="34"/>
                  <a:pt x="30" y="34"/>
                </a:cubicBezTo>
                <a:cubicBezTo>
                  <a:pt x="30" y="34"/>
                  <a:pt x="30" y="34"/>
                  <a:pt x="30" y="34"/>
                </a:cubicBezTo>
                <a:close/>
              </a:path>
            </a:pathLst>
          </a:custGeom>
          <a:solidFill>
            <a:srgbClr val="21548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61" name="Freeform 46"/>
          <p:cNvSpPr>
            <a:spLocks noEditPoints="1"/>
          </p:cNvSpPr>
          <p:nvPr/>
        </p:nvSpPr>
        <p:spPr bwMode="auto">
          <a:xfrm>
            <a:off x="4441825" y="1909764"/>
            <a:ext cx="71438" cy="79375"/>
          </a:xfrm>
          <a:custGeom>
            <a:avLst/>
            <a:gdLst>
              <a:gd name="T0" fmla="*/ 45 w 66"/>
              <a:gd name="T1" fmla="*/ 39 h 71"/>
              <a:gd name="T2" fmla="*/ 54 w 66"/>
              <a:gd name="T3" fmla="*/ 21 h 71"/>
              <a:gd name="T4" fmla="*/ 33 w 66"/>
              <a:gd name="T5" fmla="*/ 0 h 71"/>
              <a:gd name="T6" fmla="*/ 12 w 66"/>
              <a:gd name="T7" fmla="*/ 21 h 71"/>
              <a:gd name="T8" fmla="*/ 21 w 66"/>
              <a:gd name="T9" fmla="*/ 39 h 71"/>
              <a:gd name="T10" fmla="*/ 0 w 66"/>
              <a:gd name="T11" fmla="*/ 71 h 71"/>
              <a:gd name="T12" fmla="*/ 0 w 66"/>
              <a:gd name="T13" fmla="*/ 71 h 71"/>
              <a:gd name="T14" fmla="*/ 6 w 66"/>
              <a:gd name="T15" fmla="*/ 71 h 71"/>
              <a:gd name="T16" fmla="*/ 6 w 66"/>
              <a:gd name="T17" fmla="*/ 71 h 71"/>
              <a:gd name="T18" fmla="*/ 30 w 66"/>
              <a:gd name="T19" fmla="*/ 43 h 71"/>
              <a:gd name="T20" fmla="*/ 36 w 66"/>
              <a:gd name="T21" fmla="*/ 43 h 71"/>
              <a:gd name="T22" fmla="*/ 37 w 66"/>
              <a:gd name="T23" fmla="*/ 43 h 71"/>
              <a:gd name="T24" fmla="*/ 37 w 66"/>
              <a:gd name="T25" fmla="*/ 43 h 71"/>
              <a:gd name="T26" fmla="*/ 60 w 66"/>
              <a:gd name="T27" fmla="*/ 71 h 71"/>
              <a:gd name="T28" fmla="*/ 60 w 66"/>
              <a:gd name="T29" fmla="*/ 71 h 71"/>
              <a:gd name="T30" fmla="*/ 66 w 66"/>
              <a:gd name="T31" fmla="*/ 71 h 71"/>
              <a:gd name="T32" fmla="*/ 66 w 66"/>
              <a:gd name="T33" fmla="*/ 71 h 71"/>
              <a:gd name="T34" fmla="*/ 45 w 66"/>
              <a:gd name="T35" fmla="*/ 39 h 71"/>
              <a:gd name="T36" fmla="*/ 45 w 66"/>
              <a:gd name="T37" fmla="*/ 39 h 71"/>
              <a:gd name="T38" fmla="*/ 33 w 66"/>
              <a:gd name="T39" fmla="*/ 38 h 71"/>
              <a:gd name="T40" fmla="*/ 17 w 66"/>
              <a:gd name="T41" fmla="*/ 21 h 71"/>
              <a:gd name="T42" fmla="*/ 33 w 66"/>
              <a:gd name="T43" fmla="*/ 5 h 71"/>
              <a:gd name="T44" fmla="*/ 49 w 66"/>
              <a:gd name="T45" fmla="*/ 21 h 71"/>
              <a:gd name="T46" fmla="*/ 33 w 66"/>
              <a:gd name="T47" fmla="*/ 38 h 71"/>
              <a:gd name="T48" fmla="*/ 33 w 66"/>
              <a:gd name="T49" fmla="*/ 38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6" h="71">
                <a:moveTo>
                  <a:pt x="45" y="39"/>
                </a:moveTo>
                <a:cubicBezTo>
                  <a:pt x="50" y="35"/>
                  <a:pt x="54" y="29"/>
                  <a:pt x="54" y="21"/>
                </a:cubicBezTo>
                <a:cubicBezTo>
                  <a:pt x="54" y="9"/>
                  <a:pt x="45" y="0"/>
                  <a:pt x="33" y="0"/>
                </a:cubicBezTo>
                <a:cubicBezTo>
                  <a:pt x="21" y="0"/>
                  <a:pt x="12" y="9"/>
                  <a:pt x="12" y="21"/>
                </a:cubicBezTo>
                <a:cubicBezTo>
                  <a:pt x="12" y="29"/>
                  <a:pt x="16" y="35"/>
                  <a:pt x="21" y="39"/>
                </a:cubicBezTo>
                <a:cubicBezTo>
                  <a:pt x="9" y="44"/>
                  <a:pt x="0" y="57"/>
                  <a:pt x="0" y="71"/>
                </a:cubicBezTo>
                <a:cubicBezTo>
                  <a:pt x="0" y="71"/>
                  <a:pt x="0" y="71"/>
                  <a:pt x="0" y="71"/>
                </a:cubicBezTo>
                <a:cubicBezTo>
                  <a:pt x="6" y="71"/>
                  <a:pt x="6" y="71"/>
                  <a:pt x="6" y="71"/>
                </a:cubicBezTo>
                <a:cubicBezTo>
                  <a:pt x="6" y="71"/>
                  <a:pt x="6" y="71"/>
                  <a:pt x="6" y="71"/>
                </a:cubicBezTo>
                <a:cubicBezTo>
                  <a:pt x="6" y="57"/>
                  <a:pt x="17" y="45"/>
                  <a:pt x="30" y="43"/>
                </a:cubicBezTo>
                <a:cubicBezTo>
                  <a:pt x="30" y="43"/>
                  <a:pt x="34" y="43"/>
                  <a:pt x="36" y="43"/>
                </a:cubicBezTo>
                <a:cubicBezTo>
                  <a:pt x="37" y="43"/>
                  <a:pt x="37" y="43"/>
                  <a:pt x="37" y="43"/>
                </a:cubicBezTo>
                <a:cubicBezTo>
                  <a:pt x="37" y="43"/>
                  <a:pt x="37" y="43"/>
                  <a:pt x="37" y="43"/>
                </a:cubicBezTo>
                <a:cubicBezTo>
                  <a:pt x="50" y="45"/>
                  <a:pt x="60" y="57"/>
                  <a:pt x="60" y="71"/>
                </a:cubicBezTo>
                <a:cubicBezTo>
                  <a:pt x="60" y="71"/>
                  <a:pt x="60" y="71"/>
                  <a:pt x="60" y="71"/>
                </a:cubicBezTo>
                <a:cubicBezTo>
                  <a:pt x="66" y="71"/>
                  <a:pt x="66" y="71"/>
                  <a:pt x="66" y="71"/>
                </a:cubicBezTo>
                <a:cubicBezTo>
                  <a:pt x="66" y="71"/>
                  <a:pt x="66" y="71"/>
                  <a:pt x="66" y="71"/>
                </a:cubicBezTo>
                <a:cubicBezTo>
                  <a:pt x="66" y="57"/>
                  <a:pt x="57" y="44"/>
                  <a:pt x="45" y="39"/>
                </a:cubicBezTo>
                <a:cubicBezTo>
                  <a:pt x="45" y="39"/>
                  <a:pt x="45" y="39"/>
                  <a:pt x="45" y="39"/>
                </a:cubicBezTo>
                <a:close/>
                <a:moveTo>
                  <a:pt x="33" y="38"/>
                </a:moveTo>
                <a:cubicBezTo>
                  <a:pt x="24" y="38"/>
                  <a:pt x="17" y="30"/>
                  <a:pt x="17" y="21"/>
                </a:cubicBezTo>
                <a:cubicBezTo>
                  <a:pt x="17" y="12"/>
                  <a:pt x="24" y="5"/>
                  <a:pt x="33" y="5"/>
                </a:cubicBezTo>
                <a:cubicBezTo>
                  <a:pt x="42" y="5"/>
                  <a:pt x="49" y="12"/>
                  <a:pt x="49" y="21"/>
                </a:cubicBezTo>
                <a:cubicBezTo>
                  <a:pt x="49" y="30"/>
                  <a:pt x="42" y="38"/>
                  <a:pt x="33" y="38"/>
                </a:cubicBezTo>
                <a:cubicBezTo>
                  <a:pt x="33" y="38"/>
                  <a:pt x="33" y="38"/>
                  <a:pt x="33" y="38"/>
                </a:cubicBezTo>
                <a:close/>
              </a:path>
            </a:pathLst>
          </a:custGeom>
          <a:solidFill>
            <a:srgbClr val="21548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62" name="Freeform 47"/>
          <p:cNvSpPr>
            <a:spLocks noEditPoints="1"/>
          </p:cNvSpPr>
          <p:nvPr/>
        </p:nvSpPr>
        <p:spPr bwMode="auto">
          <a:xfrm>
            <a:off x="4381500" y="1890714"/>
            <a:ext cx="71438" cy="79375"/>
          </a:xfrm>
          <a:custGeom>
            <a:avLst/>
            <a:gdLst>
              <a:gd name="T0" fmla="*/ 45 w 65"/>
              <a:gd name="T1" fmla="*/ 39 h 71"/>
              <a:gd name="T2" fmla="*/ 53 w 65"/>
              <a:gd name="T3" fmla="*/ 22 h 71"/>
              <a:gd name="T4" fmla="*/ 33 w 65"/>
              <a:gd name="T5" fmla="*/ 0 h 71"/>
              <a:gd name="T6" fmla="*/ 12 w 65"/>
              <a:gd name="T7" fmla="*/ 21 h 71"/>
              <a:gd name="T8" fmla="*/ 21 w 65"/>
              <a:gd name="T9" fmla="*/ 39 h 71"/>
              <a:gd name="T10" fmla="*/ 0 w 65"/>
              <a:gd name="T11" fmla="*/ 71 h 71"/>
              <a:gd name="T12" fmla="*/ 0 w 65"/>
              <a:gd name="T13" fmla="*/ 71 h 71"/>
              <a:gd name="T14" fmla="*/ 6 w 65"/>
              <a:gd name="T15" fmla="*/ 71 h 71"/>
              <a:gd name="T16" fmla="*/ 6 w 65"/>
              <a:gd name="T17" fmla="*/ 71 h 71"/>
              <a:gd name="T18" fmla="*/ 29 w 65"/>
              <a:gd name="T19" fmla="*/ 43 h 71"/>
              <a:gd name="T20" fmla="*/ 36 w 65"/>
              <a:gd name="T21" fmla="*/ 43 h 71"/>
              <a:gd name="T22" fmla="*/ 36 w 65"/>
              <a:gd name="T23" fmla="*/ 43 h 71"/>
              <a:gd name="T24" fmla="*/ 36 w 65"/>
              <a:gd name="T25" fmla="*/ 43 h 71"/>
              <a:gd name="T26" fmla="*/ 59 w 65"/>
              <a:gd name="T27" fmla="*/ 71 h 71"/>
              <a:gd name="T28" fmla="*/ 59 w 65"/>
              <a:gd name="T29" fmla="*/ 71 h 71"/>
              <a:gd name="T30" fmla="*/ 65 w 65"/>
              <a:gd name="T31" fmla="*/ 71 h 71"/>
              <a:gd name="T32" fmla="*/ 65 w 65"/>
              <a:gd name="T33" fmla="*/ 71 h 71"/>
              <a:gd name="T34" fmla="*/ 45 w 65"/>
              <a:gd name="T35" fmla="*/ 39 h 71"/>
              <a:gd name="T36" fmla="*/ 45 w 65"/>
              <a:gd name="T37" fmla="*/ 39 h 71"/>
              <a:gd name="T38" fmla="*/ 33 w 65"/>
              <a:gd name="T39" fmla="*/ 38 h 71"/>
              <a:gd name="T40" fmla="*/ 17 w 65"/>
              <a:gd name="T41" fmla="*/ 21 h 71"/>
              <a:gd name="T42" fmla="*/ 33 w 65"/>
              <a:gd name="T43" fmla="*/ 5 h 71"/>
              <a:gd name="T44" fmla="*/ 48 w 65"/>
              <a:gd name="T45" fmla="*/ 21 h 71"/>
              <a:gd name="T46" fmla="*/ 33 w 65"/>
              <a:gd name="T47" fmla="*/ 38 h 71"/>
              <a:gd name="T48" fmla="*/ 33 w 65"/>
              <a:gd name="T49" fmla="*/ 38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" h="71">
                <a:moveTo>
                  <a:pt x="45" y="39"/>
                </a:moveTo>
                <a:cubicBezTo>
                  <a:pt x="50" y="36"/>
                  <a:pt x="53" y="29"/>
                  <a:pt x="53" y="22"/>
                </a:cubicBezTo>
                <a:cubicBezTo>
                  <a:pt x="53" y="10"/>
                  <a:pt x="44" y="0"/>
                  <a:pt x="33" y="0"/>
                </a:cubicBezTo>
                <a:cubicBezTo>
                  <a:pt x="21" y="0"/>
                  <a:pt x="12" y="10"/>
                  <a:pt x="12" y="21"/>
                </a:cubicBezTo>
                <a:cubicBezTo>
                  <a:pt x="12" y="29"/>
                  <a:pt x="15" y="35"/>
                  <a:pt x="21" y="39"/>
                </a:cubicBezTo>
                <a:cubicBezTo>
                  <a:pt x="8" y="44"/>
                  <a:pt x="0" y="57"/>
                  <a:pt x="0" y="71"/>
                </a:cubicBezTo>
                <a:cubicBezTo>
                  <a:pt x="0" y="71"/>
                  <a:pt x="0" y="71"/>
                  <a:pt x="0" y="71"/>
                </a:cubicBezTo>
                <a:cubicBezTo>
                  <a:pt x="6" y="71"/>
                  <a:pt x="6" y="71"/>
                  <a:pt x="6" y="71"/>
                </a:cubicBezTo>
                <a:cubicBezTo>
                  <a:pt x="6" y="71"/>
                  <a:pt x="6" y="71"/>
                  <a:pt x="6" y="71"/>
                </a:cubicBezTo>
                <a:cubicBezTo>
                  <a:pt x="6" y="57"/>
                  <a:pt x="16" y="45"/>
                  <a:pt x="29" y="43"/>
                </a:cubicBezTo>
                <a:cubicBezTo>
                  <a:pt x="30" y="43"/>
                  <a:pt x="33" y="43"/>
                  <a:pt x="36" y="43"/>
                </a:cubicBezTo>
                <a:cubicBezTo>
                  <a:pt x="36" y="43"/>
                  <a:pt x="36" y="43"/>
                  <a:pt x="36" y="43"/>
                </a:cubicBezTo>
                <a:cubicBezTo>
                  <a:pt x="36" y="43"/>
                  <a:pt x="36" y="43"/>
                  <a:pt x="36" y="43"/>
                </a:cubicBezTo>
                <a:cubicBezTo>
                  <a:pt x="49" y="45"/>
                  <a:pt x="59" y="57"/>
                  <a:pt x="59" y="71"/>
                </a:cubicBezTo>
                <a:cubicBezTo>
                  <a:pt x="59" y="71"/>
                  <a:pt x="59" y="71"/>
                  <a:pt x="59" y="71"/>
                </a:cubicBezTo>
                <a:cubicBezTo>
                  <a:pt x="65" y="71"/>
                  <a:pt x="65" y="71"/>
                  <a:pt x="65" y="71"/>
                </a:cubicBezTo>
                <a:cubicBezTo>
                  <a:pt x="65" y="71"/>
                  <a:pt x="65" y="71"/>
                  <a:pt x="65" y="71"/>
                </a:cubicBezTo>
                <a:cubicBezTo>
                  <a:pt x="65" y="57"/>
                  <a:pt x="57" y="44"/>
                  <a:pt x="45" y="39"/>
                </a:cubicBezTo>
                <a:cubicBezTo>
                  <a:pt x="45" y="39"/>
                  <a:pt x="45" y="39"/>
                  <a:pt x="45" y="39"/>
                </a:cubicBezTo>
                <a:close/>
                <a:moveTo>
                  <a:pt x="33" y="38"/>
                </a:moveTo>
                <a:cubicBezTo>
                  <a:pt x="24" y="38"/>
                  <a:pt x="17" y="30"/>
                  <a:pt x="17" y="21"/>
                </a:cubicBezTo>
                <a:cubicBezTo>
                  <a:pt x="17" y="12"/>
                  <a:pt x="24" y="5"/>
                  <a:pt x="33" y="5"/>
                </a:cubicBezTo>
                <a:cubicBezTo>
                  <a:pt x="41" y="5"/>
                  <a:pt x="48" y="12"/>
                  <a:pt x="48" y="21"/>
                </a:cubicBezTo>
                <a:cubicBezTo>
                  <a:pt x="48" y="30"/>
                  <a:pt x="41" y="38"/>
                  <a:pt x="33" y="38"/>
                </a:cubicBezTo>
                <a:cubicBezTo>
                  <a:pt x="33" y="38"/>
                  <a:pt x="33" y="38"/>
                  <a:pt x="33" y="38"/>
                </a:cubicBezTo>
                <a:close/>
              </a:path>
            </a:pathLst>
          </a:custGeom>
          <a:solidFill>
            <a:srgbClr val="21548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63" name="Freeform 48"/>
          <p:cNvSpPr>
            <a:spLocks noEditPoints="1"/>
          </p:cNvSpPr>
          <p:nvPr/>
        </p:nvSpPr>
        <p:spPr bwMode="auto">
          <a:xfrm>
            <a:off x="3009901" y="1531938"/>
            <a:ext cx="174625" cy="139700"/>
          </a:xfrm>
          <a:custGeom>
            <a:avLst/>
            <a:gdLst>
              <a:gd name="T0" fmla="*/ 4 w 160"/>
              <a:gd name="T1" fmla="*/ 126 h 126"/>
              <a:gd name="T2" fmla="*/ 0 w 160"/>
              <a:gd name="T3" fmla="*/ 62 h 126"/>
              <a:gd name="T4" fmla="*/ 34 w 160"/>
              <a:gd name="T5" fmla="*/ 57 h 126"/>
              <a:gd name="T6" fmla="*/ 6 w 160"/>
              <a:gd name="T7" fmla="*/ 64 h 126"/>
              <a:gd name="T8" fmla="*/ 92 w 160"/>
              <a:gd name="T9" fmla="*/ 119 h 126"/>
              <a:gd name="T10" fmla="*/ 61 w 160"/>
              <a:gd name="T11" fmla="*/ 64 h 126"/>
              <a:gd name="T12" fmla="*/ 94 w 160"/>
              <a:gd name="T13" fmla="*/ 57 h 126"/>
              <a:gd name="T14" fmla="*/ 99 w 160"/>
              <a:gd name="T15" fmla="*/ 122 h 126"/>
              <a:gd name="T16" fmla="*/ 64 w 160"/>
              <a:gd name="T17" fmla="*/ 58 h 126"/>
              <a:gd name="T18" fmla="*/ 47 w 160"/>
              <a:gd name="T19" fmla="*/ 44 h 126"/>
              <a:gd name="T20" fmla="*/ 30 w 160"/>
              <a:gd name="T21" fmla="*/ 58 h 126"/>
              <a:gd name="T22" fmla="*/ 64 w 160"/>
              <a:gd name="T23" fmla="*/ 58 h 126"/>
              <a:gd name="T24" fmla="*/ 112 w 160"/>
              <a:gd name="T25" fmla="*/ 73 h 126"/>
              <a:gd name="T26" fmla="*/ 123 w 160"/>
              <a:gd name="T27" fmla="*/ 73 h 126"/>
              <a:gd name="T28" fmla="*/ 117 w 160"/>
              <a:gd name="T29" fmla="*/ 71 h 126"/>
              <a:gd name="T30" fmla="*/ 117 w 160"/>
              <a:gd name="T31" fmla="*/ 75 h 126"/>
              <a:gd name="T32" fmla="*/ 117 w 160"/>
              <a:gd name="T33" fmla="*/ 71 h 126"/>
              <a:gd name="T34" fmla="*/ 112 w 160"/>
              <a:gd name="T35" fmla="*/ 94 h 126"/>
              <a:gd name="T36" fmla="*/ 123 w 160"/>
              <a:gd name="T37" fmla="*/ 94 h 126"/>
              <a:gd name="T38" fmla="*/ 117 w 160"/>
              <a:gd name="T39" fmla="*/ 92 h 126"/>
              <a:gd name="T40" fmla="*/ 117 w 160"/>
              <a:gd name="T41" fmla="*/ 95 h 126"/>
              <a:gd name="T42" fmla="*/ 117 w 160"/>
              <a:gd name="T43" fmla="*/ 92 h 126"/>
              <a:gd name="T44" fmla="*/ 92 w 160"/>
              <a:gd name="T45" fmla="*/ 20 h 126"/>
              <a:gd name="T46" fmla="*/ 144 w 160"/>
              <a:gd name="T47" fmla="*/ 20 h 126"/>
              <a:gd name="T48" fmla="*/ 118 w 160"/>
              <a:gd name="T49" fmla="*/ 4 h 126"/>
              <a:gd name="T50" fmla="*/ 118 w 160"/>
              <a:gd name="T51" fmla="*/ 41 h 126"/>
              <a:gd name="T52" fmla="*/ 118 w 160"/>
              <a:gd name="T53" fmla="*/ 4 h 126"/>
              <a:gd name="T54" fmla="*/ 118 w 160"/>
              <a:gd name="T55" fmla="*/ 17 h 126"/>
              <a:gd name="T56" fmla="*/ 97 w 160"/>
              <a:gd name="T57" fmla="*/ 27 h 126"/>
              <a:gd name="T58" fmla="*/ 96 w 160"/>
              <a:gd name="T59" fmla="*/ 23 h 126"/>
              <a:gd name="T60" fmla="*/ 142 w 160"/>
              <a:gd name="T61" fmla="*/ 25 h 126"/>
              <a:gd name="T62" fmla="*/ 108 w 160"/>
              <a:gd name="T63" fmla="*/ 65 h 126"/>
              <a:gd name="T64" fmla="*/ 90 w 160"/>
              <a:gd name="T65" fmla="*/ 22 h 126"/>
              <a:gd name="T66" fmla="*/ 107 w 160"/>
              <a:gd name="T67" fmla="*/ 58 h 126"/>
              <a:gd name="T68" fmla="*/ 117 w 160"/>
              <a:gd name="T69" fmla="*/ 45 h 126"/>
              <a:gd name="T70" fmla="*/ 127 w 160"/>
              <a:gd name="T71" fmla="*/ 65 h 126"/>
              <a:gd name="T72" fmla="*/ 121 w 160"/>
              <a:gd name="T73" fmla="*/ 43 h 126"/>
              <a:gd name="T74" fmla="*/ 141 w 160"/>
              <a:gd name="T75" fmla="*/ 24 h 126"/>
              <a:gd name="T76" fmla="*/ 128 w 160"/>
              <a:gd name="T77" fmla="*/ 63 h 126"/>
              <a:gd name="T78" fmla="*/ 82 w 160"/>
              <a:gd name="T79" fmla="*/ 62 h 126"/>
              <a:gd name="T80" fmla="*/ 75 w 160"/>
              <a:gd name="T81" fmla="*/ 21 h 126"/>
              <a:gd name="T82" fmla="*/ 93 w 160"/>
              <a:gd name="T83" fmla="*/ 17 h 126"/>
              <a:gd name="T84" fmla="*/ 82 w 160"/>
              <a:gd name="T85" fmla="*/ 24 h 126"/>
              <a:gd name="T86" fmla="*/ 160 w 160"/>
              <a:gd name="T87" fmla="*/ 116 h 126"/>
              <a:gd name="T88" fmla="*/ 97 w 160"/>
              <a:gd name="T89" fmla="*/ 109 h 126"/>
              <a:gd name="T90" fmla="*/ 153 w 160"/>
              <a:gd name="T91" fmla="*/ 24 h 126"/>
              <a:gd name="T92" fmla="*/ 141 w 160"/>
              <a:gd name="T93" fmla="*/ 17 h 126"/>
              <a:gd name="T94" fmla="*/ 160 w 160"/>
              <a:gd name="T95" fmla="*/ 21 h 126"/>
              <a:gd name="T96" fmla="*/ 33 w 160"/>
              <a:gd name="T97" fmla="*/ 61 h 126"/>
              <a:gd name="T98" fmla="*/ 62 w 160"/>
              <a:gd name="T99" fmla="*/ 65 h 126"/>
              <a:gd name="T100" fmla="*/ 33 w 160"/>
              <a:gd name="T101" fmla="*/ 61 h 126"/>
              <a:gd name="T102" fmla="*/ 109 w 160"/>
              <a:gd name="T103" fmla="*/ 61 h 126"/>
              <a:gd name="T104" fmla="*/ 105 w 160"/>
              <a:gd name="T105" fmla="*/ 112 h 126"/>
              <a:gd name="T106" fmla="*/ 126 w 160"/>
              <a:gd name="T107" fmla="*/ 61 h 126"/>
              <a:gd name="T108" fmla="*/ 129 w 160"/>
              <a:gd name="T109" fmla="*/ 112 h 126"/>
              <a:gd name="T110" fmla="*/ 126 w 160"/>
              <a:gd name="T111" fmla="*/ 61 h 126"/>
              <a:gd name="T112" fmla="*/ 92 w 160"/>
              <a:gd name="T113" fmla="*/ 106 h 126"/>
              <a:gd name="T114" fmla="*/ 6 w 160"/>
              <a:gd name="T115" fmla="*/ 109 h 126"/>
              <a:gd name="T116" fmla="*/ 34 w 160"/>
              <a:gd name="T117" fmla="*/ 89 h 126"/>
              <a:gd name="T118" fmla="*/ 64 w 160"/>
              <a:gd name="T119" fmla="*/ 99 h 126"/>
              <a:gd name="T120" fmla="*/ 34 w 160"/>
              <a:gd name="T121" fmla="*/ 89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60" h="126">
                <a:moveTo>
                  <a:pt x="94" y="126"/>
                </a:moveTo>
                <a:cubicBezTo>
                  <a:pt x="4" y="126"/>
                  <a:pt x="4" y="126"/>
                  <a:pt x="4" y="126"/>
                </a:cubicBezTo>
                <a:cubicBezTo>
                  <a:pt x="2" y="126"/>
                  <a:pt x="0" y="124"/>
                  <a:pt x="0" y="122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59"/>
                  <a:pt x="1" y="57"/>
                  <a:pt x="4" y="57"/>
                </a:cubicBezTo>
                <a:cubicBezTo>
                  <a:pt x="34" y="57"/>
                  <a:pt x="34" y="57"/>
                  <a:pt x="34" y="57"/>
                </a:cubicBezTo>
                <a:cubicBezTo>
                  <a:pt x="34" y="64"/>
                  <a:pt x="34" y="64"/>
                  <a:pt x="34" y="64"/>
                </a:cubicBezTo>
                <a:cubicBezTo>
                  <a:pt x="6" y="64"/>
                  <a:pt x="6" y="64"/>
                  <a:pt x="6" y="64"/>
                </a:cubicBezTo>
                <a:cubicBezTo>
                  <a:pt x="6" y="119"/>
                  <a:pt x="6" y="119"/>
                  <a:pt x="6" y="119"/>
                </a:cubicBezTo>
                <a:cubicBezTo>
                  <a:pt x="92" y="119"/>
                  <a:pt x="92" y="119"/>
                  <a:pt x="92" y="119"/>
                </a:cubicBezTo>
                <a:cubicBezTo>
                  <a:pt x="92" y="64"/>
                  <a:pt x="92" y="64"/>
                  <a:pt x="92" y="64"/>
                </a:cubicBezTo>
                <a:cubicBezTo>
                  <a:pt x="61" y="64"/>
                  <a:pt x="61" y="64"/>
                  <a:pt x="61" y="64"/>
                </a:cubicBezTo>
                <a:cubicBezTo>
                  <a:pt x="61" y="57"/>
                  <a:pt x="61" y="57"/>
                  <a:pt x="61" y="57"/>
                </a:cubicBezTo>
                <a:cubicBezTo>
                  <a:pt x="94" y="57"/>
                  <a:pt x="94" y="57"/>
                  <a:pt x="94" y="57"/>
                </a:cubicBezTo>
                <a:cubicBezTo>
                  <a:pt x="97" y="57"/>
                  <a:pt x="99" y="59"/>
                  <a:pt x="99" y="62"/>
                </a:cubicBezTo>
                <a:cubicBezTo>
                  <a:pt x="99" y="122"/>
                  <a:pt x="99" y="122"/>
                  <a:pt x="99" y="122"/>
                </a:cubicBezTo>
                <a:cubicBezTo>
                  <a:pt x="99" y="124"/>
                  <a:pt x="97" y="126"/>
                  <a:pt x="94" y="126"/>
                </a:cubicBezTo>
                <a:close/>
                <a:moveTo>
                  <a:pt x="64" y="58"/>
                </a:moveTo>
                <a:cubicBezTo>
                  <a:pt x="61" y="58"/>
                  <a:pt x="61" y="58"/>
                  <a:pt x="61" y="58"/>
                </a:cubicBezTo>
                <a:cubicBezTo>
                  <a:pt x="61" y="50"/>
                  <a:pt x="55" y="44"/>
                  <a:pt x="47" y="44"/>
                </a:cubicBezTo>
                <a:cubicBezTo>
                  <a:pt x="40" y="44"/>
                  <a:pt x="34" y="50"/>
                  <a:pt x="34" y="58"/>
                </a:cubicBezTo>
                <a:cubicBezTo>
                  <a:pt x="30" y="58"/>
                  <a:pt x="30" y="58"/>
                  <a:pt x="30" y="58"/>
                </a:cubicBezTo>
                <a:cubicBezTo>
                  <a:pt x="30" y="49"/>
                  <a:pt x="38" y="40"/>
                  <a:pt x="47" y="40"/>
                </a:cubicBezTo>
                <a:cubicBezTo>
                  <a:pt x="57" y="40"/>
                  <a:pt x="64" y="48"/>
                  <a:pt x="64" y="58"/>
                </a:cubicBezTo>
                <a:close/>
                <a:moveTo>
                  <a:pt x="117" y="78"/>
                </a:moveTo>
                <a:cubicBezTo>
                  <a:pt x="115" y="78"/>
                  <a:pt x="112" y="76"/>
                  <a:pt x="112" y="73"/>
                </a:cubicBezTo>
                <a:cubicBezTo>
                  <a:pt x="112" y="70"/>
                  <a:pt x="115" y="68"/>
                  <a:pt x="117" y="68"/>
                </a:cubicBezTo>
                <a:cubicBezTo>
                  <a:pt x="120" y="68"/>
                  <a:pt x="123" y="70"/>
                  <a:pt x="123" y="73"/>
                </a:cubicBezTo>
                <a:cubicBezTo>
                  <a:pt x="123" y="76"/>
                  <a:pt x="120" y="78"/>
                  <a:pt x="117" y="78"/>
                </a:cubicBezTo>
                <a:close/>
                <a:moveTo>
                  <a:pt x="117" y="71"/>
                </a:moveTo>
                <a:cubicBezTo>
                  <a:pt x="116" y="71"/>
                  <a:pt x="116" y="72"/>
                  <a:pt x="116" y="73"/>
                </a:cubicBezTo>
                <a:cubicBezTo>
                  <a:pt x="116" y="74"/>
                  <a:pt x="116" y="75"/>
                  <a:pt x="117" y="75"/>
                </a:cubicBezTo>
                <a:cubicBezTo>
                  <a:pt x="118" y="75"/>
                  <a:pt x="119" y="74"/>
                  <a:pt x="119" y="73"/>
                </a:cubicBezTo>
                <a:cubicBezTo>
                  <a:pt x="119" y="72"/>
                  <a:pt x="118" y="71"/>
                  <a:pt x="117" y="71"/>
                </a:cubicBezTo>
                <a:close/>
                <a:moveTo>
                  <a:pt x="117" y="99"/>
                </a:moveTo>
                <a:cubicBezTo>
                  <a:pt x="115" y="99"/>
                  <a:pt x="112" y="96"/>
                  <a:pt x="112" y="94"/>
                </a:cubicBezTo>
                <a:cubicBezTo>
                  <a:pt x="112" y="91"/>
                  <a:pt x="115" y="89"/>
                  <a:pt x="117" y="89"/>
                </a:cubicBezTo>
                <a:cubicBezTo>
                  <a:pt x="120" y="89"/>
                  <a:pt x="123" y="91"/>
                  <a:pt x="123" y="94"/>
                </a:cubicBezTo>
                <a:cubicBezTo>
                  <a:pt x="123" y="96"/>
                  <a:pt x="120" y="99"/>
                  <a:pt x="117" y="99"/>
                </a:cubicBezTo>
                <a:close/>
                <a:moveTo>
                  <a:pt x="117" y="92"/>
                </a:moveTo>
                <a:cubicBezTo>
                  <a:pt x="116" y="92"/>
                  <a:pt x="116" y="93"/>
                  <a:pt x="116" y="94"/>
                </a:cubicBezTo>
                <a:cubicBezTo>
                  <a:pt x="116" y="95"/>
                  <a:pt x="116" y="95"/>
                  <a:pt x="117" y="95"/>
                </a:cubicBezTo>
                <a:cubicBezTo>
                  <a:pt x="118" y="95"/>
                  <a:pt x="119" y="95"/>
                  <a:pt x="119" y="94"/>
                </a:cubicBezTo>
                <a:cubicBezTo>
                  <a:pt x="119" y="93"/>
                  <a:pt x="118" y="92"/>
                  <a:pt x="117" y="92"/>
                </a:cubicBezTo>
                <a:close/>
                <a:moveTo>
                  <a:pt x="118" y="45"/>
                </a:moveTo>
                <a:cubicBezTo>
                  <a:pt x="104" y="45"/>
                  <a:pt x="92" y="31"/>
                  <a:pt x="92" y="20"/>
                </a:cubicBezTo>
                <a:cubicBezTo>
                  <a:pt x="92" y="9"/>
                  <a:pt x="103" y="0"/>
                  <a:pt x="118" y="0"/>
                </a:cubicBezTo>
                <a:cubicBezTo>
                  <a:pt x="132" y="0"/>
                  <a:pt x="144" y="9"/>
                  <a:pt x="144" y="20"/>
                </a:cubicBezTo>
                <a:cubicBezTo>
                  <a:pt x="143" y="31"/>
                  <a:pt x="131" y="45"/>
                  <a:pt x="118" y="45"/>
                </a:cubicBezTo>
                <a:close/>
                <a:moveTo>
                  <a:pt x="118" y="4"/>
                </a:moveTo>
                <a:cubicBezTo>
                  <a:pt x="105" y="4"/>
                  <a:pt x="95" y="11"/>
                  <a:pt x="95" y="20"/>
                </a:cubicBezTo>
                <a:cubicBezTo>
                  <a:pt x="95" y="28"/>
                  <a:pt x="105" y="41"/>
                  <a:pt x="118" y="41"/>
                </a:cubicBezTo>
                <a:cubicBezTo>
                  <a:pt x="130" y="41"/>
                  <a:pt x="140" y="28"/>
                  <a:pt x="140" y="20"/>
                </a:cubicBezTo>
                <a:cubicBezTo>
                  <a:pt x="140" y="11"/>
                  <a:pt x="130" y="4"/>
                  <a:pt x="118" y="4"/>
                </a:cubicBezTo>
                <a:close/>
                <a:moveTo>
                  <a:pt x="139" y="28"/>
                </a:moveTo>
                <a:cubicBezTo>
                  <a:pt x="136" y="24"/>
                  <a:pt x="130" y="17"/>
                  <a:pt x="118" y="17"/>
                </a:cubicBezTo>
                <a:cubicBezTo>
                  <a:pt x="107" y="17"/>
                  <a:pt x="102" y="22"/>
                  <a:pt x="98" y="25"/>
                </a:cubicBezTo>
                <a:cubicBezTo>
                  <a:pt x="98" y="26"/>
                  <a:pt x="97" y="26"/>
                  <a:pt x="97" y="27"/>
                </a:cubicBezTo>
                <a:cubicBezTo>
                  <a:pt x="94" y="24"/>
                  <a:pt x="94" y="24"/>
                  <a:pt x="94" y="24"/>
                </a:cubicBezTo>
                <a:cubicBezTo>
                  <a:pt x="95" y="24"/>
                  <a:pt x="95" y="23"/>
                  <a:pt x="96" y="23"/>
                </a:cubicBezTo>
                <a:cubicBezTo>
                  <a:pt x="100" y="19"/>
                  <a:pt x="105" y="13"/>
                  <a:pt x="118" y="13"/>
                </a:cubicBezTo>
                <a:cubicBezTo>
                  <a:pt x="132" y="13"/>
                  <a:pt x="139" y="22"/>
                  <a:pt x="142" y="25"/>
                </a:cubicBezTo>
                <a:lnTo>
                  <a:pt x="139" y="28"/>
                </a:lnTo>
                <a:close/>
                <a:moveTo>
                  <a:pt x="108" y="65"/>
                </a:moveTo>
                <a:cubicBezTo>
                  <a:pt x="106" y="63"/>
                  <a:pt x="106" y="63"/>
                  <a:pt x="106" y="63"/>
                </a:cubicBezTo>
                <a:cubicBezTo>
                  <a:pt x="104" y="60"/>
                  <a:pt x="83" y="33"/>
                  <a:pt x="90" y="22"/>
                </a:cubicBezTo>
                <a:cubicBezTo>
                  <a:pt x="93" y="24"/>
                  <a:pt x="93" y="24"/>
                  <a:pt x="93" y="24"/>
                </a:cubicBezTo>
                <a:cubicBezTo>
                  <a:pt x="88" y="31"/>
                  <a:pt x="100" y="50"/>
                  <a:pt x="107" y="58"/>
                </a:cubicBezTo>
                <a:cubicBezTo>
                  <a:pt x="114" y="43"/>
                  <a:pt x="114" y="43"/>
                  <a:pt x="114" y="43"/>
                </a:cubicBezTo>
                <a:cubicBezTo>
                  <a:pt x="117" y="45"/>
                  <a:pt x="117" y="45"/>
                  <a:pt x="117" y="45"/>
                </a:cubicBezTo>
                <a:lnTo>
                  <a:pt x="108" y="65"/>
                </a:lnTo>
                <a:close/>
                <a:moveTo>
                  <a:pt x="127" y="65"/>
                </a:moveTo>
                <a:cubicBezTo>
                  <a:pt x="118" y="45"/>
                  <a:pt x="118" y="45"/>
                  <a:pt x="118" y="45"/>
                </a:cubicBezTo>
                <a:cubicBezTo>
                  <a:pt x="121" y="43"/>
                  <a:pt x="121" y="43"/>
                  <a:pt x="121" y="43"/>
                </a:cubicBezTo>
                <a:cubicBezTo>
                  <a:pt x="127" y="58"/>
                  <a:pt x="127" y="58"/>
                  <a:pt x="127" y="58"/>
                </a:cubicBezTo>
                <a:cubicBezTo>
                  <a:pt x="134" y="50"/>
                  <a:pt x="146" y="31"/>
                  <a:pt x="141" y="24"/>
                </a:cubicBezTo>
                <a:cubicBezTo>
                  <a:pt x="144" y="22"/>
                  <a:pt x="144" y="22"/>
                  <a:pt x="144" y="22"/>
                </a:cubicBezTo>
                <a:cubicBezTo>
                  <a:pt x="152" y="33"/>
                  <a:pt x="131" y="60"/>
                  <a:pt x="128" y="63"/>
                </a:cubicBezTo>
                <a:lnTo>
                  <a:pt x="127" y="65"/>
                </a:lnTo>
                <a:close/>
                <a:moveTo>
                  <a:pt x="82" y="62"/>
                </a:moveTo>
                <a:cubicBezTo>
                  <a:pt x="75" y="62"/>
                  <a:pt x="75" y="62"/>
                  <a:pt x="75" y="62"/>
                </a:cubicBezTo>
                <a:cubicBezTo>
                  <a:pt x="75" y="21"/>
                  <a:pt x="75" y="21"/>
                  <a:pt x="75" y="21"/>
                </a:cubicBezTo>
                <a:cubicBezTo>
                  <a:pt x="75" y="18"/>
                  <a:pt x="76" y="17"/>
                  <a:pt x="78" y="17"/>
                </a:cubicBezTo>
                <a:cubicBezTo>
                  <a:pt x="93" y="17"/>
                  <a:pt x="93" y="17"/>
                  <a:pt x="93" y="17"/>
                </a:cubicBezTo>
                <a:cubicBezTo>
                  <a:pt x="93" y="24"/>
                  <a:pt x="93" y="24"/>
                  <a:pt x="93" y="24"/>
                </a:cubicBezTo>
                <a:cubicBezTo>
                  <a:pt x="82" y="24"/>
                  <a:pt x="82" y="24"/>
                  <a:pt x="82" y="24"/>
                </a:cubicBezTo>
                <a:lnTo>
                  <a:pt x="82" y="62"/>
                </a:lnTo>
                <a:close/>
                <a:moveTo>
                  <a:pt x="160" y="116"/>
                </a:moveTo>
                <a:cubicBezTo>
                  <a:pt x="97" y="116"/>
                  <a:pt x="97" y="116"/>
                  <a:pt x="97" y="116"/>
                </a:cubicBezTo>
                <a:cubicBezTo>
                  <a:pt x="97" y="109"/>
                  <a:pt x="97" y="109"/>
                  <a:pt x="97" y="109"/>
                </a:cubicBezTo>
                <a:cubicBezTo>
                  <a:pt x="153" y="109"/>
                  <a:pt x="153" y="109"/>
                  <a:pt x="153" y="109"/>
                </a:cubicBezTo>
                <a:cubicBezTo>
                  <a:pt x="153" y="24"/>
                  <a:pt x="153" y="24"/>
                  <a:pt x="153" y="24"/>
                </a:cubicBezTo>
                <a:cubicBezTo>
                  <a:pt x="141" y="24"/>
                  <a:pt x="141" y="24"/>
                  <a:pt x="141" y="24"/>
                </a:cubicBezTo>
                <a:cubicBezTo>
                  <a:pt x="141" y="17"/>
                  <a:pt x="141" y="17"/>
                  <a:pt x="141" y="17"/>
                </a:cubicBezTo>
                <a:cubicBezTo>
                  <a:pt x="156" y="17"/>
                  <a:pt x="156" y="17"/>
                  <a:pt x="156" y="17"/>
                </a:cubicBezTo>
                <a:cubicBezTo>
                  <a:pt x="158" y="17"/>
                  <a:pt x="160" y="18"/>
                  <a:pt x="160" y="21"/>
                </a:cubicBezTo>
                <a:lnTo>
                  <a:pt x="160" y="116"/>
                </a:lnTo>
                <a:close/>
                <a:moveTo>
                  <a:pt x="33" y="61"/>
                </a:moveTo>
                <a:cubicBezTo>
                  <a:pt x="62" y="61"/>
                  <a:pt x="62" y="61"/>
                  <a:pt x="62" y="61"/>
                </a:cubicBezTo>
                <a:cubicBezTo>
                  <a:pt x="62" y="65"/>
                  <a:pt x="62" y="65"/>
                  <a:pt x="62" y="65"/>
                </a:cubicBezTo>
                <a:cubicBezTo>
                  <a:pt x="33" y="65"/>
                  <a:pt x="33" y="65"/>
                  <a:pt x="33" y="65"/>
                </a:cubicBezTo>
                <a:lnTo>
                  <a:pt x="33" y="61"/>
                </a:lnTo>
                <a:close/>
                <a:moveTo>
                  <a:pt x="105" y="61"/>
                </a:moveTo>
                <a:cubicBezTo>
                  <a:pt x="109" y="61"/>
                  <a:pt x="109" y="61"/>
                  <a:pt x="109" y="61"/>
                </a:cubicBezTo>
                <a:cubicBezTo>
                  <a:pt x="109" y="112"/>
                  <a:pt x="109" y="112"/>
                  <a:pt x="109" y="112"/>
                </a:cubicBezTo>
                <a:cubicBezTo>
                  <a:pt x="105" y="112"/>
                  <a:pt x="105" y="112"/>
                  <a:pt x="105" y="112"/>
                </a:cubicBezTo>
                <a:lnTo>
                  <a:pt x="105" y="61"/>
                </a:lnTo>
                <a:close/>
                <a:moveTo>
                  <a:pt x="126" y="61"/>
                </a:moveTo>
                <a:cubicBezTo>
                  <a:pt x="129" y="61"/>
                  <a:pt x="129" y="61"/>
                  <a:pt x="129" y="61"/>
                </a:cubicBezTo>
                <a:cubicBezTo>
                  <a:pt x="129" y="112"/>
                  <a:pt x="129" y="112"/>
                  <a:pt x="129" y="112"/>
                </a:cubicBezTo>
                <a:cubicBezTo>
                  <a:pt x="126" y="112"/>
                  <a:pt x="126" y="112"/>
                  <a:pt x="126" y="112"/>
                </a:cubicBezTo>
                <a:lnTo>
                  <a:pt x="126" y="61"/>
                </a:lnTo>
                <a:close/>
                <a:moveTo>
                  <a:pt x="6" y="106"/>
                </a:moveTo>
                <a:cubicBezTo>
                  <a:pt x="92" y="106"/>
                  <a:pt x="92" y="106"/>
                  <a:pt x="92" y="106"/>
                </a:cubicBezTo>
                <a:cubicBezTo>
                  <a:pt x="92" y="109"/>
                  <a:pt x="92" y="109"/>
                  <a:pt x="92" y="109"/>
                </a:cubicBezTo>
                <a:cubicBezTo>
                  <a:pt x="6" y="109"/>
                  <a:pt x="6" y="109"/>
                  <a:pt x="6" y="109"/>
                </a:cubicBezTo>
                <a:lnTo>
                  <a:pt x="6" y="106"/>
                </a:lnTo>
                <a:close/>
                <a:moveTo>
                  <a:pt x="34" y="89"/>
                </a:moveTo>
                <a:cubicBezTo>
                  <a:pt x="64" y="89"/>
                  <a:pt x="64" y="89"/>
                  <a:pt x="64" y="89"/>
                </a:cubicBezTo>
                <a:cubicBezTo>
                  <a:pt x="64" y="99"/>
                  <a:pt x="64" y="99"/>
                  <a:pt x="64" y="99"/>
                </a:cubicBezTo>
                <a:cubicBezTo>
                  <a:pt x="34" y="99"/>
                  <a:pt x="34" y="99"/>
                  <a:pt x="34" y="99"/>
                </a:cubicBezTo>
                <a:lnTo>
                  <a:pt x="34" y="89"/>
                </a:lnTo>
                <a:close/>
              </a:path>
            </a:pathLst>
          </a:custGeom>
          <a:solidFill>
            <a:srgbClr val="21548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64" name="Freeform 49"/>
          <p:cNvSpPr>
            <a:spLocks noEditPoints="1"/>
          </p:cNvSpPr>
          <p:nvPr/>
        </p:nvSpPr>
        <p:spPr bwMode="auto">
          <a:xfrm>
            <a:off x="3424238" y="1822450"/>
            <a:ext cx="150812" cy="141288"/>
          </a:xfrm>
          <a:custGeom>
            <a:avLst/>
            <a:gdLst>
              <a:gd name="T0" fmla="*/ 50 w 140"/>
              <a:gd name="T1" fmla="*/ 21 h 127"/>
              <a:gd name="T2" fmla="*/ 56 w 140"/>
              <a:gd name="T3" fmla="*/ 6 h 127"/>
              <a:gd name="T4" fmla="*/ 96 w 140"/>
              <a:gd name="T5" fmla="*/ 0 h 127"/>
              <a:gd name="T6" fmla="*/ 66 w 140"/>
              <a:gd name="T7" fmla="*/ 6 h 127"/>
              <a:gd name="T8" fmla="*/ 59 w 140"/>
              <a:gd name="T9" fmla="*/ 19 h 127"/>
              <a:gd name="T10" fmla="*/ 70 w 140"/>
              <a:gd name="T11" fmla="*/ 21 h 127"/>
              <a:gd name="T12" fmla="*/ 8 w 140"/>
              <a:gd name="T13" fmla="*/ 114 h 127"/>
              <a:gd name="T14" fmla="*/ 17 w 140"/>
              <a:gd name="T15" fmla="*/ 126 h 127"/>
              <a:gd name="T16" fmla="*/ 140 w 140"/>
              <a:gd name="T17" fmla="*/ 117 h 127"/>
              <a:gd name="T18" fmla="*/ 17 w 140"/>
              <a:gd name="T19" fmla="*/ 126 h 127"/>
              <a:gd name="T20" fmla="*/ 125 w 140"/>
              <a:gd name="T21" fmla="*/ 114 h 127"/>
              <a:gd name="T22" fmla="*/ 71 w 140"/>
              <a:gd name="T23" fmla="*/ 99 h 127"/>
              <a:gd name="T24" fmla="*/ 78 w 140"/>
              <a:gd name="T25" fmla="*/ 77 h 127"/>
              <a:gd name="T26" fmla="*/ 78 w 140"/>
              <a:gd name="T27" fmla="*/ 95 h 127"/>
              <a:gd name="T28" fmla="*/ 91 w 140"/>
              <a:gd name="T29" fmla="*/ 95 h 127"/>
              <a:gd name="T30" fmla="*/ 103 w 140"/>
              <a:gd name="T31" fmla="*/ 95 h 127"/>
              <a:gd name="T32" fmla="*/ 116 w 140"/>
              <a:gd name="T33" fmla="*/ 95 h 127"/>
              <a:gd name="T34" fmla="*/ 128 w 140"/>
              <a:gd name="T35" fmla="*/ 95 h 127"/>
              <a:gd name="T36" fmla="*/ 128 w 140"/>
              <a:gd name="T37" fmla="*/ 77 h 127"/>
              <a:gd name="T38" fmla="*/ 115 w 140"/>
              <a:gd name="T39" fmla="*/ 77 h 127"/>
              <a:gd name="T40" fmla="*/ 104 w 140"/>
              <a:gd name="T41" fmla="*/ 77 h 127"/>
              <a:gd name="T42" fmla="*/ 97 w 140"/>
              <a:gd name="T43" fmla="*/ 79 h 127"/>
              <a:gd name="T44" fmla="*/ 85 w 140"/>
              <a:gd name="T45" fmla="*/ 80 h 127"/>
              <a:gd name="T46" fmla="*/ 85 w 140"/>
              <a:gd name="T47" fmla="*/ 57 h 127"/>
              <a:gd name="T48" fmla="*/ 135 w 140"/>
              <a:gd name="T49" fmla="*/ 73 h 127"/>
              <a:gd name="T50" fmla="*/ 85 w 140"/>
              <a:gd name="T51" fmla="*/ 57 h 127"/>
              <a:gd name="T52" fmla="*/ 10 w 140"/>
              <a:gd name="T53" fmla="*/ 46 h 127"/>
              <a:gd name="T54" fmla="*/ 43 w 140"/>
              <a:gd name="T55" fmla="*/ 47 h 127"/>
              <a:gd name="T56" fmla="*/ 49 w 140"/>
              <a:gd name="T57" fmla="*/ 29 h 127"/>
              <a:gd name="T58" fmla="*/ 10 w 140"/>
              <a:gd name="T59" fmla="*/ 28 h 127"/>
              <a:gd name="T60" fmla="*/ 63 w 140"/>
              <a:gd name="T61" fmla="*/ 46 h 127"/>
              <a:gd name="T62" fmla="*/ 62 w 140"/>
              <a:gd name="T63" fmla="*/ 28 h 127"/>
              <a:gd name="T64" fmla="*/ 56 w 140"/>
              <a:gd name="T65" fmla="*/ 29 h 127"/>
              <a:gd name="T66" fmla="*/ 52 w 140"/>
              <a:gd name="T67" fmla="*/ 47 h 127"/>
              <a:gd name="T68" fmla="*/ 63 w 140"/>
              <a:gd name="T69" fmla="*/ 46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40" h="127">
                <a:moveTo>
                  <a:pt x="2" y="21"/>
                </a:moveTo>
                <a:cubicBezTo>
                  <a:pt x="50" y="21"/>
                  <a:pt x="50" y="21"/>
                  <a:pt x="50" y="21"/>
                </a:cubicBezTo>
                <a:cubicBezTo>
                  <a:pt x="50" y="21"/>
                  <a:pt x="51" y="21"/>
                  <a:pt x="51" y="20"/>
                </a:cubicBezTo>
                <a:cubicBezTo>
                  <a:pt x="56" y="6"/>
                  <a:pt x="56" y="6"/>
                  <a:pt x="56" y="6"/>
                </a:cubicBezTo>
                <a:cubicBezTo>
                  <a:pt x="57" y="2"/>
                  <a:pt x="60" y="0"/>
                  <a:pt x="64" y="0"/>
                </a:cubicBezTo>
                <a:cubicBezTo>
                  <a:pt x="96" y="0"/>
                  <a:pt x="96" y="0"/>
                  <a:pt x="96" y="0"/>
                </a:cubicBezTo>
                <a:cubicBezTo>
                  <a:pt x="96" y="6"/>
                  <a:pt x="96" y="6"/>
                  <a:pt x="96" y="6"/>
                </a:cubicBezTo>
                <a:cubicBezTo>
                  <a:pt x="66" y="6"/>
                  <a:pt x="66" y="6"/>
                  <a:pt x="66" y="6"/>
                </a:cubicBezTo>
                <a:cubicBezTo>
                  <a:pt x="64" y="7"/>
                  <a:pt x="63" y="8"/>
                  <a:pt x="62" y="9"/>
                </a:cubicBezTo>
                <a:cubicBezTo>
                  <a:pt x="59" y="19"/>
                  <a:pt x="59" y="19"/>
                  <a:pt x="59" y="19"/>
                </a:cubicBezTo>
                <a:cubicBezTo>
                  <a:pt x="59" y="21"/>
                  <a:pt x="59" y="21"/>
                  <a:pt x="60" y="21"/>
                </a:cubicBezTo>
                <a:cubicBezTo>
                  <a:pt x="70" y="21"/>
                  <a:pt x="70" y="21"/>
                  <a:pt x="70" y="21"/>
                </a:cubicBezTo>
                <a:cubicBezTo>
                  <a:pt x="64" y="114"/>
                  <a:pt x="64" y="114"/>
                  <a:pt x="64" y="114"/>
                </a:cubicBezTo>
                <a:cubicBezTo>
                  <a:pt x="8" y="114"/>
                  <a:pt x="8" y="114"/>
                  <a:pt x="8" y="114"/>
                </a:cubicBezTo>
                <a:cubicBezTo>
                  <a:pt x="2" y="21"/>
                  <a:pt x="2" y="21"/>
                  <a:pt x="2" y="21"/>
                </a:cubicBezTo>
                <a:close/>
                <a:moveTo>
                  <a:pt x="17" y="126"/>
                </a:moveTo>
                <a:cubicBezTo>
                  <a:pt x="128" y="126"/>
                  <a:pt x="128" y="126"/>
                  <a:pt x="128" y="126"/>
                </a:cubicBezTo>
                <a:cubicBezTo>
                  <a:pt x="136" y="125"/>
                  <a:pt x="140" y="127"/>
                  <a:pt x="140" y="117"/>
                </a:cubicBezTo>
                <a:cubicBezTo>
                  <a:pt x="0" y="118"/>
                  <a:pt x="0" y="118"/>
                  <a:pt x="0" y="118"/>
                </a:cubicBezTo>
                <a:cubicBezTo>
                  <a:pt x="1" y="127"/>
                  <a:pt x="7" y="126"/>
                  <a:pt x="17" y="126"/>
                </a:cubicBezTo>
                <a:close/>
                <a:moveTo>
                  <a:pt x="81" y="114"/>
                </a:moveTo>
                <a:cubicBezTo>
                  <a:pt x="125" y="114"/>
                  <a:pt x="125" y="114"/>
                  <a:pt x="125" y="114"/>
                </a:cubicBezTo>
                <a:cubicBezTo>
                  <a:pt x="133" y="113"/>
                  <a:pt x="135" y="109"/>
                  <a:pt x="135" y="99"/>
                </a:cubicBezTo>
                <a:cubicBezTo>
                  <a:pt x="71" y="99"/>
                  <a:pt x="71" y="99"/>
                  <a:pt x="71" y="99"/>
                </a:cubicBezTo>
                <a:cubicBezTo>
                  <a:pt x="70" y="108"/>
                  <a:pt x="72" y="113"/>
                  <a:pt x="81" y="114"/>
                </a:cubicBezTo>
                <a:close/>
                <a:moveTo>
                  <a:pt x="78" y="77"/>
                </a:moveTo>
                <a:cubicBezTo>
                  <a:pt x="73" y="77"/>
                  <a:pt x="69" y="80"/>
                  <a:pt x="69" y="86"/>
                </a:cubicBezTo>
                <a:cubicBezTo>
                  <a:pt x="70" y="92"/>
                  <a:pt x="73" y="94"/>
                  <a:pt x="78" y="95"/>
                </a:cubicBezTo>
                <a:cubicBezTo>
                  <a:pt x="80" y="95"/>
                  <a:pt x="83" y="94"/>
                  <a:pt x="84" y="92"/>
                </a:cubicBezTo>
                <a:cubicBezTo>
                  <a:pt x="86" y="94"/>
                  <a:pt x="89" y="95"/>
                  <a:pt x="91" y="95"/>
                </a:cubicBezTo>
                <a:cubicBezTo>
                  <a:pt x="94" y="95"/>
                  <a:pt x="96" y="94"/>
                  <a:pt x="97" y="93"/>
                </a:cubicBezTo>
                <a:cubicBezTo>
                  <a:pt x="98" y="94"/>
                  <a:pt x="100" y="95"/>
                  <a:pt x="103" y="95"/>
                </a:cubicBezTo>
                <a:cubicBezTo>
                  <a:pt x="106" y="95"/>
                  <a:pt x="108" y="94"/>
                  <a:pt x="110" y="93"/>
                </a:cubicBezTo>
                <a:cubicBezTo>
                  <a:pt x="111" y="94"/>
                  <a:pt x="113" y="95"/>
                  <a:pt x="116" y="95"/>
                </a:cubicBezTo>
                <a:cubicBezTo>
                  <a:pt x="118" y="95"/>
                  <a:pt x="120" y="94"/>
                  <a:pt x="121" y="93"/>
                </a:cubicBezTo>
                <a:cubicBezTo>
                  <a:pt x="123" y="95"/>
                  <a:pt x="126" y="95"/>
                  <a:pt x="128" y="95"/>
                </a:cubicBezTo>
                <a:cubicBezTo>
                  <a:pt x="134" y="94"/>
                  <a:pt x="136" y="90"/>
                  <a:pt x="136" y="85"/>
                </a:cubicBezTo>
                <a:cubicBezTo>
                  <a:pt x="135" y="79"/>
                  <a:pt x="132" y="77"/>
                  <a:pt x="128" y="77"/>
                </a:cubicBezTo>
                <a:cubicBezTo>
                  <a:pt x="125" y="77"/>
                  <a:pt x="123" y="78"/>
                  <a:pt x="121" y="79"/>
                </a:cubicBezTo>
                <a:cubicBezTo>
                  <a:pt x="119" y="78"/>
                  <a:pt x="117" y="77"/>
                  <a:pt x="115" y="77"/>
                </a:cubicBezTo>
                <a:cubicBezTo>
                  <a:pt x="113" y="77"/>
                  <a:pt x="111" y="78"/>
                  <a:pt x="109" y="79"/>
                </a:cubicBezTo>
                <a:cubicBezTo>
                  <a:pt x="108" y="78"/>
                  <a:pt x="106" y="77"/>
                  <a:pt x="104" y="77"/>
                </a:cubicBezTo>
                <a:cubicBezTo>
                  <a:pt x="102" y="77"/>
                  <a:pt x="99" y="78"/>
                  <a:pt x="98" y="79"/>
                </a:cubicBezTo>
                <a:cubicBezTo>
                  <a:pt x="97" y="79"/>
                  <a:pt x="97" y="79"/>
                  <a:pt x="97" y="79"/>
                </a:cubicBezTo>
                <a:cubicBezTo>
                  <a:pt x="95" y="77"/>
                  <a:pt x="93" y="77"/>
                  <a:pt x="91" y="77"/>
                </a:cubicBezTo>
                <a:cubicBezTo>
                  <a:pt x="88" y="77"/>
                  <a:pt x="86" y="78"/>
                  <a:pt x="85" y="80"/>
                </a:cubicBezTo>
                <a:cubicBezTo>
                  <a:pt x="83" y="78"/>
                  <a:pt x="80" y="77"/>
                  <a:pt x="78" y="77"/>
                </a:cubicBezTo>
                <a:close/>
                <a:moveTo>
                  <a:pt x="85" y="57"/>
                </a:moveTo>
                <a:cubicBezTo>
                  <a:pt x="75" y="58"/>
                  <a:pt x="70" y="64"/>
                  <a:pt x="71" y="73"/>
                </a:cubicBezTo>
                <a:cubicBezTo>
                  <a:pt x="135" y="73"/>
                  <a:pt x="135" y="73"/>
                  <a:pt x="135" y="73"/>
                </a:cubicBezTo>
                <a:cubicBezTo>
                  <a:pt x="135" y="63"/>
                  <a:pt x="130" y="58"/>
                  <a:pt x="122" y="57"/>
                </a:cubicBezTo>
                <a:cubicBezTo>
                  <a:pt x="85" y="57"/>
                  <a:pt x="85" y="57"/>
                  <a:pt x="85" y="57"/>
                </a:cubicBezTo>
                <a:close/>
                <a:moveTo>
                  <a:pt x="9" y="29"/>
                </a:moveTo>
                <a:cubicBezTo>
                  <a:pt x="10" y="46"/>
                  <a:pt x="10" y="46"/>
                  <a:pt x="10" y="46"/>
                </a:cubicBezTo>
                <a:cubicBezTo>
                  <a:pt x="10" y="47"/>
                  <a:pt x="11" y="48"/>
                  <a:pt x="12" y="47"/>
                </a:cubicBezTo>
                <a:cubicBezTo>
                  <a:pt x="43" y="47"/>
                  <a:pt x="43" y="47"/>
                  <a:pt x="43" y="47"/>
                </a:cubicBezTo>
                <a:cubicBezTo>
                  <a:pt x="43" y="47"/>
                  <a:pt x="44" y="47"/>
                  <a:pt x="44" y="46"/>
                </a:cubicBezTo>
                <a:cubicBezTo>
                  <a:pt x="49" y="29"/>
                  <a:pt x="49" y="29"/>
                  <a:pt x="49" y="29"/>
                </a:cubicBezTo>
                <a:cubicBezTo>
                  <a:pt x="49" y="28"/>
                  <a:pt x="48" y="28"/>
                  <a:pt x="48" y="28"/>
                </a:cubicBezTo>
                <a:cubicBezTo>
                  <a:pt x="10" y="28"/>
                  <a:pt x="10" y="28"/>
                  <a:pt x="10" y="28"/>
                </a:cubicBezTo>
                <a:cubicBezTo>
                  <a:pt x="9" y="28"/>
                  <a:pt x="9" y="28"/>
                  <a:pt x="9" y="29"/>
                </a:cubicBezTo>
                <a:close/>
                <a:moveTo>
                  <a:pt x="63" y="46"/>
                </a:moveTo>
                <a:cubicBezTo>
                  <a:pt x="63" y="29"/>
                  <a:pt x="63" y="29"/>
                  <a:pt x="63" y="29"/>
                </a:cubicBezTo>
                <a:cubicBezTo>
                  <a:pt x="63" y="28"/>
                  <a:pt x="63" y="28"/>
                  <a:pt x="62" y="28"/>
                </a:cubicBezTo>
                <a:cubicBezTo>
                  <a:pt x="57" y="28"/>
                  <a:pt x="57" y="28"/>
                  <a:pt x="57" y="28"/>
                </a:cubicBezTo>
                <a:cubicBezTo>
                  <a:pt x="57" y="28"/>
                  <a:pt x="56" y="28"/>
                  <a:pt x="56" y="29"/>
                </a:cubicBezTo>
                <a:cubicBezTo>
                  <a:pt x="51" y="46"/>
                  <a:pt x="51" y="46"/>
                  <a:pt x="51" y="46"/>
                </a:cubicBezTo>
                <a:cubicBezTo>
                  <a:pt x="51" y="46"/>
                  <a:pt x="52" y="47"/>
                  <a:pt x="52" y="47"/>
                </a:cubicBezTo>
                <a:cubicBezTo>
                  <a:pt x="62" y="47"/>
                  <a:pt x="62" y="47"/>
                  <a:pt x="62" y="47"/>
                </a:cubicBezTo>
                <a:cubicBezTo>
                  <a:pt x="62" y="47"/>
                  <a:pt x="62" y="47"/>
                  <a:pt x="63" y="46"/>
                </a:cubicBezTo>
                <a:close/>
              </a:path>
            </a:pathLst>
          </a:cu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65" name="Freeform 50"/>
          <p:cNvSpPr>
            <a:spLocks noEditPoints="1"/>
          </p:cNvSpPr>
          <p:nvPr/>
        </p:nvSpPr>
        <p:spPr bwMode="auto">
          <a:xfrm>
            <a:off x="4676775" y="1550989"/>
            <a:ext cx="222250" cy="187325"/>
          </a:xfrm>
          <a:custGeom>
            <a:avLst/>
            <a:gdLst>
              <a:gd name="T0" fmla="*/ 178 w 205"/>
              <a:gd name="T1" fmla="*/ 40 h 168"/>
              <a:gd name="T2" fmla="*/ 154 w 205"/>
              <a:gd name="T3" fmla="*/ 0 h 168"/>
              <a:gd name="T4" fmla="*/ 28 w 205"/>
              <a:gd name="T5" fmla="*/ 26 h 168"/>
              <a:gd name="T6" fmla="*/ 0 w 205"/>
              <a:gd name="T7" fmla="*/ 70 h 168"/>
              <a:gd name="T8" fmla="*/ 27 w 205"/>
              <a:gd name="T9" fmla="*/ 104 h 168"/>
              <a:gd name="T10" fmla="*/ 27 w 205"/>
              <a:gd name="T11" fmla="*/ 143 h 168"/>
              <a:gd name="T12" fmla="*/ 42 w 205"/>
              <a:gd name="T13" fmla="*/ 164 h 168"/>
              <a:gd name="T14" fmla="*/ 52 w 205"/>
              <a:gd name="T15" fmla="*/ 164 h 168"/>
              <a:gd name="T16" fmla="*/ 153 w 205"/>
              <a:gd name="T17" fmla="*/ 160 h 168"/>
              <a:gd name="T18" fmla="*/ 157 w 205"/>
              <a:gd name="T19" fmla="*/ 168 h 168"/>
              <a:gd name="T20" fmla="*/ 162 w 205"/>
              <a:gd name="T21" fmla="*/ 160 h 168"/>
              <a:gd name="T22" fmla="*/ 178 w 205"/>
              <a:gd name="T23" fmla="*/ 104 h 168"/>
              <a:gd name="T24" fmla="*/ 178 w 205"/>
              <a:gd name="T25" fmla="*/ 100 h 168"/>
              <a:gd name="T26" fmla="*/ 52 w 205"/>
              <a:gd name="T27" fmla="*/ 9 h 168"/>
              <a:gd name="T28" fmla="*/ 168 w 205"/>
              <a:gd name="T29" fmla="*/ 26 h 168"/>
              <a:gd name="T30" fmla="*/ 141 w 205"/>
              <a:gd name="T31" fmla="*/ 70 h 168"/>
              <a:gd name="T32" fmla="*/ 141 w 205"/>
              <a:gd name="T33" fmla="*/ 74 h 168"/>
              <a:gd name="T34" fmla="*/ 104 w 205"/>
              <a:gd name="T35" fmla="*/ 97 h 168"/>
              <a:gd name="T36" fmla="*/ 63 w 205"/>
              <a:gd name="T37" fmla="*/ 74 h 168"/>
              <a:gd name="T38" fmla="*/ 64 w 205"/>
              <a:gd name="T39" fmla="*/ 70 h 168"/>
              <a:gd name="T40" fmla="*/ 38 w 205"/>
              <a:gd name="T41" fmla="*/ 26 h 168"/>
              <a:gd name="T42" fmla="*/ 141 w 205"/>
              <a:gd name="T43" fmla="*/ 110 h 168"/>
              <a:gd name="T44" fmla="*/ 63 w 205"/>
              <a:gd name="T45" fmla="*/ 121 h 168"/>
              <a:gd name="T46" fmla="*/ 104 w 205"/>
              <a:gd name="T47" fmla="*/ 106 h 168"/>
              <a:gd name="T48" fmla="*/ 173 w 205"/>
              <a:gd name="T49" fmla="*/ 91 h 168"/>
              <a:gd name="T50" fmla="*/ 168 w 205"/>
              <a:gd name="T51" fmla="*/ 96 h 168"/>
              <a:gd name="T52" fmla="*/ 168 w 205"/>
              <a:gd name="T53" fmla="*/ 143 h 168"/>
              <a:gd name="T54" fmla="*/ 46 w 205"/>
              <a:gd name="T55" fmla="*/ 152 h 168"/>
              <a:gd name="T56" fmla="*/ 36 w 205"/>
              <a:gd name="T57" fmla="*/ 104 h 168"/>
              <a:gd name="T58" fmla="*/ 35 w 205"/>
              <a:gd name="T59" fmla="*/ 93 h 168"/>
              <a:gd name="T60" fmla="*/ 9 w 205"/>
              <a:gd name="T61" fmla="*/ 70 h 168"/>
              <a:gd name="T62" fmla="*/ 54 w 205"/>
              <a:gd name="T63" fmla="*/ 70 h 168"/>
              <a:gd name="T64" fmla="*/ 54 w 205"/>
              <a:gd name="T65" fmla="*/ 74 h 168"/>
              <a:gd name="T66" fmla="*/ 59 w 205"/>
              <a:gd name="T67" fmla="*/ 129 h 168"/>
              <a:gd name="T68" fmla="*/ 150 w 205"/>
              <a:gd name="T69" fmla="*/ 125 h 168"/>
              <a:gd name="T70" fmla="*/ 150 w 205"/>
              <a:gd name="T71" fmla="*/ 74 h 168"/>
              <a:gd name="T72" fmla="*/ 173 w 205"/>
              <a:gd name="T73" fmla="*/ 49 h 168"/>
              <a:gd name="T74" fmla="*/ 173 w 205"/>
              <a:gd name="T75" fmla="*/ 91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05" h="168">
                <a:moveTo>
                  <a:pt x="205" y="70"/>
                </a:moveTo>
                <a:cubicBezTo>
                  <a:pt x="205" y="55"/>
                  <a:pt x="193" y="43"/>
                  <a:pt x="178" y="40"/>
                </a:cubicBezTo>
                <a:cubicBezTo>
                  <a:pt x="178" y="26"/>
                  <a:pt x="178" y="26"/>
                  <a:pt x="178" y="26"/>
                </a:cubicBezTo>
                <a:cubicBezTo>
                  <a:pt x="178" y="11"/>
                  <a:pt x="169" y="0"/>
                  <a:pt x="154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36" y="0"/>
                  <a:pt x="28" y="11"/>
                  <a:pt x="28" y="26"/>
                </a:cubicBezTo>
                <a:cubicBezTo>
                  <a:pt x="28" y="40"/>
                  <a:pt x="28" y="40"/>
                  <a:pt x="28" y="40"/>
                </a:cubicBezTo>
                <a:cubicBezTo>
                  <a:pt x="12" y="42"/>
                  <a:pt x="0" y="55"/>
                  <a:pt x="0" y="70"/>
                </a:cubicBezTo>
                <a:cubicBezTo>
                  <a:pt x="0" y="85"/>
                  <a:pt x="12" y="98"/>
                  <a:pt x="27" y="100"/>
                </a:cubicBezTo>
                <a:cubicBezTo>
                  <a:pt x="27" y="104"/>
                  <a:pt x="27" y="104"/>
                  <a:pt x="27" y="104"/>
                </a:cubicBezTo>
                <a:cubicBezTo>
                  <a:pt x="27" y="104"/>
                  <a:pt x="27" y="104"/>
                  <a:pt x="27" y="104"/>
                </a:cubicBezTo>
                <a:cubicBezTo>
                  <a:pt x="27" y="143"/>
                  <a:pt x="27" y="143"/>
                  <a:pt x="27" y="143"/>
                </a:cubicBezTo>
                <a:cubicBezTo>
                  <a:pt x="27" y="151"/>
                  <a:pt x="34" y="159"/>
                  <a:pt x="42" y="160"/>
                </a:cubicBezTo>
                <a:cubicBezTo>
                  <a:pt x="42" y="164"/>
                  <a:pt x="42" y="164"/>
                  <a:pt x="42" y="164"/>
                </a:cubicBezTo>
                <a:cubicBezTo>
                  <a:pt x="42" y="166"/>
                  <a:pt x="44" y="168"/>
                  <a:pt x="47" y="168"/>
                </a:cubicBezTo>
                <a:cubicBezTo>
                  <a:pt x="50" y="168"/>
                  <a:pt x="52" y="166"/>
                  <a:pt x="52" y="164"/>
                </a:cubicBezTo>
                <a:cubicBezTo>
                  <a:pt x="52" y="160"/>
                  <a:pt x="52" y="160"/>
                  <a:pt x="52" y="160"/>
                </a:cubicBezTo>
                <a:cubicBezTo>
                  <a:pt x="153" y="160"/>
                  <a:pt x="153" y="160"/>
                  <a:pt x="153" y="160"/>
                </a:cubicBezTo>
                <a:cubicBezTo>
                  <a:pt x="153" y="164"/>
                  <a:pt x="153" y="164"/>
                  <a:pt x="153" y="164"/>
                </a:cubicBezTo>
                <a:cubicBezTo>
                  <a:pt x="153" y="166"/>
                  <a:pt x="155" y="168"/>
                  <a:pt x="157" y="168"/>
                </a:cubicBezTo>
                <a:cubicBezTo>
                  <a:pt x="160" y="168"/>
                  <a:pt x="162" y="166"/>
                  <a:pt x="162" y="164"/>
                </a:cubicBezTo>
                <a:cubicBezTo>
                  <a:pt x="162" y="160"/>
                  <a:pt x="162" y="160"/>
                  <a:pt x="162" y="160"/>
                </a:cubicBezTo>
                <a:cubicBezTo>
                  <a:pt x="171" y="159"/>
                  <a:pt x="178" y="151"/>
                  <a:pt x="178" y="143"/>
                </a:cubicBezTo>
                <a:cubicBezTo>
                  <a:pt x="178" y="104"/>
                  <a:pt x="178" y="104"/>
                  <a:pt x="178" y="104"/>
                </a:cubicBezTo>
                <a:cubicBezTo>
                  <a:pt x="178" y="104"/>
                  <a:pt x="178" y="104"/>
                  <a:pt x="178" y="104"/>
                </a:cubicBezTo>
                <a:cubicBezTo>
                  <a:pt x="178" y="100"/>
                  <a:pt x="178" y="100"/>
                  <a:pt x="178" y="100"/>
                </a:cubicBezTo>
                <a:cubicBezTo>
                  <a:pt x="193" y="98"/>
                  <a:pt x="205" y="85"/>
                  <a:pt x="205" y="70"/>
                </a:cubicBezTo>
                <a:close/>
                <a:moveTo>
                  <a:pt x="52" y="9"/>
                </a:moveTo>
                <a:cubicBezTo>
                  <a:pt x="154" y="9"/>
                  <a:pt x="154" y="9"/>
                  <a:pt x="154" y="9"/>
                </a:cubicBezTo>
                <a:cubicBezTo>
                  <a:pt x="163" y="9"/>
                  <a:pt x="168" y="17"/>
                  <a:pt x="168" y="26"/>
                </a:cubicBezTo>
                <a:cubicBezTo>
                  <a:pt x="168" y="40"/>
                  <a:pt x="168" y="40"/>
                  <a:pt x="168" y="40"/>
                </a:cubicBezTo>
                <a:cubicBezTo>
                  <a:pt x="153" y="43"/>
                  <a:pt x="141" y="55"/>
                  <a:pt x="141" y="70"/>
                </a:cubicBezTo>
                <a:cubicBezTo>
                  <a:pt x="141" y="70"/>
                  <a:pt x="141" y="70"/>
                  <a:pt x="141" y="70"/>
                </a:cubicBezTo>
                <a:cubicBezTo>
                  <a:pt x="141" y="74"/>
                  <a:pt x="141" y="74"/>
                  <a:pt x="141" y="74"/>
                </a:cubicBezTo>
                <a:cubicBezTo>
                  <a:pt x="141" y="101"/>
                  <a:pt x="141" y="101"/>
                  <a:pt x="141" y="101"/>
                </a:cubicBezTo>
                <a:cubicBezTo>
                  <a:pt x="141" y="101"/>
                  <a:pt x="117" y="97"/>
                  <a:pt x="104" y="97"/>
                </a:cubicBezTo>
                <a:cubicBezTo>
                  <a:pt x="87" y="97"/>
                  <a:pt x="63" y="101"/>
                  <a:pt x="63" y="101"/>
                </a:cubicBezTo>
                <a:cubicBezTo>
                  <a:pt x="63" y="74"/>
                  <a:pt x="63" y="74"/>
                  <a:pt x="63" y="74"/>
                </a:cubicBezTo>
                <a:cubicBezTo>
                  <a:pt x="64" y="70"/>
                  <a:pt x="64" y="70"/>
                  <a:pt x="64" y="70"/>
                </a:cubicBezTo>
                <a:cubicBezTo>
                  <a:pt x="64" y="70"/>
                  <a:pt x="64" y="70"/>
                  <a:pt x="64" y="70"/>
                </a:cubicBezTo>
                <a:cubicBezTo>
                  <a:pt x="64" y="55"/>
                  <a:pt x="52" y="43"/>
                  <a:pt x="38" y="41"/>
                </a:cubicBezTo>
                <a:cubicBezTo>
                  <a:pt x="38" y="26"/>
                  <a:pt x="38" y="26"/>
                  <a:pt x="38" y="26"/>
                </a:cubicBezTo>
                <a:cubicBezTo>
                  <a:pt x="38" y="17"/>
                  <a:pt x="42" y="9"/>
                  <a:pt x="52" y="9"/>
                </a:cubicBezTo>
                <a:close/>
                <a:moveTo>
                  <a:pt x="141" y="110"/>
                </a:moveTo>
                <a:cubicBezTo>
                  <a:pt x="141" y="121"/>
                  <a:pt x="141" y="121"/>
                  <a:pt x="141" y="121"/>
                </a:cubicBezTo>
                <a:cubicBezTo>
                  <a:pt x="63" y="121"/>
                  <a:pt x="63" y="121"/>
                  <a:pt x="63" y="121"/>
                </a:cubicBezTo>
                <a:cubicBezTo>
                  <a:pt x="63" y="110"/>
                  <a:pt x="63" y="110"/>
                  <a:pt x="63" y="110"/>
                </a:cubicBezTo>
                <a:cubicBezTo>
                  <a:pt x="63" y="110"/>
                  <a:pt x="90" y="106"/>
                  <a:pt x="104" y="106"/>
                </a:cubicBezTo>
                <a:cubicBezTo>
                  <a:pt x="116" y="106"/>
                  <a:pt x="141" y="110"/>
                  <a:pt x="141" y="110"/>
                </a:cubicBezTo>
                <a:close/>
                <a:moveTo>
                  <a:pt x="173" y="91"/>
                </a:moveTo>
                <a:cubicBezTo>
                  <a:pt x="171" y="91"/>
                  <a:pt x="170" y="92"/>
                  <a:pt x="169" y="93"/>
                </a:cubicBezTo>
                <a:cubicBezTo>
                  <a:pt x="168" y="93"/>
                  <a:pt x="168" y="95"/>
                  <a:pt x="168" y="96"/>
                </a:cubicBezTo>
                <a:cubicBezTo>
                  <a:pt x="168" y="104"/>
                  <a:pt x="168" y="104"/>
                  <a:pt x="168" y="104"/>
                </a:cubicBezTo>
                <a:cubicBezTo>
                  <a:pt x="168" y="143"/>
                  <a:pt x="168" y="143"/>
                  <a:pt x="168" y="143"/>
                </a:cubicBezTo>
                <a:cubicBezTo>
                  <a:pt x="168" y="148"/>
                  <a:pt x="164" y="152"/>
                  <a:pt x="159" y="152"/>
                </a:cubicBezTo>
                <a:cubicBezTo>
                  <a:pt x="46" y="152"/>
                  <a:pt x="46" y="152"/>
                  <a:pt x="46" y="152"/>
                </a:cubicBezTo>
                <a:cubicBezTo>
                  <a:pt x="41" y="152"/>
                  <a:pt x="36" y="148"/>
                  <a:pt x="36" y="143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37" y="96"/>
                  <a:pt x="37" y="96"/>
                  <a:pt x="37" y="96"/>
                </a:cubicBezTo>
                <a:cubicBezTo>
                  <a:pt x="37" y="95"/>
                  <a:pt x="36" y="93"/>
                  <a:pt x="35" y="93"/>
                </a:cubicBezTo>
                <a:cubicBezTo>
                  <a:pt x="34" y="92"/>
                  <a:pt x="33" y="91"/>
                  <a:pt x="32" y="91"/>
                </a:cubicBezTo>
                <a:cubicBezTo>
                  <a:pt x="19" y="91"/>
                  <a:pt x="9" y="82"/>
                  <a:pt x="9" y="70"/>
                </a:cubicBezTo>
                <a:cubicBezTo>
                  <a:pt x="9" y="58"/>
                  <a:pt x="19" y="49"/>
                  <a:pt x="32" y="49"/>
                </a:cubicBezTo>
                <a:cubicBezTo>
                  <a:pt x="44" y="49"/>
                  <a:pt x="54" y="58"/>
                  <a:pt x="54" y="70"/>
                </a:cubicBezTo>
                <a:cubicBezTo>
                  <a:pt x="54" y="74"/>
                  <a:pt x="54" y="74"/>
                  <a:pt x="54" y="74"/>
                </a:cubicBezTo>
                <a:cubicBezTo>
                  <a:pt x="54" y="74"/>
                  <a:pt x="54" y="74"/>
                  <a:pt x="54" y="74"/>
                </a:cubicBezTo>
                <a:cubicBezTo>
                  <a:pt x="54" y="125"/>
                  <a:pt x="54" y="125"/>
                  <a:pt x="54" y="125"/>
                </a:cubicBezTo>
                <a:cubicBezTo>
                  <a:pt x="54" y="127"/>
                  <a:pt x="56" y="129"/>
                  <a:pt x="59" y="129"/>
                </a:cubicBezTo>
                <a:cubicBezTo>
                  <a:pt x="146" y="129"/>
                  <a:pt x="146" y="129"/>
                  <a:pt x="146" y="129"/>
                </a:cubicBezTo>
                <a:cubicBezTo>
                  <a:pt x="148" y="129"/>
                  <a:pt x="150" y="127"/>
                  <a:pt x="150" y="125"/>
                </a:cubicBezTo>
                <a:cubicBezTo>
                  <a:pt x="150" y="74"/>
                  <a:pt x="150" y="74"/>
                  <a:pt x="150" y="74"/>
                </a:cubicBezTo>
                <a:cubicBezTo>
                  <a:pt x="150" y="74"/>
                  <a:pt x="150" y="74"/>
                  <a:pt x="150" y="74"/>
                </a:cubicBezTo>
                <a:cubicBezTo>
                  <a:pt x="150" y="70"/>
                  <a:pt x="150" y="70"/>
                  <a:pt x="150" y="70"/>
                </a:cubicBezTo>
                <a:cubicBezTo>
                  <a:pt x="150" y="58"/>
                  <a:pt x="160" y="49"/>
                  <a:pt x="173" y="49"/>
                </a:cubicBezTo>
                <a:cubicBezTo>
                  <a:pt x="185" y="49"/>
                  <a:pt x="195" y="58"/>
                  <a:pt x="195" y="70"/>
                </a:cubicBezTo>
                <a:cubicBezTo>
                  <a:pt x="195" y="82"/>
                  <a:pt x="185" y="91"/>
                  <a:pt x="173" y="91"/>
                </a:cubicBezTo>
                <a:close/>
              </a:path>
            </a:pathLst>
          </a:custGeom>
          <a:solidFill>
            <a:srgbClr val="21548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66" name="Freeform 51"/>
          <p:cNvSpPr>
            <a:spLocks noEditPoints="1"/>
          </p:cNvSpPr>
          <p:nvPr/>
        </p:nvSpPr>
        <p:spPr bwMode="auto">
          <a:xfrm>
            <a:off x="5257800" y="1797051"/>
            <a:ext cx="128588" cy="201613"/>
          </a:xfrm>
          <a:custGeom>
            <a:avLst/>
            <a:gdLst>
              <a:gd name="T0" fmla="*/ 106 w 118"/>
              <a:gd name="T1" fmla="*/ 182 h 182"/>
              <a:gd name="T2" fmla="*/ 12 w 118"/>
              <a:gd name="T3" fmla="*/ 182 h 182"/>
              <a:gd name="T4" fmla="*/ 0 w 118"/>
              <a:gd name="T5" fmla="*/ 169 h 182"/>
              <a:gd name="T6" fmla="*/ 0 w 118"/>
              <a:gd name="T7" fmla="*/ 12 h 182"/>
              <a:gd name="T8" fmla="*/ 12 w 118"/>
              <a:gd name="T9" fmla="*/ 0 h 182"/>
              <a:gd name="T10" fmla="*/ 106 w 118"/>
              <a:gd name="T11" fmla="*/ 0 h 182"/>
              <a:gd name="T12" fmla="*/ 118 w 118"/>
              <a:gd name="T13" fmla="*/ 12 h 182"/>
              <a:gd name="T14" fmla="*/ 118 w 118"/>
              <a:gd name="T15" fmla="*/ 169 h 182"/>
              <a:gd name="T16" fmla="*/ 106 w 118"/>
              <a:gd name="T17" fmla="*/ 182 h 182"/>
              <a:gd name="T18" fmla="*/ 12 w 118"/>
              <a:gd name="T19" fmla="*/ 6 h 182"/>
              <a:gd name="T20" fmla="*/ 6 w 118"/>
              <a:gd name="T21" fmla="*/ 12 h 182"/>
              <a:gd name="T22" fmla="*/ 6 w 118"/>
              <a:gd name="T23" fmla="*/ 169 h 182"/>
              <a:gd name="T24" fmla="*/ 12 w 118"/>
              <a:gd name="T25" fmla="*/ 175 h 182"/>
              <a:gd name="T26" fmla="*/ 106 w 118"/>
              <a:gd name="T27" fmla="*/ 175 h 182"/>
              <a:gd name="T28" fmla="*/ 112 w 118"/>
              <a:gd name="T29" fmla="*/ 169 h 182"/>
              <a:gd name="T30" fmla="*/ 112 w 118"/>
              <a:gd name="T31" fmla="*/ 12 h 182"/>
              <a:gd name="T32" fmla="*/ 106 w 118"/>
              <a:gd name="T33" fmla="*/ 6 h 182"/>
              <a:gd name="T34" fmla="*/ 12 w 118"/>
              <a:gd name="T35" fmla="*/ 6 h 182"/>
              <a:gd name="T36" fmla="*/ 59 w 118"/>
              <a:gd name="T37" fmla="*/ 168 h 182"/>
              <a:gd name="T38" fmla="*/ 51 w 118"/>
              <a:gd name="T39" fmla="*/ 160 h 182"/>
              <a:gd name="T40" fmla="*/ 59 w 118"/>
              <a:gd name="T41" fmla="*/ 152 h 182"/>
              <a:gd name="T42" fmla="*/ 67 w 118"/>
              <a:gd name="T43" fmla="*/ 160 h 182"/>
              <a:gd name="T44" fmla="*/ 59 w 118"/>
              <a:gd name="T45" fmla="*/ 168 h 182"/>
              <a:gd name="T46" fmla="*/ 59 w 118"/>
              <a:gd name="T47" fmla="*/ 158 h 182"/>
              <a:gd name="T48" fmla="*/ 57 w 118"/>
              <a:gd name="T49" fmla="*/ 160 h 182"/>
              <a:gd name="T50" fmla="*/ 61 w 118"/>
              <a:gd name="T51" fmla="*/ 160 h 182"/>
              <a:gd name="T52" fmla="*/ 59 w 118"/>
              <a:gd name="T53" fmla="*/ 158 h 182"/>
              <a:gd name="T54" fmla="*/ 103 w 118"/>
              <a:gd name="T55" fmla="*/ 146 h 182"/>
              <a:gd name="T56" fmla="*/ 14 w 118"/>
              <a:gd name="T57" fmla="*/ 146 h 182"/>
              <a:gd name="T58" fmla="*/ 11 w 118"/>
              <a:gd name="T59" fmla="*/ 142 h 182"/>
              <a:gd name="T60" fmla="*/ 11 w 118"/>
              <a:gd name="T61" fmla="*/ 17 h 182"/>
              <a:gd name="T62" fmla="*/ 14 w 118"/>
              <a:gd name="T63" fmla="*/ 14 h 182"/>
              <a:gd name="T64" fmla="*/ 103 w 118"/>
              <a:gd name="T65" fmla="*/ 14 h 182"/>
              <a:gd name="T66" fmla="*/ 106 w 118"/>
              <a:gd name="T67" fmla="*/ 17 h 182"/>
              <a:gd name="T68" fmla="*/ 106 w 118"/>
              <a:gd name="T69" fmla="*/ 142 h 182"/>
              <a:gd name="T70" fmla="*/ 103 w 118"/>
              <a:gd name="T71" fmla="*/ 146 h 182"/>
              <a:gd name="T72" fmla="*/ 17 w 118"/>
              <a:gd name="T73" fmla="*/ 139 h 182"/>
              <a:gd name="T74" fmla="*/ 100 w 118"/>
              <a:gd name="T75" fmla="*/ 139 h 182"/>
              <a:gd name="T76" fmla="*/ 100 w 118"/>
              <a:gd name="T77" fmla="*/ 20 h 182"/>
              <a:gd name="T78" fmla="*/ 17 w 118"/>
              <a:gd name="T79" fmla="*/ 20 h 182"/>
              <a:gd name="T80" fmla="*/ 17 w 118"/>
              <a:gd name="T81" fmla="*/ 139 h 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8" h="182">
                <a:moveTo>
                  <a:pt x="106" y="182"/>
                </a:moveTo>
                <a:cubicBezTo>
                  <a:pt x="12" y="182"/>
                  <a:pt x="12" y="182"/>
                  <a:pt x="12" y="182"/>
                </a:cubicBezTo>
                <a:cubicBezTo>
                  <a:pt x="5" y="182"/>
                  <a:pt x="0" y="176"/>
                  <a:pt x="0" y="169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5"/>
                  <a:pt x="5" y="0"/>
                  <a:pt x="12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13" y="0"/>
                  <a:pt x="118" y="5"/>
                  <a:pt x="118" y="12"/>
                </a:cubicBezTo>
                <a:cubicBezTo>
                  <a:pt x="118" y="169"/>
                  <a:pt x="118" y="169"/>
                  <a:pt x="118" y="169"/>
                </a:cubicBezTo>
                <a:cubicBezTo>
                  <a:pt x="118" y="176"/>
                  <a:pt x="113" y="182"/>
                  <a:pt x="106" y="182"/>
                </a:cubicBezTo>
                <a:close/>
                <a:moveTo>
                  <a:pt x="12" y="6"/>
                </a:moveTo>
                <a:cubicBezTo>
                  <a:pt x="9" y="6"/>
                  <a:pt x="6" y="9"/>
                  <a:pt x="6" y="12"/>
                </a:cubicBezTo>
                <a:cubicBezTo>
                  <a:pt x="6" y="169"/>
                  <a:pt x="6" y="169"/>
                  <a:pt x="6" y="169"/>
                </a:cubicBezTo>
                <a:cubicBezTo>
                  <a:pt x="6" y="173"/>
                  <a:pt x="9" y="175"/>
                  <a:pt x="12" y="175"/>
                </a:cubicBezTo>
                <a:cubicBezTo>
                  <a:pt x="106" y="175"/>
                  <a:pt x="106" y="175"/>
                  <a:pt x="106" y="175"/>
                </a:cubicBezTo>
                <a:cubicBezTo>
                  <a:pt x="109" y="175"/>
                  <a:pt x="112" y="173"/>
                  <a:pt x="112" y="169"/>
                </a:cubicBezTo>
                <a:cubicBezTo>
                  <a:pt x="112" y="12"/>
                  <a:pt x="112" y="12"/>
                  <a:pt x="112" y="12"/>
                </a:cubicBezTo>
                <a:cubicBezTo>
                  <a:pt x="112" y="9"/>
                  <a:pt x="109" y="6"/>
                  <a:pt x="106" y="6"/>
                </a:cubicBezTo>
                <a:lnTo>
                  <a:pt x="12" y="6"/>
                </a:lnTo>
                <a:close/>
                <a:moveTo>
                  <a:pt x="59" y="168"/>
                </a:moveTo>
                <a:cubicBezTo>
                  <a:pt x="54" y="168"/>
                  <a:pt x="51" y="164"/>
                  <a:pt x="51" y="160"/>
                </a:cubicBezTo>
                <a:cubicBezTo>
                  <a:pt x="51" y="155"/>
                  <a:pt x="54" y="152"/>
                  <a:pt x="59" y="152"/>
                </a:cubicBezTo>
                <a:cubicBezTo>
                  <a:pt x="63" y="152"/>
                  <a:pt x="67" y="155"/>
                  <a:pt x="67" y="160"/>
                </a:cubicBezTo>
                <a:cubicBezTo>
                  <a:pt x="67" y="164"/>
                  <a:pt x="63" y="168"/>
                  <a:pt x="59" y="168"/>
                </a:cubicBezTo>
                <a:close/>
                <a:moveTo>
                  <a:pt x="59" y="158"/>
                </a:moveTo>
                <a:cubicBezTo>
                  <a:pt x="58" y="158"/>
                  <a:pt x="57" y="159"/>
                  <a:pt x="57" y="160"/>
                </a:cubicBezTo>
                <a:cubicBezTo>
                  <a:pt x="57" y="162"/>
                  <a:pt x="61" y="162"/>
                  <a:pt x="61" y="160"/>
                </a:cubicBezTo>
                <a:cubicBezTo>
                  <a:pt x="61" y="159"/>
                  <a:pt x="60" y="158"/>
                  <a:pt x="59" y="158"/>
                </a:cubicBezTo>
                <a:close/>
                <a:moveTo>
                  <a:pt x="103" y="146"/>
                </a:moveTo>
                <a:cubicBezTo>
                  <a:pt x="14" y="146"/>
                  <a:pt x="14" y="146"/>
                  <a:pt x="14" y="146"/>
                </a:cubicBezTo>
                <a:cubicBezTo>
                  <a:pt x="12" y="146"/>
                  <a:pt x="11" y="144"/>
                  <a:pt x="11" y="142"/>
                </a:cubicBezTo>
                <a:cubicBezTo>
                  <a:pt x="11" y="17"/>
                  <a:pt x="11" y="17"/>
                  <a:pt x="11" y="17"/>
                </a:cubicBezTo>
                <a:cubicBezTo>
                  <a:pt x="11" y="15"/>
                  <a:pt x="12" y="14"/>
                  <a:pt x="14" y="14"/>
                </a:cubicBezTo>
                <a:cubicBezTo>
                  <a:pt x="103" y="14"/>
                  <a:pt x="103" y="14"/>
                  <a:pt x="103" y="14"/>
                </a:cubicBezTo>
                <a:cubicBezTo>
                  <a:pt x="105" y="14"/>
                  <a:pt x="106" y="15"/>
                  <a:pt x="106" y="17"/>
                </a:cubicBezTo>
                <a:cubicBezTo>
                  <a:pt x="106" y="142"/>
                  <a:pt x="106" y="142"/>
                  <a:pt x="106" y="142"/>
                </a:cubicBezTo>
                <a:cubicBezTo>
                  <a:pt x="106" y="144"/>
                  <a:pt x="105" y="146"/>
                  <a:pt x="103" y="146"/>
                </a:cubicBezTo>
                <a:close/>
                <a:moveTo>
                  <a:pt x="17" y="139"/>
                </a:moveTo>
                <a:cubicBezTo>
                  <a:pt x="100" y="139"/>
                  <a:pt x="100" y="139"/>
                  <a:pt x="100" y="139"/>
                </a:cubicBezTo>
                <a:cubicBezTo>
                  <a:pt x="100" y="20"/>
                  <a:pt x="100" y="20"/>
                  <a:pt x="100" y="20"/>
                </a:cubicBezTo>
                <a:cubicBezTo>
                  <a:pt x="17" y="20"/>
                  <a:pt x="17" y="20"/>
                  <a:pt x="17" y="20"/>
                </a:cubicBezTo>
                <a:lnTo>
                  <a:pt x="17" y="139"/>
                </a:lnTo>
                <a:close/>
              </a:path>
            </a:pathLst>
          </a:custGeom>
          <a:solidFill>
            <a:srgbClr val="21548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67" name="Freeform 52"/>
          <p:cNvSpPr>
            <a:spLocks noEditPoints="1"/>
          </p:cNvSpPr>
          <p:nvPr/>
        </p:nvSpPr>
        <p:spPr bwMode="auto">
          <a:xfrm>
            <a:off x="2927351" y="1919289"/>
            <a:ext cx="104775" cy="107950"/>
          </a:xfrm>
          <a:custGeom>
            <a:avLst/>
            <a:gdLst>
              <a:gd name="T0" fmla="*/ 107 w 107"/>
              <a:gd name="T1" fmla="*/ 27 h 107"/>
              <a:gd name="T2" fmla="*/ 0 w 107"/>
              <a:gd name="T3" fmla="*/ 27 h 107"/>
              <a:gd name="T4" fmla="*/ 54 w 107"/>
              <a:gd name="T5" fmla="*/ 0 h 107"/>
              <a:gd name="T6" fmla="*/ 107 w 107"/>
              <a:gd name="T7" fmla="*/ 27 h 107"/>
              <a:gd name="T8" fmla="*/ 21 w 107"/>
              <a:gd name="T9" fmla="*/ 21 h 107"/>
              <a:gd name="T10" fmla="*/ 87 w 107"/>
              <a:gd name="T11" fmla="*/ 21 h 107"/>
              <a:gd name="T12" fmla="*/ 54 w 107"/>
              <a:gd name="T13" fmla="*/ 5 h 107"/>
              <a:gd name="T14" fmla="*/ 21 w 107"/>
              <a:gd name="T15" fmla="*/ 21 h 107"/>
              <a:gd name="T16" fmla="*/ 9 w 107"/>
              <a:gd name="T17" fmla="*/ 37 h 107"/>
              <a:gd name="T18" fmla="*/ 13 w 107"/>
              <a:gd name="T19" fmla="*/ 37 h 107"/>
              <a:gd name="T20" fmla="*/ 13 w 107"/>
              <a:gd name="T21" fmla="*/ 92 h 107"/>
              <a:gd name="T22" fmla="*/ 9 w 107"/>
              <a:gd name="T23" fmla="*/ 92 h 107"/>
              <a:gd name="T24" fmla="*/ 9 w 107"/>
              <a:gd name="T25" fmla="*/ 37 h 107"/>
              <a:gd name="T26" fmla="*/ 36 w 107"/>
              <a:gd name="T27" fmla="*/ 35 h 107"/>
              <a:gd name="T28" fmla="*/ 42 w 107"/>
              <a:gd name="T29" fmla="*/ 35 h 107"/>
              <a:gd name="T30" fmla="*/ 42 w 107"/>
              <a:gd name="T31" fmla="*/ 80 h 107"/>
              <a:gd name="T32" fmla="*/ 36 w 107"/>
              <a:gd name="T33" fmla="*/ 80 h 107"/>
              <a:gd name="T34" fmla="*/ 36 w 107"/>
              <a:gd name="T35" fmla="*/ 35 h 107"/>
              <a:gd name="T36" fmla="*/ 93 w 107"/>
              <a:gd name="T37" fmla="*/ 37 h 107"/>
              <a:gd name="T38" fmla="*/ 97 w 107"/>
              <a:gd name="T39" fmla="*/ 37 h 107"/>
              <a:gd name="T40" fmla="*/ 97 w 107"/>
              <a:gd name="T41" fmla="*/ 92 h 107"/>
              <a:gd name="T42" fmla="*/ 93 w 107"/>
              <a:gd name="T43" fmla="*/ 92 h 107"/>
              <a:gd name="T44" fmla="*/ 93 w 107"/>
              <a:gd name="T45" fmla="*/ 37 h 107"/>
              <a:gd name="T46" fmla="*/ 65 w 107"/>
              <a:gd name="T47" fmla="*/ 35 h 107"/>
              <a:gd name="T48" fmla="*/ 69 w 107"/>
              <a:gd name="T49" fmla="*/ 35 h 107"/>
              <a:gd name="T50" fmla="*/ 69 w 107"/>
              <a:gd name="T51" fmla="*/ 80 h 107"/>
              <a:gd name="T52" fmla="*/ 65 w 107"/>
              <a:gd name="T53" fmla="*/ 80 h 107"/>
              <a:gd name="T54" fmla="*/ 65 w 107"/>
              <a:gd name="T55" fmla="*/ 35 h 107"/>
              <a:gd name="T56" fmla="*/ 29 w 107"/>
              <a:gd name="T57" fmla="*/ 88 h 107"/>
              <a:gd name="T58" fmla="*/ 80 w 107"/>
              <a:gd name="T59" fmla="*/ 88 h 107"/>
              <a:gd name="T60" fmla="*/ 80 w 107"/>
              <a:gd name="T61" fmla="*/ 92 h 107"/>
              <a:gd name="T62" fmla="*/ 29 w 107"/>
              <a:gd name="T63" fmla="*/ 92 h 107"/>
              <a:gd name="T64" fmla="*/ 29 w 107"/>
              <a:gd name="T65" fmla="*/ 88 h 107"/>
              <a:gd name="T66" fmla="*/ 5 w 107"/>
              <a:gd name="T67" fmla="*/ 101 h 107"/>
              <a:gd name="T68" fmla="*/ 104 w 107"/>
              <a:gd name="T69" fmla="*/ 101 h 107"/>
              <a:gd name="T70" fmla="*/ 104 w 107"/>
              <a:gd name="T71" fmla="*/ 107 h 107"/>
              <a:gd name="T72" fmla="*/ 5 w 107"/>
              <a:gd name="T73" fmla="*/ 107 h 107"/>
              <a:gd name="T74" fmla="*/ 5 w 107"/>
              <a:gd name="T75" fmla="*/ 101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07" h="107">
                <a:moveTo>
                  <a:pt x="107" y="27"/>
                </a:moveTo>
                <a:lnTo>
                  <a:pt x="0" y="27"/>
                </a:lnTo>
                <a:lnTo>
                  <a:pt x="54" y="0"/>
                </a:lnTo>
                <a:lnTo>
                  <a:pt x="107" y="27"/>
                </a:lnTo>
                <a:close/>
                <a:moveTo>
                  <a:pt x="21" y="21"/>
                </a:moveTo>
                <a:lnTo>
                  <a:pt x="87" y="21"/>
                </a:lnTo>
                <a:lnTo>
                  <a:pt x="54" y="5"/>
                </a:lnTo>
                <a:lnTo>
                  <a:pt x="21" y="21"/>
                </a:lnTo>
                <a:close/>
                <a:moveTo>
                  <a:pt x="9" y="37"/>
                </a:moveTo>
                <a:lnTo>
                  <a:pt x="13" y="37"/>
                </a:lnTo>
                <a:lnTo>
                  <a:pt x="13" y="92"/>
                </a:lnTo>
                <a:lnTo>
                  <a:pt x="9" y="92"/>
                </a:lnTo>
                <a:lnTo>
                  <a:pt x="9" y="37"/>
                </a:lnTo>
                <a:close/>
                <a:moveTo>
                  <a:pt x="36" y="35"/>
                </a:moveTo>
                <a:lnTo>
                  <a:pt x="42" y="35"/>
                </a:lnTo>
                <a:lnTo>
                  <a:pt x="42" y="80"/>
                </a:lnTo>
                <a:lnTo>
                  <a:pt x="36" y="80"/>
                </a:lnTo>
                <a:lnTo>
                  <a:pt x="36" y="35"/>
                </a:lnTo>
                <a:close/>
                <a:moveTo>
                  <a:pt x="93" y="37"/>
                </a:moveTo>
                <a:lnTo>
                  <a:pt x="97" y="37"/>
                </a:lnTo>
                <a:lnTo>
                  <a:pt x="97" y="92"/>
                </a:lnTo>
                <a:lnTo>
                  <a:pt x="93" y="92"/>
                </a:lnTo>
                <a:lnTo>
                  <a:pt x="93" y="37"/>
                </a:lnTo>
                <a:close/>
                <a:moveTo>
                  <a:pt x="65" y="35"/>
                </a:moveTo>
                <a:lnTo>
                  <a:pt x="69" y="35"/>
                </a:lnTo>
                <a:lnTo>
                  <a:pt x="69" y="80"/>
                </a:lnTo>
                <a:lnTo>
                  <a:pt x="65" y="80"/>
                </a:lnTo>
                <a:lnTo>
                  <a:pt x="65" y="35"/>
                </a:lnTo>
                <a:close/>
                <a:moveTo>
                  <a:pt x="29" y="88"/>
                </a:moveTo>
                <a:lnTo>
                  <a:pt x="80" y="88"/>
                </a:lnTo>
                <a:lnTo>
                  <a:pt x="80" y="92"/>
                </a:lnTo>
                <a:lnTo>
                  <a:pt x="29" y="92"/>
                </a:lnTo>
                <a:lnTo>
                  <a:pt x="29" y="88"/>
                </a:lnTo>
                <a:close/>
                <a:moveTo>
                  <a:pt x="5" y="101"/>
                </a:moveTo>
                <a:lnTo>
                  <a:pt x="104" y="101"/>
                </a:lnTo>
                <a:lnTo>
                  <a:pt x="104" y="107"/>
                </a:lnTo>
                <a:lnTo>
                  <a:pt x="5" y="107"/>
                </a:lnTo>
                <a:lnTo>
                  <a:pt x="5" y="101"/>
                </a:lnTo>
                <a:close/>
              </a:path>
            </a:pathLst>
          </a:custGeom>
          <a:solidFill>
            <a:srgbClr val="21548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68" name="Rectangle 40"/>
          <p:cNvSpPr>
            <a:spLocks noChangeArrowheads="1"/>
          </p:cNvSpPr>
          <p:nvPr/>
        </p:nvSpPr>
        <p:spPr bwMode="auto">
          <a:xfrm>
            <a:off x="3797300" y="1984376"/>
            <a:ext cx="177800" cy="107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1225">
              <a:defRPr/>
            </a:pPr>
            <a:r>
              <a:rPr lang="zh-CN" altLang="zh-CN" sz="700" kern="0" dirty="0">
                <a:solidFill>
                  <a:srgbClr val="215483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创客</a:t>
            </a:r>
            <a:endParaRPr lang="zh-CN" altLang="zh-CN" kern="0" dirty="0">
              <a:solidFill>
                <a:prstClr val="black"/>
              </a:solidFill>
            </a:endParaRPr>
          </a:p>
        </p:txBody>
      </p:sp>
      <p:sp>
        <p:nvSpPr>
          <p:cNvPr id="269" name="Freeform 45"/>
          <p:cNvSpPr>
            <a:spLocks noEditPoints="1"/>
          </p:cNvSpPr>
          <p:nvPr/>
        </p:nvSpPr>
        <p:spPr bwMode="auto">
          <a:xfrm>
            <a:off x="3708400" y="1963739"/>
            <a:ext cx="65088" cy="71437"/>
          </a:xfrm>
          <a:custGeom>
            <a:avLst/>
            <a:gdLst>
              <a:gd name="T0" fmla="*/ 41 w 60"/>
              <a:gd name="T1" fmla="*/ 36 h 64"/>
              <a:gd name="T2" fmla="*/ 49 w 60"/>
              <a:gd name="T3" fmla="*/ 20 h 64"/>
              <a:gd name="T4" fmla="*/ 30 w 60"/>
              <a:gd name="T5" fmla="*/ 0 h 64"/>
              <a:gd name="T6" fmla="*/ 11 w 60"/>
              <a:gd name="T7" fmla="*/ 20 h 64"/>
              <a:gd name="T8" fmla="*/ 19 w 60"/>
              <a:gd name="T9" fmla="*/ 36 h 64"/>
              <a:gd name="T10" fmla="*/ 0 w 60"/>
              <a:gd name="T11" fmla="*/ 64 h 64"/>
              <a:gd name="T12" fmla="*/ 0 w 60"/>
              <a:gd name="T13" fmla="*/ 64 h 64"/>
              <a:gd name="T14" fmla="*/ 6 w 60"/>
              <a:gd name="T15" fmla="*/ 64 h 64"/>
              <a:gd name="T16" fmla="*/ 6 w 60"/>
              <a:gd name="T17" fmla="*/ 64 h 64"/>
              <a:gd name="T18" fmla="*/ 27 w 60"/>
              <a:gd name="T19" fmla="*/ 39 h 64"/>
              <a:gd name="T20" fmla="*/ 33 w 60"/>
              <a:gd name="T21" fmla="*/ 39 h 64"/>
              <a:gd name="T22" fmla="*/ 33 w 60"/>
              <a:gd name="T23" fmla="*/ 39 h 64"/>
              <a:gd name="T24" fmla="*/ 33 w 60"/>
              <a:gd name="T25" fmla="*/ 39 h 64"/>
              <a:gd name="T26" fmla="*/ 54 w 60"/>
              <a:gd name="T27" fmla="*/ 64 h 64"/>
              <a:gd name="T28" fmla="*/ 54 w 60"/>
              <a:gd name="T29" fmla="*/ 64 h 64"/>
              <a:gd name="T30" fmla="*/ 60 w 60"/>
              <a:gd name="T31" fmla="*/ 64 h 64"/>
              <a:gd name="T32" fmla="*/ 60 w 60"/>
              <a:gd name="T33" fmla="*/ 64 h 64"/>
              <a:gd name="T34" fmla="*/ 41 w 60"/>
              <a:gd name="T35" fmla="*/ 36 h 64"/>
              <a:gd name="T36" fmla="*/ 41 w 60"/>
              <a:gd name="T37" fmla="*/ 36 h 64"/>
              <a:gd name="T38" fmla="*/ 30 w 60"/>
              <a:gd name="T39" fmla="*/ 34 h 64"/>
              <a:gd name="T40" fmla="*/ 16 w 60"/>
              <a:gd name="T41" fmla="*/ 20 h 64"/>
              <a:gd name="T42" fmla="*/ 30 w 60"/>
              <a:gd name="T43" fmla="*/ 5 h 64"/>
              <a:gd name="T44" fmla="*/ 44 w 60"/>
              <a:gd name="T45" fmla="*/ 20 h 64"/>
              <a:gd name="T46" fmla="*/ 30 w 60"/>
              <a:gd name="T47" fmla="*/ 34 h 64"/>
              <a:gd name="T48" fmla="*/ 30 w 60"/>
              <a:gd name="T49" fmla="*/ 34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64">
                <a:moveTo>
                  <a:pt x="41" y="36"/>
                </a:moveTo>
                <a:cubicBezTo>
                  <a:pt x="46" y="32"/>
                  <a:pt x="49" y="27"/>
                  <a:pt x="49" y="20"/>
                </a:cubicBezTo>
                <a:cubicBezTo>
                  <a:pt x="49" y="9"/>
                  <a:pt x="40" y="0"/>
                  <a:pt x="30" y="0"/>
                </a:cubicBezTo>
                <a:cubicBezTo>
                  <a:pt x="19" y="0"/>
                  <a:pt x="11" y="9"/>
                  <a:pt x="11" y="20"/>
                </a:cubicBezTo>
                <a:cubicBezTo>
                  <a:pt x="11" y="26"/>
                  <a:pt x="14" y="32"/>
                  <a:pt x="19" y="36"/>
                </a:cubicBezTo>
                <a:cubicBezTo>
                  <a:pt x="8" y="40"/>
                  <a:pt x="0" y="51"/>
                  <a:pt x="0" y="64"/>
                </a:cubicBezTo>
                <a:cubicBezTo>
                  <a:pt x="0" y="64"/>
                  <a:pt x="0" y="64"/>
                  <a:pt x="0" y="64"/>
                </a:cubicBezTo>
                <a:cubicBezTo>
                  <a:pt x="6" y="64"/>
                  <a:pt x="6" y="64"/>
                  <a:pt x="6" y="64"/>
                </a:cubicBezTo>
                <a:cubicBezTo>
                  <a:pt x="6" y="64"/>
                  <a:pt x="6" y="64"/>
                  <a:pt x="6" y="64"/>
                </a:cubicBezTo>
                <a:cubicBezTo>
                  <a:pt x="6" y="52"/>
                  <a:pt x="15" y="41"/>
                  <a:pt x="27" y="39"/>
                </a:cubicBezTo>
                <a:cubicBezTo>
                  <a:pt x="27" y="39"/>
                  <a:pt x="30" y="39"/>
                  <a:pt x="33" y="39"/>
                </a:cubicBezTo>
                <a:cubicBezTo>
                  <a:pt x="33" y="39"/>
                  <a:pt x="33" y="39"/>
                  <a:pt x="33" y="39"/>
                </a:cubicBezTo>
                <a:cubicBezTo>
                  <a:pt x="33" y="39"/>
                  <a:pt x="33" y="39"/>
                  <a:pt x="33" y="39"/>
                </a:cubicBezTo>
                <a:cubicBezTo>
                  <a:pt x="45" y="41"/>
                  <a:pt x="54" y="52"/>
                  <a:pt x="54" y="64"/>
                </a:cubicBezTo>
                <a:cubicBezTo>
                  <a:pt x="54" y="64"/>
                  <a:pt x="54" y="64"/>
                  <a:pt x="54" y="64"/>
                </a:cubicBezTo>
                <a:cubicBezTo>
                  <a:pt x="60" y="64"/>
                  <a:pt x="60" y="64"/>
                  <a:pt x="60" y="64"/>
                </a:cubicBezTo>
                <a:cubicBezTo>
                  <a:pt x="60" y="64"/>
                  <a:pt x="60" y="64"/>
                  <a:pt x="60" y="64"/>
                </a:cubicBezTo>
                <a:cubicBezTo>
                  <a:pt x="60" y="51"/>
                  <a:pt x="52" y="40"/>
                  <a:pt x="41" y="36"/>
                </a:cubicBezTo>
                <a:cubicBezTo>
                  <a:pt x="41" y="36"/>
                  <a:pt x="41" y="36"/>
                  <a:pt x="41" y="36"/>
                </a:cubicBezTo>
                <a:close/>
                <a:moveTo>
                  <a:pt x="30" y="34"/>
                </a:moveTo>
                <a:cubicBezTo>
                  <a:pt x="22" y="34"/>
                  <a:pt x="16" y="28"/>
                  <a:pt x="16" y="20"/>
                </a:cubicBezTo>
                <a:cubicBezTo>
                  <a:pt x="16" y="11"/>
                  <a:pt x="22" y="5"/>
                  <a:pt x="30" y="5"/>
                </a:cubicBezTo>
                <a:cubicBezTo>
                  <a:pt x="38" y="5"/>
                  <a:pt x="44" y="11"/>
                  <a:pt x="44" y="20"/>
                </a:cubicBezTo>
                <a:cubicBezTo>
                  <a:pt x="44" y="28"/>
                  <a:pt x="38" y="34"/>
                  <a:pt x="30" y="34"/>
                </a:cubicBezTo>
                <a:cubicBezTo>
                  <a:pt x="30" y="34"/>
                  <a:pt x="30" y="34"/>
                  <a:pt x="30" y="34"/>
                </a:cubicBezTo>
                <a:close/>
              </a:path>
            </a:pathLst>
          </a:custGeom>
          <a:solidFill>
            <a:srgbClr val="21548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cxnSp>
        <p:nvCxnSpPr>
          <p:cNvPr id="270" name="直接连接符 112"/>
          <p:cNvCxnSpPr>
            <a:cxnSpLocks noChangeShapeType="1"/>
          </p:cNvCxnSpPr>
          <p:nvPr/>
        </p:nvCxnSpPr>
        <p:spPr bwMode="auto">
          <a:xfrm>
            <a:off x="3630614" y="1955801"/>
            <a:ext cx="68262" cy="47625"/>
          </a:xfrm>
          <a:prstGeom prst="line">
            <a:avLst/>
          </a:prstGeom>
          <a:noFill/>
          <a:ln w="3175">
            <a:solidFill>
              <a:srgbClr val="215483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272" name="组合 114"/>
          <p:cNvGrpSpPr/>
          <p:nvPr/>
        </p:nvGrpSpPr>
        <p:grpSpPr bwMode="auto">
          <a:xfrm>
            <a:off x="2430464" y="1447801"/>
            <a:ext cx="234950" cy="282575"/>
            <a:chOff x="2696030" y="1160019"/>
            <a:chExt cx="378794" cy="416640"/>
          </a:xfrm>
        </p:grpSpPr>
        <p:sp>
          <p:nvSpPr>
            <p:cNvPr id="273" name="KSO_Shape"/>
            <p:cNvSpPr/>
            <p:nvPr/>
          </p:nvSpPr>
          <p:spPr bwMode="auto">
            <a:xfrm>
              <a:off x="2696030" y="1270031"/>
              <a:ext cx="378794" cy="306628"/>
            </a:xfrm>
            <a:custGeom>
              <a:avLst/>
              <a:gdLst>
                <a:gd name="T0" fmla="*/ 859152 w 2887663"/>
                <a:gd name="T1" fmla="*/ 1613541 h 2762250"/>
                <a:gd name="T2" fmla="*/ 660904 w 2887663"/>
                <a:gd name="T3" fmla="*/ 1631599 h 2762250"/>
                <a:gd name="T4" fmla="*/ 582760 w 2887663"/>
                <a:gd name="T5" fmla="*/ 1615068 h 2762250"/>
                <a:gd name="T6" fmla="*/ 995462 w 2887663"/>
                <a:gd name="T7" fmla="*/ 1633083 h 2762250"/>
                <a:gd name="T8" fmla="*/ 794773 w 2887663"/>
                <a:gd name="T9" fmla="*/ 1314259 h 2762250"/>
                <a:gd name="T10" fmla="*/ 610807 w 2887663"/>
                <a:gd name="T11" fmla="*/ 1237111 h 2762250"/>
                <a:gd name="T12" fmla="*/ 1010000 w 2887663"/>
                <a:gd name="T13" fmla="*/ 1258119 h 2762250"/>
                <a:gd name="T14" fmla="*/ 971706 w 2887663"/>
                <a:gd name="T15" fmla="*/ 1228164 h 2762250"/>
                <a:gd name="T16" fmla="*/ 1592768 w 2887663"/>
                <a:gd name="T17" fmla="*/ 1051361 h 2762250"/>
                <a:gd name="T18" fmla="*/ 1541332 w 2887663"/>
                <a:gd name="T19" fmla="*/ 1069171 h 2762250"/>
                <a:gd name="T20" fmla="*/ 1858757 w 2887663"/>
                <a:gd name="T21" fmla="*/ 1072313 h 2762250"/>
                <a:gd name="T22" fmla="*/ 1791171 w 2887663"/>
                <a:gd name="T23" fmla="*/ 1051365 h 2762250"/>
                <a:gd name="T24" fmla="*/ 1711030 w 2887663"/>
                <a:gd name="T25" fmla="*/ 968622 h 2762250"/>
                <a:gd name="T26" fmla="*/ 151645 w 2887663"/>
                <a:gd name="T27" fmla="*/ 762046 h 2762250"/>
                <a:gd name="T28" fmla="*/ 981201 w 2887663"/>
                <a:gd name="T29" fmla="*/ 768990 h 2762250"/>
                <a:gd name="T30" fmla="*/ 971764 w 2887663"/>
                <a:gd name="T31" fmla="*/ 1009888 h 2762250"/>
                <a:gd name="T32" fmla="*/ 1026917 w 2887663"/>
                <a:gd name="T33" fmla="*/ 1583646 h 2762250"/>
                <a:gd name="T34" fmla="*/ 718440 w 2887663"/>
                <a:gd name="T35" fmla="*/ 1721482 h 2762250"/>
                <a:gd name="T36" fmla="*/ 610651 w 2887663"/>
                <a:gd name="T37" fmla="*/ 1478698 h 2762250"/>
                <a:gd name="T38" fmla="*/ 560741 w 2887663"/>
                <a:gd name="T39" fmla="*/ 1185640 h 2762250"/>
                <a:gd name="T40" fmla="*/ 815324 w 2887663"/>
                <a:gd name="T41" fmla="*/ 771713 h 2762250"/>
                <a:gd name="T42" fmla="*/ 136146 w 2887663"/>
                <a:gd name="T43" fmla="*/ 816029 h 2762250"/>
                <a:gd name="T44" fmla="*/ 1067177 w 2887663"/>
                <a:gd name="T45" fmla="*/ 813407 h 2762250"/>
                <a:gd name="T46" fmla="*/ 1528817 w 2887663"/>
                <a:gd name="T47" fmla="*/ 756426 h 2762250"/>
                <a:gd name="T48" fmla="*/ 1840906 w 2887663"/>
                <a:gd name="T49" fmla="*/ 737034 h 2762250"/>
                <a:gd name="T50" fmla="*/ 1292342 w 2887663"/>
                <a:gd name="T51" fmla="*/ 568311 h 2762250"/>
                <a:gd name="T52" fmla="*/ 47127 w 2887663"/>
                <a:gd name="T53" fmla="*/ 541498 h 2762250"/>
                <a:gd name="T54" fmla="*/ 1204370 w 2887663"/>
                <a:gd name="T55" fmla="*/ 510077 h 2762250"/>
                <a:gd name="T56" fmla="*/ 1155777 w 2887663"/>
                <a:gd name="T57" fmla="*/ 521860 h 2762250"/>
                <a:gd name="T58" fmla="*/ 1096152 w 2887663"/>
                <a:gd name="T59" fmla="*/ 532321 h 2762250"/>
                <a:gd name="T60" fmla="*/ 1242636 w 2887663"/>
                <a:gd name="T61" fmla="*/ 504891 h 2762250"/>
                <a:gd name="T62" fmla="*/ 870122 w 2887663"/>
                <a:gd name="T63" fmla="*/ 534990 h 2762250"/>
                <a:gd name="T64" fmla="*/ 913650 w 2887663"/>
                <a:gd name="T65" fmla="*/ 644448 h 2762250"/>
                <a:gd name="T66" fmla="*/ 779299 w 2887663"/>
                <a:gd name="T67" fmla="*/ 746385 h 2762250"/>
                <a:gd name="T68" fmla="*/ 691197 w 2887663"/>
                <a:gd name="T69" fmla="*/ 575724 h 2762250"/>
                <a:gd name="T70" fmla="*/ 1168871 w 2887663"/>
                <a:gd name="T71" fmla="*/ 480811 h 2762250"/>
                <a:gd name="T72" fmla="*/ 1840343 w 2887663"/>
                <a:gd name="T73" fmla="*/ 706985 h 2762250"/>
                <a:gd name="T74" fmla="*/ 1885331 w 2887663"/>
                <a:gd name="T75" fmla="*/ 1036912 h 2762250"/>
                <a:gd name="T76" fmla="*/ 1588622 w 2887663"/>
                <a:gd name="T77" fmla="*/ 1119655 h 2762250"/>
                <a:gd name="T78" fmla="*/ 1576695 w 2887663"/>
                <a:gd name="T79" fmla="*/ 720602 h 2762250"/>
                <a:gd name="T80" fmla="*/ 1493833 w 2887663"/>
                <a:gd name="T81" fmla="*/ 411832 h 2762250"/>
                <a:gd name="T82" fmla="*/ 1275484 w 2887663"/>
                <a:gd name="T83" fmla="*/ 362396 h 2762250"/>
                <a:gd name="T84" fmla="*/ 1107388 w 2887663"/>
                <a:gd name="T85" fmla="*/ 362576 h 2762250"/>
                <a:gd name="T86" fmla="*/ 326123 w 2887663"/>
                <a:gd name="T87" fmla="*/ 320344 h 2762250"/>
                <a:gd name="T88" fmla="*/ 258049 w 2887663"/>
                <a:gd name="T89" fmla="*/ 723731 h 2762250"/>
                <a:gd name="T90" fmla="*/ 204010 w 2887663"/>
                <a:gd name="T91" fmla="*/ 839314 h 2762250"/>
                <a:gd name="T92" fmla="*/ 59276 w 2887663"/>
                <a:gd name="T93" fmla="*/ 675484 h 2762250"/>
                <a:gd name="T94" fmla="*/ 32256 w 2887663"/>
                <a:gd name="T95" fmla="*/ 329155 h 2762250"/>
                <a:gd name="T96" fmla="*/ 1290906 w 2887663"/>
                <a:gd name="T97" fmla="*/ 155423 h 2762250"/>
                <a:gd name="T98" fmla="*/ 1253293 w 2887663"/>
                <a:gd name="T99" fmla="*/ 489815 h 2762250"/>
                <a:gd name="T100" fmla="*/ 1112660 w 2887663"/>
                <a:gd name="T101" fmla="*/ 568754 h 2762250"/>
                <a:gd name="T102" fmla="*/ 1105555 w 2887663"/>
                <a:gd name="T103" fmla="*/ 323142 h 2762250"/>
                <a:gd name="T104" fmla="*/ 1200843 w 2887663"/>
                <a:gd name="T105" fmla="*/ 214889 h 2762250"/>
                <a:gd name="T106" fmla="*/ 1747182 w 2887663"/>
                <a:gd name="T107" fmla="*/ 188111 h 2762250"/>
                <a:gd name="T108" fmla="*/ 1769224 w 2887663"/>
                <a:gd name="T109" fmla="*/ 298086 h 2762250"/>
                <a:gd name="T110" fmla="*/ 1613878 w 2887663"/>
                <a:gd name="T111" fmla="*/ 273578 h 2762250"/>
                <a:gd name="T112" fmla="*/ 1622904 w 2887663"/>
                <a:gd name="T113" fmla="*/ 148101 h 2762250"/>
                <a:gd name="T114" fmla="*/ 198167 w 2887663"/>
                <a:gd name="T115" fmla="*/ 155541 h 2762250"/>
                <a:gd name="T116" fmla="*/ 216304 w 2887663"/>
                <a:gd name="T117" fmla="*/ 266289 h 2762250"/>
                <a:gd name="T118" fmla="*/ 120615 w 2887663"/>
                <a:gd name="T119" fmla="*/ 174765 h 2762250"/>
                <a:gd name="T120" fmla="*/ 1223671 w 2887663"/>
                <a:gd name="T121" fmla="*/ 34092 h 2762250"/>
                <a:gd name="T122" fmla="*/ 1232241 w 2887663"/>
                <a:gd name="T123" fmla="*/ 84078 h 2762250"/>
                <a:gd name="T124" fmla="*/ 1135246 w 2887663"/>
                <a:gd name="T125" fmla="*/ 56889 h 276225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887663" h="2762250">
                  <a:moveTo>
                    <a:pt x="873134" y="2527300"/>
                  </a:moveTo>
                  <a:lnTo>
                    <a:pt x="877887" y="2538366"/>
                  </a:lnTo>
                  <a:lnTo>
                    <a:pt x="723573" y="2601913"/>
                  </a:lnTo>
                  <a:lnTo>
                    <a:pt x="719137" y="2590848"/>
                  </a:lnTo>
                  <a:lnTo>
                    <a:pt x="873134" y="2527300"/>
                  </a:lnTo>
                  <a:close/>
                  <a:moveTo>
                    <a:pt x="1277937" y="2406650"/>
                  </a:moveTo>
                  <a:lnTo>
                    <a:pt x="1369498" y="2406650"/>
                  </a:lnTo>
                  <a:lnTo>
                    <a:pt x="1373617" y="2409226"/>
                  </a:lnTo>
                  <a:lnTo>
                    <a:pt x="1384072" y="2416632"/>
                  </a:lnTo>
                  <a:lnTo>
                    <a:pt x="1390725" y="2421462"/>
                  </a:lnTo>
                  <a:lnTo>
                    <a:pt x="1398012" y="2426935"/>
                  </a:lnTo>
                  <a:lnTo>
                    <a:pt x="1404665" y="2432409"/>
                  </a:lnTo>
                  <a:lnTo>
                    <a:pt x="1411318" y="2438527"/>
                  </a:lnTo>
                  <a:lnTo>
                    <a:pt x="1417021" y="2444645"/>
                  </a:lnTo>
                  <a:lnTo>
                    <a:pt x="1419556" y="2447865"/>
                  </a:lnTo>
                  <a:lnTo>
                    <a:pt x="1421457" y="2450763"/>
                  </a:lnTo>
                  <a:lnTo>
                    <a:pt x="1423358" y="2453661"/>
                  </a:lnTo>
                  <a:lnTo>
                    <a:pt x="1424625" y="2456559"/>
                  </a:lnTo>
                  <a:lnTo>
                    <a:pt x="1425258" y="2459135"/>
                  </a:lnTo>
                  <a:lnTo>
                    <a:pt x="1425575" y="2461389"/>
                  </a:lnTo>
                  <a:lnTo>
                    <a:pt x="1425258" y="2464287"/>
                  </a:lnTo>
                  <a:lnTo>
                    <a:pt x="1423991" y="2466219"/>
                  </a:lnTo>
                  <a:lnTo>
                    <a:pt x="1422724" y="2468473"/>
                  </a:lnTo>
                  <a:lnTo>
                    <a:pt x="1419872" y="2469761"/>
                  </a:lnTo>
                  <a:lnTo>
                    <a:pt x="1417021" y="2471371"/>
                  </a:lnTo>
                  <a:lnTo>
                    <a:pt x="1412902" y="2472981"/>
                  </a:lnTo>
                  <a:lnTo>
                    <a:pt x="1408150" y="2473625"/>
                  </a:lnTo>
                  <a:lnTo>
                    <a:pt x="1402131" y="2474591"/>
                  </a:lnTo>
                  <a:lnTo>
                    <a:pt x="1394844" y="2474913"/>
                  </a:lnTo>
                  <a:lnTo>
                    <a:pt x="1387874" y="2474913"/>
                  </a:lnTo>
                  <a:lnTo>
                    <a:pt x="1380904" y="2474591"/>
                  </a:lnTo>
                  <a:lnTo>
                    <a:pt x="1374567" y="2473303"/>
                  </a:lnTo>
                  <a:lnTo>
                    <a:pt x="1368548" y="2472337"/>
                  </a:lnTo>
                  <a:lnTo>
                    <a:pt x="1362528" y="2471049"/>
                  </a:lnTo>
                  <a:lnTo>
                    <a:pt x="1357459" y="2469117"/>
                  </a:lnTo>
                  <a:lnTo>
                    <a:pt x="1351756" y="2467185"/>
                  </a:lnTo>
                  <a:lnTo>
                    <a:pt x="1347004" y="2464931"/>
                  </a:lnTo>
                  <a:lnTo>
                    <a:pt x="1341618" y="2462677"/>
                  </a:lnTo>
                  <a:lnTo>
                    <a:pt x="1332113" y="2456881"/>
                  </a:lnTo>
                  <a:lnTo>
                    <a:pt x="1323242" y="2451085"/>
                  </a:lnTo>
                  <a:lnTo>
                    <a:pt x="1314055" y="2444645"/>
                  </a:lnTo>
                  <a:lnTo>
                    <a:pt x="1310570" y="2442069"/>
                  </a:lnTo>
                  <a:lnTo>
                    <a:pt x="1307718" y="2440781"/>
                  </a:lnTo>
                  <a:lnTo>
                    <a:pt x="1306768" y="2440781"/>
                  </a:lnTo>
                  <a:lnTo>
                    <a:pt x="1305817" y="2440781"/>
                  </a:lnTo>
                  <a:lnTo>
                    <a:pt x="1305184" y="2441747"/>
                  </a:lnTo>
                  <a:lnTo>
                    <a:pt x="1304550" y="2442713"/>
                  </a:lnTo>
                  <a:lnTo>
                    <a:pt x="1304233" y="2444001"/>
                  </a:lnTo>
                  <a:lnTo>
                    <a:pt x="1303283" y="2444967"/>
                  </a:lnTo>
                  <a:lnTo>
                    <a:pt x="1302649" y="2444967"/>
                  </a:lnTo>
                  <a:lnTo>
                    <a:pt x="1302332" y="2445611"/>
                  </a:lnTo>
                  <a:lnTo>
                    <a:pt x="1291560" y="2444967"/>
                  </a:lnTo>
                  <a:lnTo>
                    <a:pt x="1286175" y="2444323"/>
                  </a:lnTo>
                  <a:lnTo>
                    <a:pt x="1283957" y="2444001"/>
                  </a:lnTo>
                  <a:lnTo>
                    <a:pt x="1282373" y="2443357"/>
                  </a:lnTo>
                  <a:lnTo>
                    <a:pt x="1280472" y="2434341"/>
                  </a:lnTo>
                  <a:lnTo>
                    <a:pt x="1279205" y="2426935"/>
                  </a:lnTo>
                  <a:lnTo>
                    <a:pt x="1278571" y="2421140"/>
                  </a:lnTo>
                  <a:lnTo>
                    <a:pt x="1278571" y="2416632"/>
                  </a:lnTo>
                  <a:lnTo>
                    <a:pt x="1278571" y="2413090"/>
                  </a:lnTo>
                  <a:lnTo>
                    <a:pt x="1278888" y="2411158"/>
                  </a:lnTo>
                  <a:lnTo>
                    <a:pt x="1279205" y="2409226"/>
                  </a:lnTo>
                  <a:lnTo>
                    <a:pt x="1277937" y="2406650"/>
                  </a:lnTo>
                  <a:close/>
                  <a:moveTo>
                    <a:pt x="1045692" y="2406650"/>
                  </a:moveTo>
                  <a:lnTo>
                    <a:pt x="1138237" y="2406650"/>
                  </a:lnTo>
                  <a:lnTo>
                    <a:pt x="1136956" y="2409226"/>
                  </a:lnTo>
                  <a:lnTo>
                    <a:pt x="1137277" y="2411158"/>
                  </a:lnTo>
                  <a:lnTo>
                    <a:pt x="1137597" y="2413090"/>
                  </a:lnTo>
                  <a:lnTo>
                    <a:pt x="1137597" y="2416632"/>
                  </a:lnTo>
                  <a:lnTo>
                    <a:pt x="1137597" y="2421140"/>
                  </a:lnTo>
                  <a:lnTo>
                    <a:pt x="1136956" y="2426935"/>
                  </a:lnTo>
                  <a:lnTo>
                    <a:pt x="1135675" y="2434341"/>
                  </a:lnTo>
                  <a:lnTo>
                    <a:pt x="1133754" y="2443357"/>
                  </a:lnTo>
                  <a:lnTo>
                    <a:pt x="1132153" y="2444001"/>
                  </a:lnTo>
                  <a:lnTo>
                    <a:pt x="1129911" y="2444323"/>
                  </a:lnTo>
                  <a:lnTo>
                    <a:pt x="1124147" y="2444967"/>
                  </a:lnTo>
                  <a:lnTo>
                    <a:pt x="1113580" y="2445611"/>
                  </a:lnTo>
                  <a:lnTo>
                    <a:pt x="1113260" y="2444967"/>
                  </a:lnTo>
                  <a:lnTo>
                    <a:pt x="1112619" y="2444967"/>
                  </a:lnTo>
                  <a:lnTo>
                    <a:pt x="1112299" y="2444001"/>
                  </a:lnTo>
                  <a:lnTo>
                    <a:pt x="1111338" y="2442713"/>
                  </a:lnTo>
                  <a:lnTo>
                    <a:pt x="1110698" y="2441747"/>
                  </a:lnTo>
                  <a:lnTo>
                    <a:pt x="1109737" y="2440781"/>
                  </a:lnTo>
                  <a:lnTo>
                    <a:pt x="1109097" y="2440781"/>
                  </a:lnTo>
                  <a:lnTo>
                    <a:pt x="1107816" y="2440781"/>
                  </a:lnTo>
                  <a:lnTo>
                    <a:pt x="1105254" y="2442069"/>
                  </a:lnTo>
                  <a:lnTo>
                    <a:pt x="1101411" y="2444645"/>
                  </a:lnTo>
                  <a:lnTo>
                    <a:pt x="1092445" y="2451085"/>
                  </a:lnTo>
                  <a:lnTo>
                    <a:pt x="1083479" y="2456881"/>
                  </a:lnTo>
                  <a:lnTo>
                    <a:pt x="1073872" y="2462677"/>
                  </a:lnTo>
                  <a:lnTo>
                    <a:pt x="1069069" y="2464931"/>
                  </a:lnTo>
                  <a:lnTo>
                    <a:pt x="1063625" y="2467185"/>
                  </a:lnTo>
                  <a:lnTo>
                    <a:pt x="1057861" y="2469117"/>
                  </a:lnTo>
                  <a:lnTo>
                    <a:pt x="1052737" y="2471049"/>
                  </a:lnTo>
                  <a:lnTo>
                    <a:pt x="1046653" y="2472337"/>
                  </a:lnTo>
                  <a:lnTo>
                    <a:pt x="1040569" y="2473303"/>
                  </a:lnTo>
                  <a:lnTo>
                    <a:pt x="1034164" y="2474591"/>
                  </a:lnTo>
                  <a:lnTo>
                    <a:pt x="1027119" y="2474913"/>
                  </a:lnTo>
                  <a:lnTo>
                    <a:pt x="1020394" y="2474913"/>
                  </a:lnTo>
                  <a:lnTo>
                    <a:pt x="1012709" y="2474591"/>
                  </a:lnTo>
                  <a:lnTo>
                    <a:pt x="1006625" y="2473625"/>
                  </a:lnTo>
                  <a:lnTo>
                    <a:pt x="1001821" y="2472981"/>
                  </a:lnTo>
                  <a:lnTo>
                    <a:pt x="997658" y="2471371"/>
                  </a:lnTo>
                  <a:lnTo>
                    <a:pt x="994456" y="2469761"/>
                  </a:lnTo>
                  <a:lnTo>
                    <a:pt x="991894" y="2468473"/>
                  </a:lnTo>
                  <a:lnTo>
                    <a:pt x="990293" y="2466219"/>
                  </a:lnTo>
                  <a:lnTo>
                    <a:pt x="989332" y="2464287"/>
                  </a:lnTo>
                  <a:lnTo>
                    <a:pt x="989012" y="2461389"/>
                  </a:lnTo>
                  <a:lnTo>
                    <a:pt x="989332" y="2459135"/>
                  </a:lnTo>
                  <a:lnTo>
                    <a:pt x="989973" y="2456559"/>
                  </a:lnTo>
                  <a:lnTo>
                    <a:pt x="991254" y="2453661"/>
                  </a:lnTo>
                  <a:lnTo>
                    <a:pt x="993175" y="2450763"/>
                  </a:lnTo>
                  <a:lnTo>
                    <a:pt x="995417" y="2447865"/>
                  </a:lnTo>
                  <a:lnTo>
                    <a:pt x="997658" y="2444645"/>
                  </a:lnTo>
                  <a:lnTo>
                    <a:pt x="1003422" y="2438527"/>
                  </a:lnTo>
                  <a:lnTo>
                    <a:pt x="1010147" y="2432409"/>
                  </a:lnTo>
                  <a:lnTo>
                    <a:pt x="1017192" y="2426935"/>
                  </a:lnTo>
                  <a:lnTo>
                    <a:pt x="1024237" y="2421462"/>
                  </a:lnTo>
                  <a:lnTo>
                    <a:pt x="1030962" y="2416632"/>
                  </a:lnTo>
                  <a:lnTo>
                    <a:pt x="1041529" y="2409226"/>
                  </a:lnTo>
                  <a:lnTo>
                    <a:pt x="1045692" y="2406650"/>
                  </a:lnTo>
                  <a:close/>
                  <a:moveTo>
                    <a:pt x="1201246" y="2330132"/>
                  </a:moveTo>
                  <a:lnTo>
                    <a:pt x="1182492" y="2330450"/>
                  </a:lnTo>
                  <a:lnTo>
                    <a:pt x="1164372" y="2331085"/>
                  </a:lnTo>
                  <a:lnTo>
                    <a:pt x="1157061" y="2331720"/>
                  </a:lnTo>
                  <a:lnTo>
                    <a:pt x="1155472" y="2331720"/>
                  </a:lnTo>
                  <a:lnTo>
                    <a:pt x="1153565" y="2344420"/>
                  </a:lnTo>
                  <a:lnTo>
                    <a:pt x="1148796" y="2388235"/>
                  </a:lnTo>
                  <a:lnTo>
                    <a:pt x="1139896" y="2388235"/>
                  </a:lnTo>
                  <a:lnTo>
                    <a:pt x="1042943" y="2389822"/>
                  </a:lnTo>
                  <a:lnTo>
                    <a:pt x="1039764" y="2347277"/>
                  </a:lnTo>
                  <a:lnTo>
                    <a:pt x="1022280" y="2352040"/>
                  </a:lnTo>
                  <a:lnTo>
                    <a:pt x="1005115" y="2356802"/>
                  </a:lnTo>
                  <a:lnTo>
                    <a:pt x="989539" y="2361565"/>
                  </a:lnTo>
                  <a:lnTo>
                    <a:pt x="974281" y="2367280"/>
                  </a:lnTo>
                  <a:lnTo>
                    <a:pt x="960930" y="2372995"/>
                  </a:lnTo>
                  <a:lnTo>
                    <a:pt x="947579" y="2379027"/>
                  </a:lnTo>
                  <a:lnTo>
                    <a:pt x="935817" y="2385377"/>
                  </a:lnTo>
                  <a:lnTo>
                    <a:pt x="925009" y="2391727"/>
                  </a:lnTo>
                  <a:lnTo>
                    <a:pt x="915791" y="2398395"/>
                  </a:lnTo>
                  <a:lnTo>
                    <a:pt x="907208" y="2405380"/>
                  </a:lnTo>
                  <a:lnTo>
                    <a:pt x="903711" y="2409190"/>
                  </a:lnTo>
                  <a:lnTo>
                    <a:pt x="900215" y="2412365"/>
                  </a:lnTo>
                  <a:lnTo>
                    <a:pt x="896718" y="2415857"/>
                  </a:lnTo>
                  <a:lnTo>
                    <a:pt x="894175" y="2419667"/>
                  </a:lnTo>
                  <a:lnTo>
                    <a:pt x="891632" y="2422842"/>
                  </a:lnTo>
                  <a:lnTo>
                    <a:pt x="889407" y="2426335"/>
                  </a:lnTo>
                  <a:lnTo>
                    <a:pt x="887500" y="2430145"/>
                  </a:lnTo>
                  <a:lnTo>
                    <a:pt x="885910" y="2433637"/>
                  </a:lnTo>
                  <a:lnTo>
                    <a:pt x="884639" y="2437130"/>
                  </a:lnTo>
                  <a:lnTo>
                    <a:pt x="884003" y="2440622"/>
                  </a:lnTo>
                  <a:lnTo>
                    <a:pt x="883367" y="2444432"/>
                  </a:lnTo>
                  <a:lnTo>
                    <a:pt x="883367" y="2447925"/>
                  </a:lnTo>
                  <a:lnTo>
                    <a:pt x="883367" y="2451100"/>
                  </a:lnTo>
                  <a:lnTo>
                    <a:pt x="883685" y="2454592"/>
                  </a:lnTo>
                  <a:lnTo>
                    <a:pt x="884639" y="2457450"/>
                  </a:lnTo>
                  <a:lnTo>
                    <a:pt x="885592" y="2460942"/>
                  </a:lnTo>
                  <a:lnTo>
                    <a:pt x="887182" y="2464435"/>
                  </a:lnTo>
                  <a:lnTo>
                    <a:pt x="888771" y="2467610"/>
                  </a:lnTo>
                  <a:lnTo>
                    <a:pt x="890678" y="2471102"/>
                  </a:lnTo>
                  <a:lnTo>
                    <a:pt x="892903" y="2473960"/>
                  </a:lnTo>
                  <a:lnTo>
                    <a:pt x="898307" y="2480945"/>
                  </a:lnTo>
                  <a:lnTo>
                    <a:pt x="904665" y="2487295"/>
                  </a:lnTo>
                  <a:lnTo>
                    <a:pt x="912294" y="2493645"/>
                  </a:lnTo>
                  <a:lnTo>
                    <a:pt x="920877" y="2499995"/>
                  </a:lnTo>
                  <a:lnTo>
                    <a:pt x="930413" y="2506027"/>
                  </a:lnTo>
                  <a:lnTo>
                    <a:pt x="940903" y="2512060"/>
                  </a:lnTo>
                  <a:lnTo>
                    <a:pt x="952665" y="2518092"/>
                  </a:lnTo>
                  <a:lnTo>
                    <a:pt x="964426" y="2523807"/>
                  </a:lnTo>
                  <a:lnTo>
                    <a:pt x="978095" y="2528888"/>
                  </a:lnTo>
                  <a:lnTo>
                    <a:pt x="992082" y="2533968"/>
                  </a:lnTo>
                  <a:lnTo>
                    <a:pt x="1006704" y="2538730"/>
                  </a:lnTo>
                  <a:lnTo>
                    <a:pt x="1022598" y="2543175"/>
                  </a:lnTo>
                  <a:lnTo>
                    <a:pt x="1041671" y="2548255"/>
                  </a:lnTo>
                  <a:lnTo>
                    <a:pt x="1062015" y="2552700"/>
                  </a:lnTo>
                  <a:lnTo>
                    <a:pt x="1083631" y="2556510"/>
                  </a:lnTo>
                  <a:lnTo>
                    <a:pt x="1105247" y="2559368"/>
                  </a:lnTo>
                  <a:lnTo>
                    <a:pt x="1128452" y="2562225"/>
                  </a:lnTo>
                  <a:lnTo>
                    <a:pt x="1151975" y="2564130"/>
                  </a:lnTo>
                  <a:lnTo>
                    <a:pt x="1176452" y="2565083"/>
                  </a:lnTo>
                  <a:lnTo>
                    <a:pt x="1201246" y="2565400"/>
                  </a:lnTo>
                  <a:lnTo>
                    <a:pt x="1222862" y="2565083"/>
                  </a:lnTo>
                  <a:lnTo>
                    <a:pt x="1243524" y="2564448"/>
                  </a:lnTo>
                  <a:lnTo>
                    <a:pt x="1264187" y="2562860"/>
                  </a:lnTo>
                  <a:lnTo>
                    <a:pt x="1283895" y="2560955"/>
                  </a:lnTo>
                  <a:lnTo>
                    <a:pt x="1303286" y="2558733"/>
                  </a:lnTo>
                  <a:lnTo>
                    <a:pt x="1321723" y="2555558"/>
                  </a:lnTo>
                  <a:lnTo>
                    <a:pt x="1339842" y="2552700"/>
                  </a:lnTo>
                  <a:lnTo>
                    <a:pt x="1357643" y="2548890"/>
                  </a:lnTo>
                  <a:lnTo>
                    <a:pt x="1374173" y="2544763"/>
                  </a:lnTo>
                  <a:lnTo>
                    <a:pt x="1390385" y="2540635"/>
                  </a:lnTo>
                  <a:lnTo>
                    <a:pt x="1405325" y="2535873"/>
                  </a:lnTo>
                  <a:lnTo>
                    <a:pt x="1419630" y="2530793"/>
                  </a:lnTo>
                  <a:lnTo>
                    <a:pt x="1431073" y="2526347"/>
                  </a:lnTo>
                  <a:lnTo>
                    <a:pt x="1441881" y="2521902"/>
                  </a:lnTo>
                  <a:lnTo>
                    <a:pt x="1452053" y="2516822"/>
                  </a:lnTo>
                  <a:lnTo>
                    <a:pt x="1461590" y="2512060"/>
                  </a:lnTo>
                  <a:lnTo>
                    <a:pt x="1470490" y="2507297"/>
                  </a:lnTo>
                  <a:lnTo>
                    <a:pt x="1478437" y="2502217"/>
                  </a:lnTo>
                  <a:lnTo>
                    <a:pt x="1486066" y="2497137"/>
                  </a:lnTo>
                  <a:lnTo>
                    <a:pt x="1492742" y="2491740"/>
                  </a:lnTo>
                  <a:lnTo>
                    <a:pt x="1499099" y="2486025"/>
                  </a:lnTo>
                  <a:lnTo>
                    <a:pt x="1504503" y="2480945"/>
                  </a:lnTo>
                  <a:lnTo>
                    <a:pt x="1508954" y="2475230"/>
                  </a:lnTo>
                  <a:lnTo>
                    <a:pt x="1512768" y="2469832"/>
                  </a:lnTo>
                  <a:lnTo>
                    <a:pt x="1515629" y="2464435"/>
                  </a:lnTo>
                  <a:lnTo>
                    <a:pt x="1517854" y="2458720"/>
                  </a:lnTo>
                  <a:lnTo>
                    <a:pt x="1519126" y="2453322"/>
                  </a:lnTo>
                  <a:lnTo>
                    <a:pt x="1519444" y="2447925"/>
                  </a:lnTo>
                  <a:lnTo>
                    <a:pt x="1519126" y="2442845"/>
                  </a:lnTo>
                  <a:lnTo>
                    <a:pt x="1518490" y="2438082"/>
                  </a:lnTo>
                  <a:lnTo>
                    <a:pt x="1516583" y="2433002"/>
                  </a:lnTo>
                  <a:lnTo>
                    <a:pt x="1514358" y="2427922"/>
                  </a:lnTo>
                  <a:lnTo>
                    <a:pt x="1511179" y="2422842"/>
                  </a:lnTo>
                  <a:lnTo>
                    <a:pt x="1507364" y="2418080"/>
                  </a:lnTo>
                  <a:lnTo>
                    <a:pt x="1503232" y="2413317"/>
                  </a:lnTo>
                  <a:lnTo>
                    <a:pt x="1498464" y="2408237"/>
                  </a:lnTo>
                  <a:lnTo>
                    <a:pt x="1493060" y="2403475"/>
                  </a:lnTo>
                  <a:lnTo>
                    <a:pt x="1487020" y="2399030"/>
                  </a:lnTo>
                  <a:lnTo>
                    <a:pt x="1480662" y="2393950"/>
                  </a:lnTo>
                  <a:lnTo>
                    <a:pt x="1473669" y="2389505"/>
                  </a:lnTo>
                  <a:lnTo>
                    <a:pt x="1465722" y="2385060"/>
                  </a:lnTo>
                  <a:lnTo>
                    <a:pt x="1457775" y="2380615"/>
                  </a:lnTo>
                  <a:lnTo>
                    <a:pt x="1448557" y="2376487"/>
                  </a:lnTo>
                  <a:lnTo>
                    <a:pt x="1439656" y="2372360"/>
                  </a:lnTo>
                  <a:lnTo>
                    <a:pt x="1424716" y="2365692"/>
                  </a:lnTo>
                  <a:lnTo>
                    <a:pt x="1408504" y="2360295"/>
                  </a:lnTo>
                  <a:lnTo>
                    <a:pt x="1391020" y="2354897"/>
                  </a:lnTo>
                  <a:lnTo>
                    <a:pt x="1372583" y="2350135"/>
                  </a:lnTo>
                  <a:lnTo>
                    <a:pt x="1369722" y="2389822"/>
                  </a:lnTo>
                  <a:lnTo>
                    <a:pt x="1268319" y="2389822"/>
                  </a:lnTo>
                  <a:lnTo>
                    <a:pt x="1260690" y="2332355"/>
                  </a:lnTo>
                  <a:lnTo>
                    <a:pt x="1246385" y="2331720"/>
                  </a:lnTo>
                  <a:lnTo>
                    <a:pt x="1231763" y="2330767"/>
                  </a:lnTo>
                  <a:lnTo>
                    <a:pt x="1216823" y="2330450"/>
                  </a:lnTo>
                  <a:lnTo>
                    <a:pt x="1201246" y="2330132"/>
                  </a:lnTo>
                  <a:close/>
                  <a:moveTo>
                    <a:pt x="1861529" y="2074863"/>
                  </a:moveTo>
                  <a:lnTo>
                    <a:pt x="1868488" y="2085078"/>
                  </a:lnTo>
                  <a:lnTo>
                    <a:pt x="1702093" y="2192338"/>
                  </a:lnTo>
                  <a:lnTo>
                    <a:pt x="1695450" y="2181803"/>
                  </a:lnTo>
                  <a:lnTo>
                    <a:pt x="1861529" y="2074863"/>
                  </a:lnTo>
                  <a:close/>
                  <a:moveTo>
                    <a:pt x="1219048" y="2005330"/>
                  </a:moveTo>
                  <a:lnTo>
                    <a:pt x="1186942" y="2065337"/>
                  </a:lnTo>
                  <a:lnTo>
                    <a:pt x="1161512" y="2280602"/>
                  </a:lnTo>
                  <a:lnTo>
                    <a:pt x="1180902" y="2279650"/>
                  </a:lnTo>
                  <a:lnTo>
                    <a:pt x="1201246" y="2279332"/>
                  </a:lnTo>
                  <a:lnTo>
                    <a:pt x="1214915" y="2279650"/>
                  </a:lnTo>
                  <a:lnTo>
                    <a:pt x="1227948" y="2279967"/>
                  </a:lnTo>
                  <a:lnTo>
                    <a:pt x="1254332" y="2281237"/>
                  </a:lnTo>
                  <a:lnTo>
                    <a:pt x="1219048" y="2005330"/>
                  </a:lnTo>
                  <a:close/>
                  <a:moveTo>
                    <a:pt x="1196160" y="1991360"/>
                  </a:moveTo>
                  <a:lnTo>
                    <a:pt x="1191074" y="2032000"/>
                  </a:lnTo>
                  <a:lnTo>
                    <a:pt x="1212690" y="1991360"/>
                  </a:lnTo>
                  <a:lnTo>
                    <a:pt x="1208876" y="1991677"/>
                  </a:lnTo>
                  <a:lnTo>
                    <a:pt x="1204743" y="1991995"/>
                  </a:lnTo>
                  <a:lnTo>
                    <a:pt x="1200293" y="1991677"/>
                  </a:lnTo>
                  <a:lnTo>
                    <a:pt x="1196160" y="1991360"/>
                  </a:lnTo>
                  <a:close/>
                  <a:moveTo>
                    <a:pt x="751423" y="1981200"/>
                  </a:moveTo>
                  <a:lnTo>
                    <a:pt x="838200" y="2111073"/>
                  </a:lnTo>
                  <a:lnTo>
                    <a:pt x="828139" y="2117725"/>
                  </a:lnTo>
                  <a:lnTo>
                    <a:pt x="741362" y="1987852"/>
                  </a:lnTo>
                  <a:lnTo>
                    <a:pt x="751423" y="1981200"/>
                  </a:lnTo>
                  <a:close/>
                  <a:moveTo>
                    <a:pt x="2195208" y="1862138"/>
                  </a:moveTo>
                  <a:lnTo>
                    <a:pt x="2201863" y="1872672"/>
                  </a:lnTo>
                  <a:lnTo>
                    <a:pt x="2035164" y="1979613"/>
                  </a:lnTo>
                  <a:lnTo>
                    <a:pt x="2028825" y="1969398"/>
                  </a:lnTo>
                  <a:lnTo>
                    <a:pt x="2195208" y="1862138"/>
                  </a:lnTo>
                  <a:close/>
                  <a:moveTo>
                    <a:pt x="857250" y="1828800"/>
                  </a:moveTo>
                  <a:lnTo>
                    <a:pt x="932616" y="1842554"/>
                  </a:lnTo>
                  <a:lnTo>
                    <a:pt x="934861" y="1843179"/>
                  </a:lnTo>
                  <a:lnTo>
                    <a:pt x="937106" y="1844430"/>
                  </a:lnTo>
                  <a:lnTo>
                    <a:pt x="939351" y="1846305"/>
                  </a:lnTo>
                  <a:lnTo>
                    <a:pt x="940955" y="1848806"/>
                  </a:lnTo>
                  <a:lnTo>
                    <a:pt x="942879" y="1851307"/>
                  </a:lnTo>
                  <a:lnTo>
                    <a:pt x="944162" y="1854745"/>
                  </a:lnTo>
                  <a:lnTo>
                    <a:pt x="945445" y="1858497"/>
                  </a:lnTo>
                  <a:lnTo>
                    <a:pt x="946407" y="1862560"/>
                  </a:lnTo>
                  <a:lnTo>
                    <a:pt x="948972" y="1871313"/>
                  </a:lnTo>
                  <a:lnTo>
                    <a:pt x="950255" y="1880691"/>
                  </a:lnTo>
                  <a:lnTo>
                    <a:pt x="952500" y="1899134"/>
                  </a:lnTo>
                  <a:lnTo>
                    <a:pt x="952500" y="1902886"/>
                  </a:lnTo>
                  <a:lnTo>
                    <a:pt x="952180" y="1905386"/>
                  </a:lnTo>
                  <a:lnTo>
                    <a:pt x="951859" y="1906949"/>
                  </a:lnTo>
                  <a:lnTo>
                    <a:pt x="951217" y="1907262"/>
                  </a:lnTo>
                  <a:lnTo>
                    <a:pt x="950576" y="1907262"/>
                  </a:lnTo>
                  <a:lnTo>
                    <a:pt x="949293" y="1907262"/>
                  </a:lnTo>
                  <a:lnTo>
                    <a:pt x="947690" y="1906324"/>
                  </a:lnTo>
                  <a:lnTo>
                    <a:pt x="945765" y="1904761"/>
                  </a:lnTo>
                  <a:lnTo>
                    <a:pt x="943841" y="1902886"/>
                  </a:lnTo>
                  <a:lnTo>
                    <a:pt x="939993" y="1897571"/>
                  </a:lnTo>
                  <a:lnTo>
                    <a:pt x="937106" y="1892257"/>
                  </a:lnTo>
                  <a:lnTo>
                    <a:pt x="935503" y="1889131"/>
                  </a:lnTo>
                  <a:lnTo>
                    <a:pt x="934541" y="1886318"/>
                  </a:lnTo>
                  <a:lnTo>
                    <a:pt x="933899" y="1883504"/>
                  </a:lnTo>
                  <a:lnTo>
                    <a:pt x="933579" y="1881316"/>
                  </a:lnTo>
                  <a:lnTo>
                    <a:pt x="933579" y="1879441"/>
                  </a:lnTo>
                  <a:lnTo>
                    <a:pt x="933258" y="1878190"/>
                  </a:lnTo>
                  <a:lnTo>
                    <a:pt x="932937" y="1876627"/>
                  </a:lnTo>
                  <a:lnTo>
                    <a:pt x="931975" y="1875064"/>
                  </a:lnTo>
                  <a:lnTo>
                    <a:pt x="931334" y="1874439"/>
                  </a:lnTo>
                  <a:lnTo>
                    <a:pt x="930692" y="1873501"/>
                  </a:lnTo>
                  <a:lnTo>
                    <a:pt x="929409" y="1873189"/>
                  </a:lnTo>
                  <a:lnTo>
                    <a:pt x="928768" y="1873189"/>
                  </a:lnTo>
                  <a:lnTo>
                    <a:pt x="927485" y="1873501"/>
                  </a:lnTo>
                  <a:lnTo>
                    <a:pt x="926844" y="1874439"/>
                  </a:lnTo>
                  <a:lnTo>
                    <a:pt x="925882" y="1875064"/>
                  </a:lnTo>
                  <a:lnTo>
                    <a:pt x="925240" y="1876627"/>
                  </a:lnTo>
                  <a:lnTo>
                    <a:pt x="924599" y="1878190"/>
                  </a:lnTo>
                  <a:lnTo>
                    <a:pt x="924278" y="1880378"/>
                  </a:lnTo>
                  <a:lnTo>
                    <a:pt x="923637" y="1882879"/>
                  </a:lnTo>
                  <a:lnTo>
                    <a:pt x="923316" y="1885380"/>
                  </a:lnTo>
                  <a:lnTo>
                    <a:pt x="923316" y="1891319"/>
                  </a:lnTo>
                  <a:lnTo>
                    <a:pt x="922354" y="1896321"/>
                  </a:lnTo>
                  <a:lnTo>
                    <a:pt x="921392" y="1898822"/>
                  </a:lnTo>
                  <a:lnTo>
                    <a:pt x="920430" y="1900697"/>
                  </a:lnTo>
                  <a:lnTo>
                    <a:pt x="919147" y="1902573"/>
                  </a:lnTo>
                  <a:lnTo>
                    <a:pt x="917543" y="1904449"/>
                  </a:lnTo>
                  <a:lnTo>
                    <a:pt x="916260" y="1905699"/>
                  </a:lnTo>
                  <a:lnTo>
                    <a:pt x="914336" y="1906949"/>
                  </a:lnTo>
                  <a:lnTo>
                    <a:pt x="912091" y="1908200"/>
                  </a:lnTo>
                  <a:lnTo>
                    <a:pt x="909846" y="1909138"/>
                  </a:lnTo>
                  <a:lnTo>
                    <a:pt x="906960" y="1909450"/>
                  </a:lnTo>
                  <a:lnTo>
                    <a:pt x="904073" y="1909763"/>
                  </a:lnTo>
                  <a:lnTo>
                    <a:pt x="900546" y="1909763"/>
                  </a:lnTo>
                  <a:lnTo>
                    <a:pt x="897018" y="1909763"/>
                  </a:lnTo>
                  <a:lnTo>
                    <a:pt x="894132" y="1909450"/>
                  </a:lnTo>
                  <a:lnTo>
                    <a:pt x="891245" y="1908512"/>
                  </a:lnTo>
                  <a:lnTo>
                    <a:pt x="888359" y="1907262"/>
                  </a:lnTo>
                  <a:lnTo>
                    <a:pt x="885793" y="1905386"/>
                  </a:lnTo>
                  <a:lnTo>
                    <a:pt x="883548" y="1903511"/>
                  </a:lnTo>
                  <a:lnTo>
                    <a:pt x="881303" y="1901323"/>
                  </a:lnTo>
                  <a:lnTo>
                    <a:pt x="879058" y="1898822"/>
                  </a:lnTo>
                  <a:lnTo>
                    <a:pt x="877134" y="1896321"/>
                  </a:lnTo>
                  <a:lnTo>
                    <a:pt x="873286" y="1889756"/>
                  </a:lnTo>
                  <a:lnTo>
                    <a:pt x="870079" y="1882879"/>
                  </a:lnTo>
                  <a:lnTo>
                    <a:pt x="867192" y="1875690"/>
                  </a:lnTo>
                  <a:lnTo>
                    <a:pt x="864947" y="1868500"/>
                  </a:lnTo>
                  <a:lnTo>
                    <a:pt x="863023" y="1860997"/>
                  </a:lnTo>
                  <a:lnTo>
                    <a:pt x="861099" y="1853495"/>
                  </a:lnTo>
                  <a:lnTo>
                    <a:pt x="858854" y="1840991"/>
                  </a:lnTo>
                  <a:lnTo>
                    <a:pt x="857571" y="1832238"/>
                  </a:lnTo>
                  <a:lnTo>
                    <a:pt x="857250" y="1828800"/>
                  </a:lnTo>
                  <a:close/>
                  <a:moveTo>
                    <a:pt x="1562100" y="1827213"/>
                  </a:moveTo>
                  <a:lnTo>
                    <a:pt x="1561780" y="1830705"/>
                  </a:lnTo>
                  <a:lnTo>
                    <a:pt x="1560497" y="1839595"/>
                  </a:lnTo>
                  <a:lnTo>
                    <a:pt x="1557931" y="1852613"/>
                  </a:lnTo>
                  <a:lnTo>
                    <a:pt x="1556328" y="1859915"/>
                  </a:lnTo>
                  <a:lnTo>
                    <a:pt x="1554403" y="1867535"/>
                  </a:lnTo>
                  <a:lnTo>
                    <a:pt x="1552158" y="1875155"/>
                  </a:lnTo>
                  <a:lnTo>
                    <a:pt x="1549272" y="1882140"/>
                  </a:lnTo>
                  <a:lnTo>
                    <a:pt x="1546065" y="1889443"/>
                  </a:lnTo>
                  <a:lnTo>
                    <a:pt x="1542537" y="1895475"/>
                  </a:lnTo>
                  <a:lnTo>
                    <a:pt x="1540613" y="1898333"/>
                  </a:lnTo>
                  <a:lnTo>
                    <a:pt x="1538047" y="1900873"/>
                  </a:lnTo>
                  <a:lnTo>
                    <a:pt x="1535802" y="1903413"/>
                  </a:lnTo>
                  <a:lnTo>
                    <a:pt x="1533237" y="1905000"/>
                  </a:lnTo>
                  <a:lnTo>
                    <a:pt x="1530992" y="1906905"/>
                  </a:lnTo>
                  <a:lnTo>
                    <a:pt x="1528426" y="1908175"/>
                  </a:lnTo>
                  <a:lnTo>
                    <a:pt x="1525219" y="1908810"/>
                  </a:lnTo>
                  <a:lnTo>
                    <a:pt x="1522333" y="1909763"/>
                  </a:lnTo>
                  <a:lnTo>
                    <a:pt x="1518805" y="1909763"/>
                  </a:lnTo>
                  <a:lnTo>
                    <a:pt x="1515277" y="1909763"/>
                  </a:lnTo>
                  <a:lnTo>
                    <a:pt x="1512391" y="1909445"/>
                  </a:lnTo>
                  <a:lnTo>
                    <a:pt x="1509825" y="1908493"/>
                  </a:lnTo>
                  <a:lnTo>
                    <a:pt x="1506939" y="1907858"/>
                  </a:lnTo>
                  <a:lnTo>
                    <a:pt x="1505014" y="1906588"/>
                  </a:lnTo>
                  <a:lnTo>
                    <a:pt x="1503411" y="1905635"/>
                  </a:lnTo>
                  <a:lnTo>
                    <a:pt x="1501487" y="1904048"/>
                  </a:lnTo>
                  <a:lnTo>
                    <a:pt x="1500204" y="1902143"/>
                  </a:lnTo>
                  <a:lnTo>
                    <a:pt x="1498600" y="1900238"/>
                  </a:lnTo>
                  <a:lnTo>
                    <a:pt x="1497959" y="1898333"/>
                  </a:lnTo>
                  <a:lnTo>
                    <a:pt x="1497317" y="1895793"/>
                  </a:lnTo>
                  <a:lnTo>
                    <a:pt x="1496035" y="1890713"/>
                  </a:lnTo>
                  <a:lnTo>
                    <a:pt x="1495714" y="1884998"/>
                  </a:lnTo>
                  <a:lnTo>
                    <a:pt x="1495714" y="1881823"/>
                  </a:lnTo>
                  <a:lnTo>
                    <a:pt x="1495393" y="1879600"/>
                  </a:lnTo>
                  <a:lnTo>
                    <a:pt x="1494752" y="1877378"/>
                  </a:lnTo>
                  <a:lnTo>
                    <a:pt x="1494110" y="1875790"/>
                  </a:lnTo>
                  <a:lnTo>
                    <a:pt x="1493469" y="1874203"/>
                  </a:lnTo>
                  <a:lnTo>
                    <a:pt x="1492507" y="1873568"/>
                  </a:lnTo>
                  <a:lnTo>
                    <a:pt x="1491865" y="1872933"/>
                  </a:lnTo>
                  <a:lnTo>
                    <a:pt x="1490583" y="1872298"/>
                  </a:lnTo>
                  <a:lnTo>
                    <a:pt x="1489941" y="1872298"/>
                  </a:lnTo>
                  <a:lnTo>
                    <a:pt x="1488979" y="1872933"/>
                  </a:lnTo>
                  <a:lnTo>
                    <a:pt x="1488017" y="1873568"/>
                  </a:lnTo>
                  <a:lnTo>
                    <a:pt x="1487376" y="1874203"/>
                  </a:lnTo>
                  <a:lnTo>
                    <a:pt x="1486413" y="1875790"/>
                  </a:lnTo>
                  <a:lnTo>
                    <a:pt x="1486093" y="1877060"/>
                  </a:lnTo>
                  <a:lnTo>
                    <a:pt x="1485772" y="1878965"/>
                  </a:lnTo>
                  <a:lnTo>
                    <a:pt x="1485772" y="1880870"/>
                  </a:lnTo>
                  <a:lnTo>
                    <a:pt x="1485451" y="1883093"/>
                  </a:lnTo>
                  <a:lnTo>
                    <a:pt x="1485131" y="1885633"/>
                  </a:lnTo>
                  <a:lnTo>
                    <a:pt x="1483848" y="1888490"/>
                  </a:lnTo>
                  <a:lnTo>
                    <a:pt x="1482244" y="1891665"/>
                  </a:lnTo>
                  <a:lnTo>
                    <a:pt x="1479358" y="1897380"/>
                  </a:lnTo>
                  <a:lnTo>
                    <a:pt x="1475509" y="1902460"/>
                  </a:lnTo>
                  <a:lnTo>
                    <a:pt x="1473585" y="1904365"/>
                  </a:lnTo>
                  <a:lnTo>
                    <a:pt x="1471661" y="1905953"/>
                  </a:lnTo>
                  <a:lnTo>
                    <a:pt x="1470378" y="1906905"/>
                  </a:lnTo>
                  <a:lnTo>
                    <a:pt x="1468774" y="1906905"/>
                  </a:lnTo>
                  <a:lnTo>
                    <a:pt x="1468454" y="1906905"/>
                  </a:lnTo>
                  <a:lnTo>
                    <a:pt x="1467492" y="1906588"/>
                  </a:lnTo>
                  <a:lnTo>
                    <a:pt x="1466850" y="1904683"/>
                  </a:lnTo>
                  <a:lnTo>
                    <a:pt x="1466850" y="1902143"/>
                  </a:lnTo>
                  <a:lnTo>
                    <a:pt x="1466850" y="1898650"/>
                  </a:lnTo>
                  <a:lnTo>
                    <a:pt x="1469095" y="1879918"/>
                  </a:lnTo>
                  <a:lnTo>
                    <a:pt x="1470699" y="1870710"/>
                  </a:lnTo>
                  <a:lnTo>
                    <a:pt x="1472944" y="1861503"/>
                  </a:lnTo>
                  <a:lnTo>
                    <a:pt x="1473906" y="1857375"/>
                  </a:lnTo>
                  <a:lnTo>
                    <a:pt x="1475189" y="1853565"/>
                  </a:lnTo>
                  <a:lnTo>
                    <a:pt x="1476792" y="1850390"/>
                  </a:lnTo>
                  <a:lnTo>
                    <a:pt x="1478716" y="1847215"/>
                  </a:lnTo>
                  <a:lnTo>
                    <a:pt x="1479999" y="1844993"/>
                  </a:lnTo>
                  <a:lnTo>
                    <a:pt x="1482244" y="1843088"/>
                  </a:lnTo>
                  <a:lnTo>
                    <a:pt x="1484810" y="1841500"/>
                  </a:lnTo>
                  <a:lnTo>
                    <a:pt x="1487055" y="1841183"/>
                  </a:lnTo>
                  <a:lnTo>
                    <a:pt x="1562100" y="1827213"/>
                  </a:lnTo>
                  <a:close/>
                  <a:moveTo>
                    <a:pt x="575376" y="1720850"/>
                  </a:moveTo>
                  <a:lnTo>
                    <a:pt x="663575" y="1850406"/>
                  </a:lnTo>
                  <a:lnTo>
                    <a:pt x="653349" y="1857375"/>
                  </a:lnTo>
                  <a:lnTo>
                    <a:pt x="565150" y="1727502"/>
                  </a:lnTo>
                  <a:lnTo>
                    <a:pt x="575376" y="1720850"/>
                  </a:lnTo>
                  <a:close/>
                  <a:moveTo>
                    <a:pt x="2438400" y="1706563"/>
                  </a:moveTo>
                  <a:lnTo>
                    <a:pt x="2444750" y="1717208"/>
                  </a:lnTo>
                  <a:lnTo>
                    <a:pt x="2368550" y="1766888"/>
                  </a:lnTo>
                  <a:lnTo>
                    <a:pt x="2362200" y="1756242"/>
                  </a:lnTo>
                  <a:lnTo>
                    <a:pt x="2438400" y="1706563"/>
                  </a:lnTo>
                  <a:close/>
                  <a:moveTo>
                    <a:pt x="2439910" y="1539875"/>
                  </a:moveTo>
                  <a:lnTo>
                    <a:pt x="2513012" y="1539875"/>
                  </a:lnTo>
                  <a:lnTo>
                    <a:pt x="2511735" y="1542137"/>
                  </a:lnTo>
                  <a:lnTo>
                    <a:pt x="2512374" y="1543430"/>
                  </a:lnTo>
                  <a:lnTo>
                    <a:pt x="2512693" y="1547632"/>
                  </a:lnTo>
                  <a:lnTo>
                    <a:pt x="2512693" y="1551510"/>
                  </a:lnTo>
                  <a:lnTo>
                    <a:pt x="2512374" y="1556035"/>
                  </a:lnTo>
                  <a:lnTo>
                    <a:pt x="2511097" y="1561853"/>
                  </a:lnTo>
                  <a:lnTo>
                    <a:pt x="2509501" y="1568963"/>
                  </a:lnTo>
                  <a:lnTo>
                    <a:pt x="2508543" y="1569286"/>
                  </a:lnTo>
                  <a:lnTo>
                    <a:pt x="2506628" y="1569933"/>
                  </a:lnTo>
                  <a:lnTo>
                    <a:pt x="2502478" y="1570256"/>
                  </a:lnTo>
                  <a:lnTo>
                    <a:pt x="2493859" y="1570579"/>
                  </a:lnTo>
                  <a:lnTo>
                    <a:pt x="2492901" y="1570256"/>
                  </a:lnTo>
                  <a:lnTo>
                    <a:pt x="2492582" y="1569286"/>
                  </a:lnTo>
                  <a:lnTo>
                    <a:pt x="2491305" y="1567347"/>
                  </a:lnTo>
                  <a:lnTo>
                    <a:pt x="2490666" y="1567024"/>
                  </a:lnTo>
                  <a:lnTo>
                    <a:pt x="2489070" y="1567024"/>
                  </a:lnTo>
                  <a:lnTo>
                    <a:pt x="2487155" y="1567994"/>
                  </a:lnTo>
                  <a:lnTo>
                    <a:pt x="2484282" y="1569933"/>
                  </a:lnTo>
                  <a:lnTo>
                    <a:pt x="2476940" y="1575104"/>
                  </a:lnTo>
                  <a:lnTo>
                    <a:pt x="2469917" y="1579629"/>
                  </a:lnTo>
                  <a:lnTo>
                    <a:pt x="2462255" y="1584477"/>
                  </a:lnTo>
                  <a:lnTo>
                    <a:pt x="2454275" y="1587709"/>
                  </a:lnTo>
                  <a:lnTo>
                    <a:pt x="2449806" y="1589325"/>
                  </a:lnTo>
                  <a:lnTo>
                    <a:pt x="2445336" y="1590941"/>
                  </a:lnTo>
                  <a:lnTo>
                    <a:pt x="2440867" y="1591911"/>
                  </a:lnTo>
                  <a:lnTo>
                    <a:pt x="2435760" y="1592880"/>
                  </a:lnTo>
                  <a:lnTo>
                    <a:pt x="2430971" y="1593527"/>
                  </a:lnTo>
                  <a:lnTo>
                    <a:pt x="2425544" y="1593850"/>
                  </a:lnTo>
                  <a:lnTo>
                    <a:pt x="2420118" y="1593850"/>
                  </a:lnTo>
                  <a:lnTo>
                    <a:pt x="2414372" y="1593527"/>
                  </a:lnTo>
                  <a:lnTo>
                    <a:pt x="2409264" y="1593203"/>
                  </a:lnTo>
                  <a:lnTo>
                    <a:pt x="2405752" y="1592234"/>
                  </a:lnTo>
                  <a:lnTo>
                    <a:pt x="2402241" y="1591264"/>
                  </a:lnTo>
                  <a:lnTo>
                    <a:pt x="2399687" y="1589971"/>
                  </a:lnTo>
                  <a:lnTo>
                    <a:pt x="2397772" y="1589002"/>
                  </a:lnTo>
                  <a:lnTo>
                    <a:pt x="2396495" y="1587063"/>
                  </a:lnTo>
                  <a:lnTo>
                    <a:pt x="2395856" y="1585447"/>
                  </a:lnTo>
                  <a:lnTo>
                    <a:pt x="2395537" y="1583507"/>
                  </a:lnTo>
                  <a:lnTo>
                    <a:pt x="2395537" y="1581568"/>
                  </a:lnTo>
                  <a:lnTo>
                    <a:pt x="2396176" y="1579306"/>
                  </a:lnTo>
                  <a:lnTo>
                    <a:pt x="2397453" y="1577043"/>
                  </a:lnTo>
                  <a:lnTo>
                    <a:pt x="2398410" y="1574781"/>
                  </a:lnTo>
                  <a:lnTo>
                    <a:pt x="2402241" y="1570256"/>
                  </a:lnTo>
                  <a:lnTo>
                    <a:pt x="2406710" y="1565085"/>
                  </a:lnTo>
                  <a:lnTo>
                    <a:pt x="2412137" y="1560237"/>
                  </a:lnTo>
                  <a:lnTo>
                    <a:pt x="2417564" y="1555712"/>
                  </a:lnTo>
                  <a:lnTo>
                    <a:pt x="2428417" y="1547632"/>
                  </a:lnTo>
                  <a:lnTo>
                    <a:pt x="2436717" y="1541814"/>
                  </a:lnTo>
                  <a:lnTo>
                    <a:pt x="2439910" y="1539875"/>
                  </a:lnTo>
                  <a:close/>
                  <a:moveTo>
                    <a:pt x="2579046" y="1497966"/>
                  </a:moveTo>
                  <a:lnTo>
                    <a:pt x="2564773" y="1498283"/>
                  </a:lnTo>
                  <a:lnTo>
                    <a:pt x="2550817" y="1498918"/>
                  </a:lnTo>
                  <a:lnTo>
                    <a:pt x="2537179" y="1499553"/>
                  </a:lnTo>
                  <a:lnTo>
                    <a:pt x="2524174" y="1500823"/>
                  </a:lnTo>
                  <a:lnTo>
                    <a:pt x="2521002" y="1525271"/>
                  </a:lnTo>
                  <a:lnTo>
                    <a:pt x="2437584" y="1526223"/>
                  </a:lnTo>
                  <a:lnTo>
                    <a:pt x="2436950" y="1515746"/>
                  </a:lnTo>
                  <a:lnTo>
                    <a:pt x="2424579" y="1519556"/>
                  </a:lnTo>
                  <a:lnTo>
                    <a:pt x="2412527" y="1523366"/>
                  </a:lnTo>
                  <a:lnTo>
                    <a:pt x="2401108" y="1527493"/>
                  </a:lnTo>
                  <a:lnTo>
                    <a:pt x="2390324" y="1531938"/>
                  </a:lnTo>
                  <a:lnTo>
                    <a:pt x="2380491" y="1536383"/>
                  </a:lnTo>
                  <a:lnTo>
                    <a:pt x="2371610" y="1541146"/>
                  </a:lnTo>
                  <a:lnTo>
                    <a:pt x="2363046" y="1546226"/>
                  </a:lnTo>
                  <a:lnTo>
                    <a:pt x="2355434" y="1551306"/>
                  </a:lnTo>
                  <a:lnTo>
                    <a:pt x="2348773" y="1556703"/>
                  </a:lnTo>
                  <a:lnTo>
                    <a:pt x="2342747" y="1562101"/>
                  </a:lnTo>
                  <a:lnTo>
                    <a:pt x="2337672" y="1567181"/>
                  </a:lnTo>
                  <a:lnTo>
                    <a:pt x="2333549" y="1572896"/>
                  </a:lnTo>
                  <a:lnTo>
                    <a:pt x="2330377" y="1578293"/>
                  </a:lnTo>
                  <a:lnTo>
                    <a:pt x="2327522" y="1583691"/>
                  </a:lnTo>
                  <a:lnTo>
                    <a:pt x="2326888" y="1586548"/>
                  </a:lnTo>
                  <a:lnTo>
                    <a:pt x="2326253" y="1589406"/>
                  </a:lnTo>
                  <a:lnTo>
                    <a:pt x="2325619" y="1591946"/>
                  </a:lnTo>
                  <a:lnTo>
                    <a:pt x="2325619" y="1594803"/>
                  </a:lnTo>
                  <a:lnTo>
                    <a:pt x="2326253" y="1599248"/>
                  </a:lnTo>
                  <a:lnTo>
                    <a:pt x="2326888" y="1603376"/>
                  </a:lnTo>
                  <a:lnTo>
                    <a:pt x="2328474" y="1607821"/>
                  </a:lnTo>
                  <a:lnTo>
                    <a:pt x="2330694" y="1611948"/>
                  </a:lnTo>
                  <a:lnTo>
                    <a:pt x="2333231" y="1616393"/>
                  </a:lnTo>
                  <a:lnTo>
                    <a:pt x="2336403" y="1620521"/>
                  </a:lnTo>
                  <a:lnTo>
                    <a:pt x="2339892" y="1625283"/>
                  </a:lnTo>
                  <a:lnTo>
                    <a:pt x="2344650" y="1629411"/>
                  </a:lnTo>
                  <a:lnTo>
                    <a:pt x="2349090" y="1633538"/>
                  </a:lnTo>
                  <a:lnTo>
                    <a:pt x="2354165" y="1637666"/>
                  </a:lnTo>
                  <a:lnTo>
                    <a:pt x="2360192" y="1641793"/>
                  </a:lnTo>
                  <a:lnTo>
                    <a:pt x="2366535" y="1645603"/>
                  </a:lnTo>
                  <a:lnTo>
                    <a:pt x="2373513" y="1649096"/>
                  </a:lnTo>
                  <a:lnTo>
                    <a:pt x="2380491" y="1652906"/>
                  </a:lnTo>
                  <a:lnTo>
                    <a:pt x="2388104" y="1656716"/>
                  </a:lnTo>
                  <a:lnTo>
                    <a:pt x="2396350" y="1660208"/>
                  </a:lnTo>
                  <a:lnTo>
                    <a:pt x="2404914" y="1663383"/>
                  </a:lnTo>
                  <a:lnTo>
                    <a:pt x="2414112" y="1666876"/>
                  </a:lnTo>
                  <a:lnTo>
                    <a:pt x="2423311" y="1670051"/>
                  </a:lnTo>
                  <a:lnTo>
                    <a:pt x="2433143" y="1672908"/>
                  </a:lnTo>
                  <a:lnTo>
                    <a:pt x="2443293" y="1675448"/>
                  </a:lnTo>
                  <a:lnTo>
                    <a:pt x="2454077" y="1678306"/>
                  </a:lnTo>
                  <a:lnTo>
                    <a:pt x="2465179" y="1680846"/>
                  </a:lnTo>
                  <a:lnTo>
                    <a:pt x="2476280" y="1682751"/>
                  </a:lnTo>
                  <a:lnTo>
                    <a:pt x="2488016" y="1684973"/>
                  </a:lnTo>
                  <a:lnTo>
                    <a:pt x="2500068" y="1686561"/>
                  </a:lnTo>
                  <a:lnTo>
                    <a:pt x="2512439" y="1687831"/>
                  </a:lnTo>
                  <a:lnTo>
                    <a:pt x="2525126" y="1689101"/>
                  </a:lnTo>
                  <a:lnTo>
                    <a:pt x="2537813" y="1690053"/>
                  </a:lnTo>
                  <a:lnTo>
                    <a:pt x="2551452" y="1691006"/>
                  </a:lnTo>
                  <a:lnTo>
                    <a:pt x="2565090" y="1691323"/>
                  </a:lnTo>
                  <a:lnTo>
                    <a:pt x="2579046" y="1691323"/>
                  </a:lnTo>
                  <a:lnTo>
                    <a:pt x="2592685" y="1691323"/>
                  </a:lnTo>
                  <a:lnTo>
                    <a:pt x="2606324" y="1691006"/>
                  </a:lnTo>
                  <a:lnTo>
                    <a:pt x="2619328" y="1690053"/>
                  </a:lnTo>
                  <a:lnTo>
                    <a:pt x="2632650" y="1689101"/>
                  </a:lnTo>
                  <a:lnTo>
                    <a:pt x="2645337" y="1687831"/>
                  </a:lnTo>
                  <a:lnTo>
                    <a:pt x="2657390" y="1686561"/>
                  </a:lnTo>
                  <a:lnTo>
                    <a:pt x="2669443" y="1684973"/>
                  </a:lnTo>
                  <a:lnTo>
                    <a:pt x="2681496" y="1682751"/>
                  </a:lnTo>
                  <a:lnTo>
                    <a:pt x="2692597" y="1680846"/>
                  </a:lnTo>
                  <a:lnTo>
                    <a:pt x="2703698" y="1678306"/>
                  </a:lnTo>
                  <a:lnTo>
                    <a:pt x="2714165" y="1675448"/>
                  </a:lnTo>
                  <a:lnTo>
                    <a:pt x="2724315" y="1672908"/>
                  </a:lnTo>
                  <a:lnTo>
                    <a:pt x="2734465" y="1670051"/>
                  </a:lnTo>
                  <a:lnTo>
                    <a:pt x="2743663" y="1666876"/>
                  </a:lnTo>
                  <a:lnTo>
                    <a:pt x="2752861" y="1663383"/>
                  </a:lnTo>
                  <a:lnTo>
                    <a:pt x="2761425" y="1660208"/>
                  </a:lnTo>
                  <a:lnTo>
                    <a:pt x="2769355" y="1656716"/>
                  </a:lnTo>
                  <a:lnTo>
                    <a:pt x="2777284" y="1652906"/>
                  </a:lnTo>
                  <a:lnTo>
                    <a:pt x="2784262" y="1649096"/>
                  </a:lnTo>
                  <a:lnTo>
                    <a:pt x="2791240" y="1645603"/>
                  </a:lnTo>
                  <a:lnTo>
                    <a:pt x="2797584" y="1641793"/>
                  </a:lnTo>
                  <a:lnTo>
                    <a:pt x="2803293" y="1637666"/>
                  </a:lnTo>
                  <a:lnTo>
                    <a:pt x="2808368" y="1633538"/>
                  </a:lnTo>
                  <a:lnTo>
                    <a:pt x="2813443" y="1629411"/>
                  </a:lnTo>
                  <a:lnTo>
                    <a:pt x="2817566" y="1625283"/>
                  </a:lnTo>
                  <a:lnTo>
                    <a:pt x="2821055" y="1620521"/>
                  </a:lnTo>
                  <a:lnTo>
                    <a:pt x="2824544" y="1616393"/>
                  </a:lnTo>
                  <a:lnTo>
                    <a:pt x="2827082" y="1611948"/>
                  </a:lnTo>
                  <a:lnTo>
                    <a:pt x="2828985" y="1607821"/>
                  </a:lnTo>
                  <a:lnTo>
                    <a:pt x="2830571" y="1603376"/>
                  </a:lnTo>
                  <a:lnTo>
                    <a:pt x="2831839" y="1599248"/>
                  </a:lnTo>
                  <a:lnTo>
                    <a:pt x="2832157" y="1594803"/>
                  </a:lnTo>
                  <a:lnTo>
                    <a:pt x="2831839" y="1591628"/>
                  </a:lnTo>
                  <a:lnTo>
                    <a:pt x="2831205" y="1588771"/>
                  </a:lnTo>
                  <a:lnTo>
                    <a:pt x="2830571" y="1585596"/>
                  </a:lnTo>
                  <a:lnTo>
                    <a:pt x="2829302" y="1582738"/>
                  </a:lnTo>
                  <a:lnTo>
                    <a:pt x="2828350" y="1579563"/>
                  </a:lnTo>
                  <a:lnTo>
                    <a:pt x="2826447" y="1576706"/>
                  </a:lnTo>
                  <a:lnTo>
                    <a:pt x="2824544" y="1573213"/>
                  </a:lnTo>
                  <a:lnTo>
                    <a:pt x="2822324" y="1570356"/>
                  </a:lnTo>
                  <a:lnTo>
                    <a:pt x="2817566" y="1564323"/>
                  </a:lnTo>
                  <a:lnTo>
                    <a:pt x="2810905" y="1558608"/>
                  </a:lnTo>
                  <a:lnTo>
                    <a:pt x="2803928" y="1552576"/>
                  </a:lnTo>
                  <a:lnTo>
                    <a:pt x="2795681" y="1546861"/>
                  </a:lnTo>
                  <a:lnTo>
                    <a:pt x="2786165" y="1541146"/>
                  </a:lnTo>
                  <a:lnTo>
                    <a:pt x="2776016" y="1536066"/>
                  </a:lnTo>
                  <a:lnTo>
                    <a:pt x="2764914" y="1531303"/>
                  </a:lnTo>
                  <a:lnTo>
                    <a:pt x="2752861" y="1526223"/>
                  </a:lnTo>
                  <a:lnTo>
                    <a:pt x="2740174" y="1521778"/>
                  </a:lnTo>
                  <a:lnTo>
                    <a:pt x="2726535" y="1517333"/>
                  </a:lnTo>
                  <a:lnTo>
                    <a:pt x="2711945" y="1513523"/>
                  </a:lnTo>
                  <a:lnTo>
                    <a:pt x="2696720" y="1510031"/>
                  </a:lnTo>
                  <a:lnTo>
                    <a:pt x="2695769" y="1526223"/>
                  </a:lnTo>
                  <a:lnTo>
                    <a:pt x="2673883" y="1526223"/>
                  </a:lnTo>
                  <a:lnTo>
                    <a:pt x="2688474" y="1540511"/>
                  </a:lnTo>
                  <a:lnTo>
                    <a:pt x="2695452" y="1540511"/>
                  </a:lnTo>
                  <a:lnTo>
                    <a:pt x="2698624" y="1542416"/>
                  </a:lnTo>
                  <a:lnTo>
                    <a:pt x="2706870" y="1548131"/>
                  </a:lnTo>
                  <a:lnTo>
                    <a:pt x="2717972" y="1556068"/>
                  </a:lnTo>
                  <a:lnTo>
                    <a:pt x="2723046" y="1560513"/>
                  </a:lnTo>
                  <a:lnTo>
                    <a:pt x="2728439" y="1565276"/>
                  </a:lnTo>
                  <a:lnTo>
                    <a:pt x="2732879" y="1570356"/>
                  </a:lnTo>
                  <a:lnTo>
                    <a:pt x="2736685" y="1574801"/>
                  </a:lnTo>
                  <a:lnTo>
                    <a:pt x="2738271" y="1577023"/>
                  </a:lnTo>
                  <a:lnTo>
                    <a:pt x="2738905" y="1579246"/>
                  </a:lnTo>
                  <a:lnTo>
                    <a:pt x="2739540" y="1581468"/>
                  </a:lnTo>
                  <a:lnTo>
                    <a:pt x="2740174" y="1583373"/>
                  </a:lnTo>
                  <a:lnTo>
                    <a:pt x="2739540" y="1585278"/>
                  </a:lnTo>
                  <a:lnTo>
                    <a:pt x="2738905" y="1586866"/>
                  </a:lnTo>
                  <a:lnTo>
                    <a:pt x="2737320" y="1588771"/>
                  </a:lnTo>
                  <a:lnTo>
                    <a:pt x="2735417" y="1589723"/>
                  </a:lnTo>
                  <a:lnTo>
                    <a:pt x="2732879" y="1590993"/>
                  </a:lnTo>
                  <a:lnTo>
                    <a:pt x="2730024" y="1591946"/>
                  </a:lnTo>
                  <a:lnTo>
                    <a:pt x="2725901" y="1592898"/>
                  </a:lnTo>
                  <a:lnTo>
                    <a:pt x="2721143" y="1593216"/>
                  </a:lnTo>
                  <a:lnTo>
                    <a:pt x="2715117" y="1593533"/>
                  </a:lnTo>
                  <a:lnTo>
                    <a:pt x="2710042" y="1593533"/>
                  </a:lnTo>
                  <a:lnTo>
                    <a:pt x="2704650" y="1593216"/>
                  </a:lnTo>
                  <a:lnTo>
                    <a:pt x="2699575" y="1592581"/>
                  </a:lnTo>
                  <a:lnTo>
                    <a:pt x="2694500" y="1591628"/>
                  </a:lnTo>
                  <a:lnTo>
                    <a:pt x="2690060" y="1590676"/>
                  </a:lnTo>
                  <a:lnTo>
                    <a:pt x="2685619" y="1589088"/>
                  </a:lnTo>
                  <a:lnTo>
                    <a:pt x="2681496" y="1587501"/>
                  </a:lnTo>
                  <a:lnTo>
                    <a:pt x="2673566" y="1584326"/>
                  </a:lnTo>
                  <a:lnTo>
                    <a:pt x="2665954" y="1579563"/>
                  </a:lnTo>
                  <a:lnTo>
                    <a:pt x="2658659" y="1575118"/>
                  </a:lnTo>
                  <a:lnTo>
                    <a:pt x="2651681" y="1570038"/>
                  </a:lnTo>
                  <a:lnTo>
                    <a:pt x="2648826" y="1568133"/>
                  </a:lnTo>
                  <a:lnTo>
                    <a:pt x="2646606" y="1567181"/>
                  </a:lnTo>
                  <a:lnTo>
                    <a:pt x="2645337" y="1567181"/>
                  </a:lnTo>
                  <a:lnTo>
                    <a:pt x="2644386" y="1567498"/>
                  </a:lnTo>
                  <a:lnTo>
                    <a:pt x="2643434" y="1569403"/>
                  </a:lnTo>
                  <a:lnTo>
                    <a:pt x="2643117" y="1570356"/>
                  </a:lnTo>
                  <a:lnTo>
                    <a:pt x="2642165" y="1570673"/>
                  </a:lnTo>
                  <a:lnTo>
                    <a:pt x="2633602" y="1570356"/>
                  </a:lnTo>
                  <a:lnTo>
                    <a:pt x="2629161" y="1570038"/>
                  </a:lnTo>
                  <a:lnTo>
                    <a:pt x="2627258" y="1569403"/>
                  </a:lnTo>
                  <a:lnTo>
                    <a:pt x="2626306" y="1569086"/>
                  </a:lnTo>
                  <a:lnTo>
                    <a:pt x="2624720" y="1562101"/>
                  </a:lnTo>
                  <a:lnTo>
                    <a:pt x="2624086" y="1556386"/>
                  </a:lnTo>
                  <a:lnTo>
                    <a:pt x="2623452" y="1551941"/>
                  </a:lnTo>
                  <a:lnTo>
                    <a:pt x="2623135" y="1548131"/>
                  </a:lnTo>
                  <a:lnTo>
                    <a:pt x="2623452" y="1544003"/>
                  </a:lnTo>
                  <a:lnTo>
                    <a:pt x="2624086" y="1542733"/>
                  </a:lnTo>
                  <a:lnTo>
                    <a:pt x="2622817" y="1540511"/>
                  </a:lnTo>
                  <a:lnTo>
                    <a:pt x="2671029" y="1540511"/>
                  </a:lnTo>
                  <a:lnTo>
                    <a:pt x="2656439" y="1526223"/>
                  </a:lnTo>
                  <a:lnTo>
                    <a:pt x="2615839" y="1526223"/>
                  </a:lnTo>
                  <a:lnTo>
                    <a:pt x="2612033" y="1499236"/>
                  </a:lnTo>
                  <a:lnTo>
                    <a:pt x="2595857" y="1498283"/>
                  </a:lnTo>
                  <a:lnTo>
                    <a:pt x="2579046" y="1497966"/>
                  </a:lnTo>
                  <a:close/>
                  <a:moveTo>
                    <a:pt x="400303" y="1460500"/>
                  </a:moveTo>
                  <a:lnTo>
                    <a:pt x="487363" y="1590373"/>
                  </a:lnTo>
                  <a:lnTo>
                    <a:pt x="477269" y="1597025"/>
                  </a:lnTo>
                  <a:lnTo>
                    <a:pt x="390525" y="1467152"/>
                  </a:lnTo>
                  <a:lnTo>
                    <a:pt x="400303" y="1460500"/>
                  </a:lnTo>
                  <a:close/>
                  <a:moveTo>
                    <a:pt x="2575557" y="1210946"/>
                  </a:moveTo>
                  <a:lnTo>
                    <a:pt x="2570165" y="1211581"/>
                  </a:lnTo>
                  <a:lnTo>
                    <a:pt x="2565408" y="1211898"/>
                  </a:lnTo>
                  <a:lnTo>
                    <a:pt x="2561919" y="1211581"/>
                  </a:lnTo>
                  <a:lnTo>
                    <a:pt x="2558747" y="1211263"/>
                  </a:lnTo>
                  <a:lnTo>
                    <a:pt x="2527663" y="1469708"/>
                  </a:lnTo>
                  <a:lnTo>
                    <a:pt x="2540350" y="1468756"/>
                  </a:lnTo>
                  <a:lnTo>
                    <a:pt x="2553038" y="1468438"/>
                  </a:lnTo>
                  <a:lnTo>
                    <a:pt x="2565725" y="1468121"/>
                  </a:lnTo>
                  <a:lnTo>
                    <a:pt x="2579046" y="1467486"/>
                  </a:lnTo>
                  <a:lnTo>
                    <a:pt x="2593637" y="1468121"/>
                  </a:lnTo>
                  <a:lnTo>
                    <a:pt x="2608227" y="1468438"/>
                  </a:lnTo>
                  <a:lnTo>
                    <a:pt x="2575557" y="1210946"/>
                  </a:lnTo>
                  <a:close/>
                  <a:moveTo>
                    <a:pt x="309562" y="1149350"/>
                  </a:moveTo>
                  <a:lnTo>
                    <a:pt x="361753" y="1149350"/>
                  </a:lnTo>
                  <a:lnTo>
                    <a:pt x="369977" y="1155018"/>
                  </a:lnTo>
                  <a:lnTo>
                    <a:pt x="377884" y="1160685"/>
                  </a:lnTo>
                  <a:lnTo>
                    <a:pt x="381680" y="1164149"/>
                  </a:lnTo>
                  <a:lnTo>
                    <a:pt x="385476" y="1167298"/>
                  </a:lnTo>
                  <a:lnTo>
                    <a:pt x="388639" y="1170761"/>
                  </a:lnTo>
                  <a:lnTo>
                    <a:pt x="391169" y="1174225"/>
                  </a:lnTo>
                  <a:lnTo>
                    <a:pt x="392751" y="1177059"/>
                  </a:lnTo>
                  <a:lnTo>
                    <a:pt x="393700" y="1178633"/>
                  </a:lnTo>
                  <a:lnTo>
                    <a:pt x="393700" y="1180208"/>
                  </a:lnTo>
                  <a:lnTo>
                    <a:pt x="393067" y="1181467"/>
                  </a:lnTo>
                  <a:lnTo>
                    <a:pt x="392751" y="1182727"/>
                  </a:lnTo>
                  <a:lnTo>
                    <a:pt x="391802" y="1183671"/>
                  </a:lnTo>
                  <a:lnTo>
                    <a:pt x="390537" y="1184616"/>
                  </a:lnTo>
                  <a:lnTo>
                    <a:pt x="388639" y="1185561"/>
                  </a:lnTo>
                  <a:lnTo>
                    <a:pt x="386425" y="1186505"/>
                  </a:lnTo>
                  <a:lnTo>
                    <a:pt x="383578" y="1186820"/>
                  </a:lnTo>
                  <a:lnTo>
                    <a:pt x="380098" y="1187135"/>
                  </a:lnTo>
                  <a:lnTo>
                    <a:pt x="375986" y="1187450"/>
                  </a:lnTo>
                  <a:lnTo>
                    <a:pt x="372191" y="1187450"/>
                  </a:lnTo>
                  <a:lnTo>
                    <a:pt x="364599" y="1186820"/>
                  </a:lnTo>
                  <a:lnTo>
                    <a:pt x="357957" y="1185246"/>
                  </a:lnTo>
                  <a:lnTo>
                    <a:pt x="351631" y="1183042"/>
                  </a:lnTo>
                  <a:lnTo>
                    <a:pt x="345937" y="1180523"/>
                  </a:lnTo>
                  <a:lnTo>
                    <a:pt x="340244" y="1177374"/>
                  </a:lnTo>
                  <a:lnTo>
                    <a:pt x="335499" y="1174225"/>
                  </a:lnTo>
                  <a:lnTo>
                    <a:pt x="330122" y="1170761"/>
                  </a:lnTo>
                  <a:lnTo>
                    <a:pt x="328540" y="1169187"/>
                  </a:lnTo>
                  <a:lnTo>
                    <a:pt x="326959" y="1168557"/>
                  </a:lnTo>
                  <a:lnTo>
                    <a:pt x="325693" y="1168557"/>
                  </a:lnTo>
                  <a:lnTo>
                    <a:pt x="325061" y="1168872"/>
                  </a:lnTo>
                  <a:lnTo>
                    <a:pt x="324745" y="1170447"/>
                  </a:lnTo>
                  <a:lnTo>
                    <a:pt x="324112" y="1170761"/>
                  </a:lnTo>
                  <a:lnTo>
                    <a:pt x="323479" y="1171076"/>
                  </a:lnTo>
                  <a:lnTo>
                    <a:pt x="317469" y="1170761"/>
                  </a:lnTo>
                  <a:lnTo>
                    <a:pt x="313990" y="1170447"/>
                  </a:lnTo>
                  <a:lnTo>
                    <a:pt x="312409" y="1170132"/>
                  </a:lnTo>
                  <a:lnTo>
                    <a:pt x="311143" y="1164779"/>
                  </a:lnTo>
                  <a:lnTo>
                    <a:pt x="310511" y="1160685"/>
                  </a:lnTo>
                  <a:lnTo>
                    <a:pt x="309878" y="1155018"/>
                  </a:lnTo>
                  <a:lnTo>
                    <a:pt x="310511" y="1152184"/>
                  </a:lnTo>
                  <a:lnTo>
                    <a:pt x="310827" y="1150924"/>
                  </a:lnTo>
                  <a:lnTo>
                    <a:pt x="309562" y="1149350"/>
                  </a:lnTo>
                  <a:close/>
                  <a:moveTo>
                    <a:pt x="178239" y="1149350"/>
                  </a:moveTo>
                  <a:lnTo>
                    <a:pt x="230188" y="1149350"/>
                  </a:lnTo>
                  <a:lnTo>
                    <a:pt x="229550" y="1150924"/>
                  </a:lnTo>
                  <a:lnTo>
                    <a:pt x="229869" y="1152184"/>
                  </a:lnTo>
                  <a:lnTo>
                    <a:pt x="229869" y="1155018"/>
                  </a:lnTo>
                  <a:lnTo>
                    <a:pt x="229550" y="1160685"/>
                  </a:lnTo>
                  <a:lnTo>
                    <a:pt x="229232" y="1164779"/>
                  </a:lnTo>
                  <a:lnTo>
                    <a:pt x="227957" y="1170132"/>
                  </a:lnTo>
                  <a:lnTo>
                    <a:pt x="225726" y="1170447"/>
                  </a:lnTo>
                  <a:lnTo>
                    <a:pt x="222858" y="1170761"/>
                  </a:lnTo>
                  <a:lnTo>
                    <a:pt x="216802" y="1171076"/>
                  </a:lnTo>
                  <a:lnTo>
                    <a:pt x="215846" y="1170761"/>
                  </a:lnTo>
                  <a:lnTo>
                    <a:pt x="215527" y="1170447"/>
                  </a:lnTo>
                  <a:lnTo>
                    <a:pt x="214890" y="1168872"/>
                  </a:lnTo>
                  <a:lnTo>
                    <a:pt x="214571" y="1168557"/>
                  </a:lnTo>
                  <a:lnTo>
                    <a:pt x="213296" y="1168557"/>
                  </a:lnTo>
                  <a:lnTo>
                    <a:pt x="211703" y="1169187"/>
                  </a:lnTo>
                  <a:lnTo>
                    <a:pt x="209472" y="1170761"/>
                  </a:lnTo>
                  <a:lnTo>
                    <a:pt x="204691" y="1174225"/>
                  </a:lnTo>
                  <a:lnTo>
                    <a:pt x="199273" y="1177374"/>
                  </a:lnTo>
                  <a:lnTo>
                    <a:pt x="194174" y="1180523"/>
                  </a:lnTo>
                  <a:lnTo>
                    <a:pt x="188119" y="1183042"/>
                  </a:lnTo>
                  <a:lnTo>
                    <a:pt x="182063" y="1185246"/>
                  </a:lnTo>
                  <a:lnTo>
                    <a:pt x="175371" y="1186820"/>
                  </a:lnTo>
                  <a:lnTo>
                    <a:pt x="167722" y="1187450"/>
                  </a:lnTo>
                  <a:lnTo>
                    <a:pt x="163579" y="1187450"/>
                  </a:lnTo>
                  <a:lnTo>
                    <a:pt x="159435" y="1187135"/>
                  </a:lnTo>
                  <a:lnTo>
                    <a:pt x="155930" y="1186820"/>
                  </a:lnTo>
                  <a:lnTo>
                    <a:pt x="153380" y="1186505"/>
                  </a:lnTo>
                  <a:lnTo>
                    <a:pt x="151149" y="1185561"/>
                  </a:lnTo>
                  <a:lnTo>
                    <a:pt x="149237" y="1184616"/>
                  </a:lnTo>
                  <a:lnTo>
                    <a:pt x="147643" y="1183671"/>
                  </a:lnTo>
                  <a:lnTo>
                    <a:pt x="147006" y="1182727"/>
                  </a:lnTo>
                  <a:lnTo>
                    <a:pt x="146050" y="1181467"/>
                  </a:lnTo>
                  <a:lnTo>
                    <a:pt x="146050" y="1180208"/>
                  </a:lnTo>
                  <a:lnTo>
                    <a:pt x="146050" y="1178633"/>
                  </a:lnTo>
                  <a:lnTo>
                    <a:pt x="146368" y="1177059"/>
                  </a:lnTo>
                  <a:lnTo>
                    <a:pt x="148281" y="1174225"/>
                  </a:lnTo>
                  <a:lnTo>
                    <a:pt x="151149" y="1170761"/>
                  </a:lnTo>
                  <a:lnTo>
                    <a:pt x="154017" y="1167298"/>
                  </a:lnTo>
                  <a:lnTo>
                    <a:pt x="157842" y="1164149"/>
                  </a:lnTo>
                  <a:lnTo>
                    <a:pt x="161985" y="1160685"/>
                  </a:lnTo>
                  <a:lnTo>
                    <a:pt x="169634" y="1155018"/>
                  </a:lnTo>
                  <a:lnTo>
                    <a:pt x="178239" y="1149350"/>
                  </a:lnTo>
                  <a:close/>
                  <a:moveTo>
                    <a:pt x="1364001" y="1136650"/>
                  </a:moveTo>
                  <a:lnTo>
                    <a:pt x="1375444" y="1136650"/>
                  </a:lnTo>
                  <a:lnTo>
                    <a:pt x="1386888" y="1137285"/>
                  </a:lnTo>
                  <a:lnTo>
                    <a:pt x="1398332" y="1138872"/>
                  </a:lnTo>
                  <a:lnTo>
                    <a:pt x="1409457" y="1140777"/>
                  </a:lnTo>
                  <a:lnTo>
                    <a:pt x="1421219" y="1143000"/>
                  </a:lnTo>
                  <a:lnTo>
                    <a:pt x="1432663" y="1146175"/>
                  </a:lnTo>
                  <a:lnTo>
                    <a:pt x="1443788" y="1149032"/>
                  </a:lnTo>
                  <a:lnTo>
                    <a:pt x="1455232" y="1152842"/>
                  </a:lnTo>
                  <a:lnTo>
                    <a:pt x="1466040" y="1156652"/>
                  </a:lnTo>
                  <a:lnTo>
                    <a:pt x="1476848" y="1161097"/>
                  </a:lnTo>
                  <a:lnTo>
                    <a:pt x="1487338" y="1165542"/>
                  </a:lnTo>
                  <a:lnTo>
                    <a:pt x="1498146" y="1169987"/>
                  </a:lnTo>
                  <a:lnTo>
                    <a:pt x="1508318" y="1175067"/>
                  </a:lnTo>
                  <a:lnTo>
                    <a:pt x="1518490" y="1180147"/>
                  </a:lnTo>
                  <a:lnTo>
                    <a:pt x="1527709" y="1185545"/>
                  </a:lnTo>
                  <a:lnTo>
                    <a:pt x="1537245" y="1190942"/>
                  </a:lnTo>
                  <a:lnTo>
                    <a:pt x="1545828" y="1196022"/>
                  </a:lnTo>
                  <a:lnTo>
                    <a:pt x="1554410" y="1201420"/>
                  </a:lnTo>
                  <a:lnTo>
                    <a:pt x="1569987" y="1211897"/>
                  </a:lnTo>
                  <a:lnTo>
                    <a:pt x="1583020" y="1222057"/>
                  </a:lnTo>
                  <a:lnTo>
                    <a:pt x="1594463" y="1231265"/>
                  </a:lnTo>
                  <a:lnTo>
                    <a:pt x="1599231" y="1235710"/>
                  </a:lnTo>
                  <a:lnTo>
                    <a:pt x="1603046" y="1239837"/>
                  </a:lnTo>
                  <a:lnTo>
                    <a:pt x="1606543" y="1243330"/>
                  </a:lnTo>
                  <a:lnTo>
                    <a:pt x="1609086" y="1246822"/>
                  </a:lnTo>
                  <a:lnTo>
                    <a:pt x="1610993" y="1249997"/>
                  </a:lnTo>
                  <a:lnTo>
                    <a:pt x="1611947" y="1252220"/>
                  </a:lnTo>
                  <a:lnTo>
                    <a:pt x="1612582" y="1256347"/>
                  </a:lnTo>
                  <a:lnTo>
                    <a:pt x="1612900" y="1261427"/>
                  </a:lnTo>
                  <a:lnTo>
                    <a:pt x="1612900" y="1276985"/>
                  </a:lnTo>
                  <a:lnTo>
                    <a:pt x="1612582" y="1297305"/>
                  </a:lnTo>
                  <a:lnTo>
                    <a:pt x="1611311" y="1322387"/>
                  </a:lnTo>
                  <a:lnTo>
                    <a:pt x="1609404" y="1351280"/>
                  </a:lnTo>
                  <a:lnTo>
                    <a:pt x="1607178" y="1383347"/>
                  </a:lnTo>
                  <a:lnTo>
                    <a:pt x="1601774" y="1455102"/>
                  </a:lnTo>
                  <a:lnTo>
                    <a:pt x="1595099" y="1531937"/>
                  </a:lnTo>
                  <a:lnTo>
                    <a:pt x="1588106" y="1608772"/>
                  </a:lnTo>
                  <a:lnTo>
                    <a:pt x="1580159" y="1680845"/>
                  </a:lnTo>
                  <a:lnTo>
                    <a:pt x="1576344" y="1713230"/>
                  </a:lnTo>
                  <a:lnTo>
                    <a:pt x="1572847" y="1742122"/>
                  </a:lnTo>
                  <a:lnTo>
                    <a:pt x="1568397" y="1774825"/>
                  </a:lnTo>
                  <a:lnTo>
                    <a:pt x="1566172" y="1787842"/>
                  </a:lnTo>
                  <a:lnTo>
                    <a:pt x="1564265" y="1798955"/>
                  </a:lnTo>
                  <a:lnTo>
                    <a:pt x="1551232" y="1804035"/>
                  </a:lnTo>
                  <a:lnTo>
                    <a:pt x="1539152" y="1808162"/>
                  </a:lnTo>
                  <a:lnTo>
                    <a:pt x="1527073" y="1811655"/>
                  </a:lnTo>
                  <a:lnTo>
                    <a:pt x="1515947" y="1813877"/>
                  </a:lnTo>
                  <a:lnTo>
                    <a:pt x="1505775" y="1815465"/>
                  </a:lnTo>
                  <a:lnTo>
                    <a:pt x="1501325" y="1815782"/>
                  </a:lnTo>
                  <a:lnTo>
                    <a:pt x="1496874" y="1815782"/>
                  </a:lnTo>
                  <a:lnTo>
                    <a:pt x="1492742" y="1815782"/>
                  </a:lnTo>
                  <a:lnTo>
                    <a:pt x="1488609" y="1814830"/>
                  </a:lnTo>
                  <a:lnTo>
                    <a:pt x="1485113" y="1814195"/>
                  </a:lnTo>
                  <a:lnTo>
                    <a:pt x="1481934" y="1813242"/>
                  </a:lnTo>
                  <a:lnTo>
                    <a:pt x="1482888" y="1798955"/>
                  </a:lnTo>
                  <a:lnTo>
                    <a:pt x="1484159" y="1778952"/>
                  </a:lnTo>
                  <a:lnTo>
                    <a:pt x="1486384" y="1724025"/>
                  </a:lnTo>
                  <a:lnTo>
                    <a:pt x="1487338" y="1671637"/>
                  </a:lnTo>
                  <a:lnTo>
                    <a:pt x="1488927" y="1614487"/>
                  </a:lnTo>
                  <a:lnTo>
                    <a:pt x="1489881" y="1556067"/>
                  </a:lnTo>
                  <a:lnTo>
                    <a:pt x="1490199" y="1498600"/>
                  </a:lnTo>
                  <a:lnTo>
                    <a:pt x="1473033" y="1530667"/>
                  </a:lnTo>
                  <a:lnTo>
                    <a:pt x="1462543" y="1524952"/>
                  </a:lnTo>
                  <a:lnTo>
                    <a:pt x="1490199" y="1472882"/>
                  </a:lnTo>
                  <a:lnTo>
                    <a:pt x="1489881" y="1423035"/>
                  </a:lnTo>
                  <a:lnTo>
                    <a:pt x="1489245" y="1402080"/>
                  </a:lnTo>
                  <a:lnTo>
                    <a:pt x="1488609" y="1384300"/>
                  </a:lnTo>
                  <a:lnTo>
                    <a:pt x="1487974" y="1370012"/>
                  </a:lnTo>
                  <a:lnTo>
                    <a:pt x="1486702" y="1360170"/>
                  </a:lnTo>
                  <a:lnTo>
                    <a:pt x="1486066" y="1356677"/>
                  </a:lnTo>
                  <a:lnTo>
                    <a:pt x="1485113" y="1354455"/>
                  </a:lnTo>
                  <a:lnTo>
                    <a:pt x="1484477" y="1353502"/>
                  </a:lnTo>
                  <a:lnTo>
                    <a:pt x="1484159" y="1353502"/>
                  </a:lnTo>
                  <a:lnTo>
                    <a:pt x="1483841" y="1354137"/>
                  </a:lnTo>
                  <a:lnTo>
                    <a:pt x="1477166" y="1362392"/>
                  </a:lnTo>
                  <a:lnTo>
                    <a:pt x="1470808" y="1371282"/>
                  </a:lnTo>
                  <a:lnTo>
                    <a:pt x="1469537" y="1373505"/>
                  </a:lnTo>
                  <a:lnTo>
                    <a:pt x="1449192" y="1674812"/>
                  </a:lnTo>
                  <a:lnTo>
                    <a:pt x="1443788" y="1731962"/>
                  </a:lnTo>
                  <a:lnTo>
                    <a:pt x="1437431" y="1803400"/>
                  </a:lnTo>
                  <a:lnTo>
                    <a:pt x="1434252" y="1830705"/>
                  </a:lnTo>
                  <a:lnTo>
                    <a:pt x="1433934" y="1834515"/>
                  </a:lnTo>
                  <a:lnTo>
                    <a:pt x="1431709" y="1841817"/>
                  </a:lnTo>
                  <a:lnTo>
                    <a:pt x="1429166" y="1848485"/>
                  </a:lnTo>
                  <a:lnTo>
                    <a:pt x="1426623" y="1855152"/>
                  </a:lnTo>
                  <a:lnTo>
                    <a:pt x="1423126" y="1861820"/>
                  </a:lnTo>
                  <a:lnTo>
                    <a:pt x="1419630" y="1868805"/>
                  </a:lnTo>
                  <a:lnTo>
                    <a:pt x="1415815" y="1875155"/>
                  </a:lnTo>
                  <a:lnTo>
                    <a:pt x="1411683" y="1881822"/>
                  </a:lnTo>
                  <a:lnTo>
                    <a:pt x="1407232" y="1888172"/>
                  </a:lnTo>
                  <a:lnTo>
                    <a:pt x="1400557" y="1978660"/>
                  </a:lnTo>
                  <a:lnTo>
                    <a:pt x="1376398" y="2298382"/>
                  </a:lnTo>
                  <a:lnTo>
                    <a:pt x="1388795" y="2301557"/>
                  </a:lnTo>
                  <a:lnTo>
                    <a:pt x="1400875" y="2305050"/>
                  </a:lnTo>
                  <a:lnTo>
                    <a:pt x="1412954" y="2308225"/>
                  </a:lnTo>
                  <a:lnTo>
                    <a:pt x="1424080" y="2312035"/>
                  </a:lnTo>
                  <a:lnTo>
                    <a:pt x="1435524" y="2315845"/>
                  </a:lnTo>
                  <a:lnTo>
                    <a:pt x="1446014" y="2319972"/>
                  </a:lnTo>
                  <a:lnTo>
                    <a:pt x="1456504" y="2324100"/>
                  </a:lnTo>
                  <a:lnTo>
                    <a:pt x="1466358" y="2328545"/>
                  </a:lnTo>
                  <a:lnTo>
                    <a:pt x="1529298" y="2288857"/>
                  </a:lnTo>
                  <a:lnTo>
                    <a:pt x="1535656" y="2299017"/>
                  </a:lnTo>
                  <a:lnTo>
                    <a:pt x="1479073" y="2334895"/>
                  </a:lnTo>
                  <a:lnTo>
                    <a:pt x="1489881" y="2340610"/>
                  </a:lnTo>
                  <a:lnTo>
                    <a:pt x="1499417" y="2346325"/>
                  </a:lnTo>
                  <a:lnTo>
                    <a:pt x="1508954" y="2352675"/>
                  </a:lnTo>
                  <a:lnTo>
                    <a:pt x="1517536" y="2358707"/>
                  </a:lnTo>
                  <a:lnTo>
                    <a:pt x="1525483" y="2365057"/>
                  </a:lnTo>
                  <a:lnTo>
                    <a:pt x="1533112" y="2371725"/>
                  </a:lnTo>
                  <a:lnTo>
                    <a:pt x="1539788" y="2378710"/>
                  </a:lnTo>
                  <a:lnTo>
                    <a:pt x="1546146" y="2385695"/>
                  </a:lnTo>
                  <a:lnTo>
                    <a:pt x="1551867" y="2392997"/>
                  </a:lnTo>
                  <a:lnTo>
                    <a:pt x="1556636" y="2400300"/>
                  </a:lnTo>
                  <a:lnTo>
                    <a:pt x="1560768" y="2407920"/>
                  </a:lnTo>
                  <a:lnTo>
                    <a:pt x="1564265" y="2415857"/>
                  </a:lnTo>
                  <a:lnTo>
                    <a:pt x="1566808" y="2423477"/>
                  </a:lnTo>
                  <a:lnTo>
                    <a:pt x="1568715" y="2431732"/>
                  </a:lnTo>
                  <a:lnTo>
                    <a:pt x="1569987" y="2439670"/>
                  </a:lnTo>
                  <a:lnTo>
                    <a:pt x="1570304" y="2447925"/>
                  </a:lnTo>
                  <a:lnTo>
                    <a:pt x="1569987" y="2455545"/>
                  </a:lnTo>
                  <a:lnTo>
                    <a:pt x="1569033" y="2463165"/>
                  </a:lnTo>
                  <a:lnTo>
                    <a:pt x="1567126" y="2470785"/>
                  </a:lnTo>
                  <a:lnTo>
                    <a:pt x="1564900" y="2477770"/>
                  </a:lnTo>
                  <a:lnTo>
                    <a:pt x="1562040" y="2485390"/>
                  </a:lnTo>
                  <a:lnTo>
                    <a:pt x="1558225" y="2492057"/>
                  </a:lnTo>
                  <a:lnTo>
                    <a:pt x="1554093" y="2499360"/>
                  </a:lnTo>
                  <a:lnTo>
                    <a:pt x="1549324" y="2506027"/>
                  </a:lnTo>
                  <a:lnTo>
                    <a:pt x="1543920" y="2512695"/>
                  </a:lnTo>
                  <a:lnTo>
                    <a:pt x="1537881" y="2519362"/>
                  </a:lnTo>
                  <a:lnTo>
                    <a:pt x="1531523" y="2525712"/>
                  </a:lnTo>
                  <a:lnTo>
                    <a:pt x="1524212" y="2531745"/>
                  </a:lnTo>
                  <a:lnTo>
                    <a:pt x="1516901" y="2537778"/>
                  </a:lnTo>
                  <a:lnTo>
                    <a:pt x="1508636" y="2543810"/>
                  </a:lnTo>
                  <a:lnTo>
                    <a:pt x="1500053" y="2549208"/>
                  </a:lnTo>
                  <a:lnTo>
                    <a:pt x="1490517" y="2554923"/>
                  </a:lnTo>
                  <a:lnTo>
                    <a:pt x="1480980" y="2560320"/>
                  </a:lnTo>
                  <a:lnTo>
                    <a:pt x="1470808" y="2565083"/>
                  </a:lnTo>
                  <a:lnTo>
                    <a:pt x="1460318" y="2569845"/>
                  </a:lnTo>
                  <a:lnTo>
                    <a:pt x="1449192" y="2574608"/>
                  </a:lnTo>
                  <a:lnTo>
                    <a:pt x="1437749" y="2579053"/>
                  </a:lnTo>
                  <a:lnTo>
                    <a:pt x="1425669" y="2583180"/>
                  </a:lnTo>
                  <a:lnTo>
                    <a:pt x="1413272" y="2587308"/>
                  </a:lnTo>
                  <a:lnTo>
                    <a:pt x="1400557" y="2591118"/>
                  </a:lnTo>
                  <a:lnTo>
                    <a:pt x="1387206" y="2594293"/>
                  </a:lnTo>
                  <a:lnTo>
                    <a:pt x="1373855" y="2597785"/>
                  </a:lnTo>
                  <a:lnTo>
                    <a:pt x="1360186" y="2600960"/>
                  </a:lnTo>
                  <a:lnTo>
                    <a:pt x="1345882" y="2603500"/>
                  </a:lnTo>
                  <a:lnTo>
                    <a:pt x="1331259" y="2606040"/>
                  </a:lnTo>
                  <a:lnTo>
                    <a:pt x="1316319" y="2608263"/>
                  </a:lnTo>
                  <a:lnTo>
                    <a:pt x="1301061" y="2610168"/>
                  </a:lnTo>
                  <a:lnTo>
                    <a:pt x="1285802" y="2612073"/>
                  </a:lnTo>
                  <a:lnTo>
                    <a:pt x="1381166" y="2755265"/>
                  </a:lnTo>
                  <a:lnTo>
                    <a:pt x="1370994" y="2762250"/>
                  </a:lnTo>
                  <a:lnTo>
                    <a:pt x="1271816" y="2613343"/>
                  </a:lnTo>
                  <a:lnTo>
                    <a:pt x="1254968" y="2614613"/>
                  </a:lnTo>
                  <a:lnTo>
                    <a:pt x="1237167" y="2615565"/>
                  </a:lnTo>
                  <a:lnTo>
                    <a:pt x="1219366" y="2615883"/>
                  </a:lnTo>
                  <a:lnTo>
                    <a:pt x="1201246" y="2616200"/>
                  </a:lnTo>
                  <a:lnTo>
                    <a:pt x="1181856" y="2615883"/>
                  </a:lnTo>
                  <a:lnTo>
                    <a:pt x="1162465" y="2615565"/>
                  </a:lnTo>
                  <a:lnTo>
                    <a:pt x="1143710" y="2614295"/>
                  </a:lnTo>
                  <a:lnTo>
                    <a:pt x="1124955" y="2612708"/>
                  </a:lnTo>
                  <a:lnTo>
                    <a:pt x="1106836" y="2611120"/>
                  </a:lnTo>
                  <a:lnTo>
                    <a:pt x="1089035" y="2609215"/>
                  </a:lnTo>
                  <a:lnTo>
                    <a:pt x="1071870" y="2606358"/>
                  </a:lnTo>
                  <a:lnTo>
                    <a:pt x="1055022" y="2603500"/>
                  </a:lnTo>
                  <a:lnTo>
                    <a:pt x="1038492" y="2600008"/>
                  </a:lnTo>
                  <a:lnTo>
                    <a:pt x="1022598" y="2596833"/>
                  </a:lnTo>
                  <a:lnTo>
                    <a:pt x="1007022" y="2592705"/>
                  </a:lnTo>
                  <a:lnTo>
                    <a:pt x="992082" y="2588260"/>
                  </a:lnTo>
                  <a:lnTo>
                    <a:pt x="977777" y="2583498"/>
                  </a:lnTo>
                  <a:lnTo>
                    <a:pt x="963791" y="2578735"/>
                  </a:lnTo>
                  <a:lnTo>
                    <a:pt x="950757" y="2573338"/>
                  </a:lnTo>
                  <a:lnTo>
                    <a:pt x="937724" y="2568258"/>
                  </a:lnTo>
                  <a:lnTo>
                    <a:pt x="925645" y="2562225"/>
                  </a:lnTo>
                  <a:lnTo>
                    <a:pt x="914519" y="2556193"/>
                  </a:lnTo>
                  <a:lnTo>
                    <a:pt x="903711" y="2550160"/>
                  </a:lnTo>
                  <a:lnTo>
                    <a:pt x="893857" y="2543175"/>
                  </a:lnTo>
                  <a:lnTo>
                    <a:pt x="884321" y="2536508"/>
                  </a:lnTo>
                  <a:lnTo>
                    <a:pt x="875738" y="2529523"/>
                  </a:lnTo>
                  <a:lnTo>
                    <a:pt x="867473" y="2522220"/>
                  </a:lnTo>
                  <a:lnTo>
                    <a:pt x="860162" y="2514600"/>
                  </a:lnTo>
                  <a:lnTo>
                    <a:pt x="853804" y="2506662"/>
                  </a:lnTo>
                  <a:lnTo>
                    <a:pt x="848400" y="2499042"/>
                  </a:lnTo>
                  <a:lnTo>
                    <a:pt x="843632" y="2491105"/>
                  </a:lnTo>
                  <a:lnTo>
                    <a:pt x="839500" y="2482850"/>
                  </a:lnTo>
                  <a:lnTo>
                    <a:pt x="836639" y="2473960"/>
                  </a:lnTo>
                  <a:lnTo>
                    <a:pt x="834414" y="2465387"/>
                  </a:lnTo>
                  <a:lnTo>
                    <a:pt x="833460" y="2461260"/>
                  </a:lnTo>
                  <a:lnTo>
                    <a:pt x="832824" y="2456815"/>
                  </a:lnTo>
                  <a:lnTo>
                    <a:pt x="832506" y="2452370"/>
                  </a:lnTo>
                  <a:lnTo>
                    <a:pt x="832506" y="2447925"/>
                  </a:lnTo>
                  <a:lnTo>
                    <a:pt x="832824" y="2440305"/>
                  </a:lnTo>
                  <a:lnTo>
                    <a:pt x="833460" y="2432685"/>
                  </a:lnTo>
                  <a:lnTo>
                    <a:pt x="835367" y="2425700"/>
                  </a:lnTo>
                  <a:lnTo>
                    <a:pt x="837592" y="2418397"/>
                  </a:lnTo>
                  <a:lnTo>
                    <a:pt x="840453" y="2411412"/>
                  </a:lnTo>
                  <a:lnTo>
                    <a:pt x="844268" y="2404110"/>
                  </a:lnTo>
                  <a:lnTo>
                    <a:pt x="847765" y="2397442"/>
                  </a:lnTo>
                  <a:lnTo>
                    <a:pt x="852851" y="2390775"/>
                  </a:lnTo>
                  <a:lnTo>
                    <a:pt x="857937" y="2384107"/>
                  </a:lnTo>
                  <a:lnTo>
                    <a:pt x="863659" y="2377757"/>
                  </a:lnTo>
                  <a:lnTo>
                    <a:pt x="870016" y="2371407"/>
                  </a:lnTo>
                  <a:lnTo>
                    <a:pt x="877009" y="2365375"/>
                  </a:lnTo>
                  <a:lnTo>
                    <a:pt x="884321" y="2359342"/>
                  </a:lnTo>
                  <a:lnTo>
                    <a:pt x="892268" y="2353945"/>
                  </a:lnTo>
                  <a:lnTo>
                    <a:pt x="900533" y="2348230"/>
                  </a:lnTo>
                  <a:lnTo>
                    <a:pt x="909115" y="2342515"/>
                  </a:lnTo>
                  <a:lnTo>
                    <a:pt x="921513" y="2335847"/>
                  </a:lnTo>
                  <a:lnTo>
                    <a:pt x="934546" y="2329497"/>
                  </a:lnTo>
                  <a:lnTo>
                    <a:pt x="947897" y="2323465"/>
                  </a:lnTo>
                  <a:lnTo>
                    <a:pt x="962201" y="2317750"/>
                  </a:lnTo>
                  <a:lnTo>
                    <a:pt x="957751" y="2310765"/>
                  </a:lnTo>
                  <a:lnTo>
                    <a:pt x="915791" y="2248217"/>
                  </a:lnTo>
                  <a:lnTo>
                    <a:pt x="925645" y="2241232"/>
                  </a:lnTo>
                  <a:lnTo>
                    <a:pt x="969194" y="2306002"/>
                  </a:lnTo>
                  <a:lnTo>
                    <a:pt x="974281" y="2313622"/>
                  </a:lnTo>
                  <a:lnTo>
                    <a:pt x="984453" y="2310130"/>
                  </a:lnTo>
                  <a:lnTo>
                    <a:pt x="994625" y="2306637"/>
                  </a:lnTo>
                  <a:lnTo>
                    <a:pt x="1005115" y="2303780"/>
                  </a:lnTo>
                  <a:lnTo>
                    <a:pt x="1016241" y="2300922"/>
                  </a:lnTo>
                  <a:lnTo>
                    <a:pt x="1035949" y="2296160"/>
                  </a:lnTo>
                  <a:lnTo>
                    <a:pt x="1004797" y="1881505"/>
                  </a:lnTo>
                  <a:lnTo>
                    <a:pt x="998439" y="1871980"/>
                  </a:lnTo>
                  <a:lnTo>
                    <a:pt x="992718" y="1862455"/>
                  </a:lnTo>
                  <a:lnTo>
                    <a:pt x="988903" y="1856105"/>
                  </a:lnTo>
                  <a:lnTo>
                    <a:pt x="985724" y="1849120"/>
                  </a:lnTo>
                  <a:lnTo>
                    <a:pt x="982545" y="1842135"/>
                  </a:lnTo>
                  <a:lnTo>
                    <a:pt x="980002" y="1835150"/>
                  </a:lnTo>
                  <a:lnTo>
                    <a:pt x="979685" y="1830705"/>
                  </a:lnTo>
                  <a:lnTo>
                    <a:pt x="976506" y="1798955"/>
                  </a:lnTo>
                  <a:lnTo>
                    <a:pt x="968559" y="1715452"/>
                  </a:lnTo>
                  <a:lnTo>
                    <a:pt x="963791" y="1658620"/>
                  </a:lnTo>
                  <a:lnTo>
                    <a:pt x="958704" y="1594485"/>
                  </a:lnTo>
                  <a:lnTo>
                    <a:pt x="943128" y="1365567"/>
                  </a:lnTo>
                  <a:lnTo>
                    <a:pt x="939950" y="1363027"/>
                  </a:lnTo>
                  <a:lnTo>
                    <a:pt x="937089" y="1360487"/>
                  </a:lnTo>
                  <a:lnTo>
                    <a:pt x="930731" y="1354137"/>
                  </a:lnTo>
                  <a:lnTo>
                    <a:pt x="930413" y="1353502"/>
                  </a:lnTo>
                  <a:lnTo>
                    <a:pt x="930095" y="1354137"/>
                  </a:lnTo>
                  <a:lnTo>
                    <a:pt x="929460" y="1355725"/>
                  </a:lnTo>
                  <a:lnTo>
                    <a:pt x="928824" y="1358900"/>
                  </a:lnTo>
                  <a:lnTo>
                    <a:pt x="928506" y="1363345"/>
                  </a:lnTo>
                  <a:lnTo>
                    <a:pt x="928188" y="1376997"/>
                  </a:lnTo>
                  <a:lnTo>
                    <a:pt x="928188" y="1395095"/>
                  </a:lnTo>
                  <a:lnTo>
                    <a:pt x="928506" y="1417320"/>
                  </a:lnTo>
                  <a:lnTo>
                    <a:pt x="928824" y="1442720"/>
                  </a:lnTo>
                  <a:lnTo>
                    <a:pt x="930731" y="1502092"/>
                  </a:lnTo>
                  <a:lnTo>
                    <a:pt x="933274" y="1568450"/>
                  </a:lnTo>
                  <a:lnTo>
                    <a:pt x="936453" y="1636077"/>
                  </a:lnTo>
                  <a:lnTo>
                    <a:pt x="939632" y="1699895"/>
                  </a:lnTo>
                  <a:lnTo>
                    <a:pt x="942811" y="1755140"/>
                  </a:lnTo>
                  <a:lnTo>
                    <a:pt x="945036" y="1791652"/>
                  </a:lnTo>
                  <a:lnTo>
                    <a:pt x="946943" y="1815465"/>
                  </a:lnTo>
                  <a:lnTo>
                    <a:pt x="938996" y="1815782"/>
                  </a:lnTo>
                  <a:lnTo>
                    <a:pt x="929142" y="1815782"/>
                  </a:lnTo>
                  <a:lnTo>
                    <a:pt x="918016" y="1815782"/>
                  </a:lnTo>
                  <a:lnTo>
                    <a:pt x="904983" y="1814512"/>
                  </a:lnTo>
                  <a:lnTo>
                    <a:pt x="898625" y="1813877"/>
                  </a:lnTo>
                  <a:lnTo>
                    <a:pt x="891950" y="1812607"/>
                  </a:lnTo>
                  <a:lnTo>
                    <a:pt x="884639" y="1811337"/>
                  </a:lnTo>
                  <a:lnTo>
                    <a:pt x="877963" y="1809115"/>
                  </a:lnTo>
                  <a:lnTo>
                    <a:pt x="870970" y="1806575"/>
                  </a:lnTo>
                  <a:lnTo>
                    <a:pt x="863659" y="1804035"/>
                  </a:lnTo>
                  <a:lnTo>
                    <a:pt x="856983" y="1800542"/>
                  </a:lnTo>
                  <a:lnTo>
                    <a:pt x="849990" y="1797050"/>
                  </a:lnTo>
                  <a:lnTo>
                    <a:pt x="847765" y="1783397"/>
                  </a:lnTo>
                  <a:lnTo>
                    <a:pt x="845222" y="1766887"/>
                  </a:lnTo>
                  <a:lnTo>
                    <a:pt x="842996" y="1747520"/>
                  </a:lnTo>
                  <a:lnTo>
                    <a:pt x="840453" y="1725930"/>
                  </a:lnTo>
                  <a:lnTo>
                    <a:pt x="837592" y="1697672"/>
                  </a:lnTo>
                  <a:lnTo>
                    <a:pt x="834732" y="1666875"/>
                  </a:lnTo>
                  <a:lnTo>
                    <a:pt x="829010" y="1599565"/>
                  </a:lnTo>
                  <a:lnTo>
                    <a:pt x="824242" y="1529080"/>
                  </a:lnTo>
                  <a:lnTo>
                    <a:pt x="820109" y="1460182"/>
                  </a:lnTo>
                  <a:lnTo>
                    <a:pt x="816612" y="1395730"/>
                  </a:lnTo>
                  <a:lnTo>
                    <a:pt x="815659" y="1367155"/>
                  </a:lnTo>
                  <a:lnTo>
                    <a:pt x="814705" y="1341120"/>
                  </a:lnTo>
                  <a:lnTo>
                    <a:pt x="814387" y="1318895"/>
                  </a:lnTo>
                  <a:lnTo>
                    <a:pt x="814387" y="1300480"/>
                  </a:lnTo>
                  <a:lnTo>
                    <a:pt x="814705" y="1286827"/>
                  </a:lnTo>
                  <a:lnTo>
                    <a:pt x="815023" y="1281747"/>
                  </a:lnTo>
                  <a:lnTo>
                    <a:pt x="815659" y="1277937"/>
                  </a:lnTo>
                  <a:lnTo>
                    <a:pt x="816295" y="1270635"/>
                  </a:lnTo>
                  <a:lnTo>
                    <a:pt x="818202" y="1263332"/>
                  </a:lnTo>
                  <a:lnTo>
                    <a:pt x="820427" y="1256347"/>
                  </a:lnTo>
                  <a:lnTo>
                    <a:pt x="823288" y="1249362"/>
                  </a:lnTo>
                  <a:lnTo>
                    <a:pt x="827102" y="1242695"/>
                  </a:lnTo>
                  <a:lnTo>
                    <a:pt x="831553" y="1236345"/>
                  </a:lnTo>
                  <a:lnTo>
                    <a:pt x="836957" y="1229995"/>
                  </a:lnTo>
                  <a:lnTo>
                    <a:pt x="842679" y="1223962"/>
                  </a:lnTo>
                  <a:lnTo>
                    <a:pt x="849036" y="1218247"/>
                  </a:lnTo>
                  <a:lnTo>
                    <a:pt x="856029" y="1212532"/>
                  </a:lnTo>
                  <a:lnTo>
                    <a:pt x="863659" y="1207452"/>
                  </a:lnTo>
                  <a:lnTo>
                    <a:pt x="871606" y="1202055"/>
                  </a:lnTo>
                  <a:lnTo>
                    <a:pt x="879870" y="1197292"/>
                  </a:lnTo>
                  <a:lnTo>
                    <a:pt x="888771" y="1192847"/>
                  </a:lnTo>
                  <a:lnTo>
                    <a:pt x="897990" y="1188085"/>
                  </a:lnTo>
                  <a:lnTo>
                    <a:pt x="907844" y="1183640"/>
                  </a:lnTo>
                  <a:lnTo>
                    <a:pt x="917380" y="1179512"/>
                  </a:lnTo>
                  <a:lnTo>
                    <a:pt x="928188" y="1175385"/>
                  </a:lnTo>
                  <a:lnTo>
                    <a:pt x="938360" y="1171575"/>
                  </a:lnTo>
                  <a:lnTo>
                    <a:pt x="949168" y="1168400"/>
                  </a:lnTo>
                  <a:lnTo>
                    <a:pt x="971420" y="1161415"/>
                  </a:lnTo>
                  <a:lnTo>
                    <a:pt x="993989" y="1155382"/>
                  </a:lnTo>
                  <a:lnTo>
                    <a:pt x="1016876" y="1150302"/>
                  </a:lnTo>
                  <a:lnTo>
                    <a:pt x="1040399" y="1145540"/>
                  </a:lnTo>
                  <a:lnTo>
                    <a:pt x="1063287" y="1141412"/>
                  </a:lnTo>
                  <a:lnTo>
                    <a:pt x="1085856" y="1138237"/>
                  </a:lnTo>
                  <a:lnTo>
                    <a:pt x="1090942" y="1137920"/>
                  </a:lnTo>
                  <a:lnTo>
                    <a:pt x="1096346" y="1138237"/>
                  </a:lnTo>
                  <a:lnTo>
                    <a:pt x="1169776" y="1409700"/>
                  </a:lnTo>
                  <a:lnTo>
                    <a:pt x="1171366" y="1398587"/>
                  </a:lnTo>
                  <a:lnTo>
                    <a:pt x="1196796" y="1212532"/>
                  </a:lnTo>
                  <a:lnTo>
                    <a:pt x="1189803" y="1194117"/>
                  </a:lnTo>
                  <a:lnTo>
                    <a:pt x="1203472" y="1169670"/>
                  </a:lnTo>
                  <a:lnTo>
                    <a:pt x="1235895" y="1169670"/>
                  </a:lnTo>
                  <a:lnTo>
                    <a:pt x="1249246" y="1194117"/>
                  </a:lnTo>
                  <a:lnTo>
                    <a:pt x="1242889" y="1216025"/>
                  </a:lnTo>
                  <a:lnTo>
                    <a:pt x="1265776" y="1412557"/>
                  </a:lnTo>
                  <a:lnTo>
                    <a:pt x="1325855" y="1146810"/>
                  </a:lnTo>
                  <a:lnTo>
                    <a:pt x="1332849" y="1143317"/>
                  </a:lnTo>
                  <a:lnTo>
                    <a:pt x="1337935" y="1141095"/>
                  </a:lnTo>
                  <a:lnTo>
                    <a:pt x="1341113" y="1139190"/>
                  </a:lnTo>
                  <a:lnTo>
                    <a:pt x="1341749" y="1138555"/>
                  </a:lnTo>
                  <a:lnTo>
                    <a:pt x="1341749" y="1138237"/>
                  </a:lnTo>
                  <a:lnTo>
                    <a:pt x="1352557" y="1136967"/>
                  </a:lnTo>
                  <a:lnTo>
                    <a:pt x="1364001" y="1136650"/>
                  </a:lnTo>
                  <a:close/>
                  <a:moveTo>
                    <a:pt x="276860" y="1112205"/>
                  </a:moveTo>
                  <a:lnTo>
                    <a:pt x="257810" y="1112523"/>
                  </a:lnTo>
                  <a:lnTo>
                    <a:pt x="239395" y="1114113"/>
                  </a:lnTo>
                  <a:lnTo>
                    <a:pt x="236537" y="1138913"/>
                  </a:lnTo>
                  <a:lnTo>
                    <a:pt x="176212" y="1139866"/>
                  </a:lnTo>
                  <a:lnTo>
                    <a:pt x="175260" y="1124923"/>
                  </a:lnTo>
                  <a:lnTo>
                    <a:pt x="166687" y="1127784"/>
                  </a:lnTo>
                  <a:lnTo>
                    <a:pt x="158432" y="1130328"/>
                  </a:lnTo>
                  <a:lnTo>
                    <a:pt x="151130" y="1132872"/>
                  </a:lnTo>
                  <a:lnTo>
                    <a:pt x="143827" y="1136051"/>
                  </a:lnTo>
                  <a:lnTo>
                    <a:pt x="137160" y="1138913"/>
                  </a:lnTo>
                  <a:lnTo>
                    <a:pt x="130810" y="1142410"/>
                  </a:lnTo>
                  <a:lnTo>
                    <a:pt x="125095" y="1145271"/>
                  </a:lnTo>
                  <a:lnTo>
                    <a:pt x="119697" y="1148769"/>
                  </a:lnTo>
                  <a:lnTo>
                    <a:pt x="115252" y="1152584"/>
                  </a:lnTo>
                  <a:lnTo>
                    <a:pt x="111125" y="1155763"/>
                  </a:lnTo>
                  <a:lnTo>
                    <a:pt x="107315" y="1159261"/>
                  </a:lnTo>
                  <a:lnTo>
                    <a:pt x="104457" y="1163076"/>
                  </a:lnTo>
                  <a:lnTo>
                    <a:pt x="102235" y="1166891"/>
                  </a:lnTo>
                  <a:lnTo>
                    <a:pt x="100647" y="1170071"/>
                  </a:lnTo>
                  <a:lnTo>
                    <a:pt x="99377" y="1173886"/>
                  </a:lnTo>
                  <a:lnTo>
                    <a:pt x="99060" y="1177384"/>
                  </a:lnTo>
                  <a:lnTo>
                    <a:pt x="99377" y="1180245"/>
                  </a:lnTo>
                  <a:lnTo>
                    <a:pt x="100330" y="1183425"/>
                  </a:lnTo>
                  <a:lnTo>
                    <a:pt x="101282" y="1186286"/>
                  </a:lnTo>
                  <a:lnTo>
                    <a:pt x="102870" y="1189148"/>
                  </a:lnTo>
                  <a:lnTo>
                    <a:pt x="104775" y="1192009"/>
                  </a:lnTo>
                  <a:lnTo>
                    <a:pt x="106997" y="1195188"/>
                  </a:lnTo>
                  <a:lnTo>
                    <a:pt x="109537" y="1197732"/>
                  </a:lnTo>
                  <a:lnTo>
                    <a:pt x="112712" y="1200593"/>
                  </a:lnTo>
                  <a:lnTo>
                    <a:pt x="116205" y="1203455"/>
                  </a:lnTo>
                  <a:lnTo>
                    <a:pt x="119697" y="1206316"/>
                  </a:lnTo>
                  <a:lnTo>
                    <a:pt x="124460" y="1208860"/>
                  </a:lnTo>
                  <a:lnTo>
                    <a:pt x="128905" y="1211721"/>
                  </a:lnTo>
                  <a:lnTo>
                    <a:pt x="138747" y="1216809"/>
                  </a:lnTo>
                  <a:lnTo>
                    <a:pt x="149860" y="1221896"/>
                  </a:lnTo>
                  <a:lnTo>
                    <a:pt x="162242" y="1226347"/>
                  </a:lnTo>
                  <a:lnTo>
                    <a:pt x="175895" y="1230162"/>
                  </a:lnTo>
                  <a:lnTo>
                    <a:pt x="190500" y="1233977"/>
                  </a:lnTo>
                  <a:lnTo>
                    <a:pt x="206375" y="1236839"/>
                  </a:lnTo>
                  <a:lnTo>
                    <a:pt x="222885" y="1239383"/>
                  </a:lnTo>
                  <a:lnTo>
                    <a:pt x="240030" y="1241290"/>
                  </a:lnTo>
                  <a:lnTo>
                    <a:pt x="258127" y="1242562"/>
                  </a:lnTo>
                  <a:lnTo>
                    <a:pt x="276860" y="1242880"/>
                  </a:lnTo>
                  <a:lnTo>
                    <a:pt x="295910" y="1242562"/>
                  </a:lnTo>
                  <a:lnTo>
                    <a:pt x="313690" y="1241290"/>
                  </a:lnTo>
                  <a:lnTo>
                    <a:pt x="331153" y="1239383"/>
                  </a:lnTo>
                  <a:lnTo>
                    <a:pt x="347663" y="1236839"/>
                  </a:lnTo>
                  <a:lnTo>
                    <a:pt x="363220" y="1233977"/>
                  </a:lnTo>
                  <a:lnTo>
                    <a:pt x="377825" y="1230162"/>
                  </a:lnTo>
                  <a:lnTo>
                    <a:pt x="391160" y="1226347"/>
                  </a:lnTo>
                  <a:lnTo>
                    <a:pt x="403860" y="1221896"/>
                  </a:lnTo>
                  <a:lnTo>
                    <a:pt x="414973" y="1216809"/>
                  </a:lnTo>
                  <a:lnTo>
                    <a:pt x="425133" y="1211721"/>
                  </a:lnTo>
                  <a:lnTo>
                    <a:pt x="429578" y="1208860"/>
                  </a:lnTo>
                  <a:lnTo>
                    <a:pt x="433705" y="1206316"/>
                  </a:lnTo>
                  <a:lnTo>
                    <a:pt x="437515" y="1203455"/>
                  </a:lnTo>
                  <a:lnTo>
                    <a:pt x="441008" y="1200593"/>
                  </a:lnTo>
                  <a:lnTo>
                    <a:pt x="444183" y="1197732"/>
                  </a:lnTo>
                  <a:lnTo>
                    <a:pt x="447040" y="1195188"/>
                  </a:lnTo>
                  <a:lnTo>
                    <a:pt x="449263" y="1192009"/>
                  </a:lnTo>
                  <a:lnTo>
                    <a:pt x="451168" y="1189148"/>
                  </a:lnTo>
                  <a:lnTo>
                    <a:pt x="452438" y="1186286"/>
                  </a:lnTo>
                  <a:lnTo>
                    <a:pt x="453708" y="1183425"/>
                  </a:lnTo>
                  <a:lnTo>
                    <a:pt x="454343" y="1180245"/>
                  </a:lnTo>
                  <a:lnTo>
                    <a:pt x="454343" y="1177384"/>
                  </a:lnTo>
                  <a:lnTo>
                    <a:pt x="454025" y="1173568"/>
                  </a:lnTo>
                  <a:lnTo>
                    <a:pt x="453073" y="1169435"/>
                  </a:lnTo>
                  <a:lnTo>
                    <a:pt x="450850" y="1165620"/>
                  </a:lnTo>
                  <a:lnTo>
                    <a:pt x="447993" y="1161486"/>
                  </a:lnTo>
                  <a:lnTo>
                    <a:pt x="444183" y="1157671"/>
                  </a:lnTo>
                  <a:lnTo>
                    <a:pt x="440055" y="1153538"/>
                  </a:lnTo>
                  <a:lnTo>
                    <a:pt x="435293" y="1149723"/>
                  </a:lnTo>
                  <a:lnTo>
                    <a:pt x="429578" y="1146225"/>
                  </a:lnTo>
                  <a:lnTo>
                    <a:pt x="423228" y="1142728"/>
                  </a:lnTo>
                  <a:lnTo>
                    <a:pt x="416560" y="1138913"/>
                  </a:lnTo>
                  <a:lnTo>
                    <a:pt x="408940" y="1135415"/>
                  </a:lnTo>
                  <a:lnTo>
                    <a:pt x="400685" y="1132554"/>
                  </a:lnTo>
                  <a:lnTo>
                    <a:pt x="392113" y="1129692"/>
                  </a:lnTo>
                  <a:lnTo>
                    <a:pt x="382905" y="1126513"/>
                  </a:lnTo>
                  <a:lnTo>
                    <a:pt x="373380" y="1123969"/>
                  </a:lnTo>
                  <a:lnTo>
                    <a:pt x="363220" y="1121744"/>
                  </a:lnTo>
                  <a:lnTo>
                    <a:pt x="361633" y="1139866"/>
                  </a:lnTo>
                  <a:lnTo>
                    <a:pt x="304165" y="1139866"/>
                  </a:lnTo>
                  <a:lnTo>
                    <a:pt x="300673" y="1113477"/>
                  </a:lnTo>
                  <a:lnTo>
                    <a:pt x="288925" y="1112523"/>
                  </a:lnTo>
                  <a:lnTo>
                    <a:pt x="276860" y="1112205"/>
                  </a:lnTo>
                  <a:close/>
                  <a:moveTo>
                    <a:pt x="1696009" y="1087438"/>
                  </a:moveTo>
                  <a:lnTo>
                    <a:pt x="1706562" y="1093141"/>
                  </a:lnTo>
                  <a:lnTo>
                    <a:pt x="1628215" y="1238251"/>
                  </a:lnTo>
                  <a:lnTo>
                    <a:pt x="1617662" y="1232865"/>
                  </a:lnTo>
                  <a:lnTo>
                    <a:pt x="1696009" y="1087438"/>
                  </a:lnTo>
                  <a:close/>
                  <a:moveTo>
                    <a:pt x="2290762" y="1082675"/>
                  </a:moveTo>
                  <a:lnTo>
                    <a:pt x="2349183" y="1093734"/>
                  </a:lnTo>
                  <a:lnTo>
                    <a:pt x="2351088" y="1094049"/>
                  </a:lnTo>
                  <a:lnTo>
                    <a:pt x="2352993" y="1095313"/>
                  </a:lnTo>
                  <a:lnTo>
                    <a:pt x="2354580" y="1096893"/>
                  </a:lnTo>
                  <a:lnTo>
                    <a:pt x="2356168" y="1098473"/>
                  </a:lnTo>
                  <a:lnTo>
                    <a:pt x="2357438" y="1101001"/>
                  </a:lnTo>
                  <a:lnTo>
                    <a:pt x="2358708" y="1103528"/>
                  </a:lnTo>
                  <a:lnTo>
                    <a:pt x="2360613" y="1109848"/>
                  </a:lnTo>
                  <a:lnTo>
                    <a:pt x="2362200" y="1116483"/>
                  </a:lnTo>
                  <a:lnTo>
                    <a:pt x="2363470" y="1124066"/>
                  </a:lnTo>
                  <a:lnTo>
                    <a:pt x="2365058" y="1138600"/>
                  </a:lnTo>
                  <a:lnTo>
                    <a:pt x="2365375" y="1141760"/>
                  </a:lnTo>
                  <a:lnTo>
                    <a:pt x="2365058" y="1143971"/>
                  </a:lnTo>
                  <a:lnTo>
                    <a:pt x="2364740" y="1144919"/>
                  </a:lnTo>
                  <a:lnTo>
                    <a:pt x="2363470" y="1145867"/>
                  </a:lnTo>
                  <a:lnTo>
                    <a:pt x="2362835" y="1145235"/>
                  </a:lnTo>
                  <a:lnTo>
                    <a:pt x="2361248" y="1144603"/>
                  </a:lnTo>
                  <a:lnTo>
                    <a:pt x="2359660" y="1143655"/>
                  </a:lnTo>
                  <a:lnTo>
                    <a:pt x="2358708" y="1142076"/>
                  </a:lnTo>
                  <a:lnTo>
                    <a:pt x="2355533" y="1137968"/>
                  </a:lnTo>
                  <a:lnTo>
                    <a:pt x="2352993" y="1133545"/>
                  </a:lnTo>
                  <a:lnTo>
                    <a:pt x="2351088" y="1128489"/>
                  </a:lnTo>
                  <a:lnTo>
                    <a:pt x="2350453" y="1126593"/>
                  </a:lnTo>
                  <a:lnTo>
                    <a:pt x="2350453" y="1124698"/>
                  </a:lnTo>
                  <a:lnTo>
                    <a:pt x="2350135" y="1121854"/>
                  </a:lnTo>
                  <a:lnTo>
                    <a:pt x="2349183" y="1119958"/>
                  </a:lnTo>
                  <a:lnTo>
                    <a:pt x="2347913" y="1118694"/>
                  </a:lnTo>
                  <a:lnTo>
                    <a:pt x="2346960" y="1118378"/>
                  </a:lnTo>
                  <a:lnTo>
                    <a:pt x="2346643" y="1118378"/>
                  </a:lnTo>
                  <a:lnTo>
                    <a:pt x="2346008" y="1118378"/>
                  </a:lnTo>
                  <a:lnTo>
                    <a:pt x="2345055" y="1119326"/>
                  </a:lnTo>
                  <a:lnTo>
                    <a:pt x="2344420" y="1119958"/>
                  </a:lnTo>
                  <a:lnTo>
                    <a:pt x="2343785" y="1120906"/>
                  </a:lnTo>
                  <a:lnTo>
                    <a:pt x="2342833" y="1124066"/>
                  </a:lnTo>
                  <a:lnTo>
                    <a:pt x="2342515" y="1128173"/>
                  </a:lnTo>
                  <a:lnTo>
                    <a:pt x="2342198" y="1132597"/>
                  </a:lnTo>
                  <a:lnTo>
                    <a:pt x="2341245" y="1136704"/>
                  </a:lnTo>
                  <a:lnTo>
                    <a:pt x="2340293" y="1140180"/>
                  </a:lnTo>
                  <a:lnTo>
                    <a:pt x="2339023" y="1141760"/>
                  </a:lnTo>
                  <a:lnTo>
                    <a:pt x="2338070" y="1143023"/>
                  </a:lnTo>
                  <a:lnTo>
                    <a:pt x="2336800" y="1144287"/>
                  </a:lnTo>
                  <a:lnTo>
                    <a:pt x="2335530" y="1145235"/>
                  </a:lnTo>
                  <a:lnTo>
                    <a:pt x="2333625" y="1146183"/>
                  </a:lnTo>
                  <a:lnTo>
                    <a:pt x="2331720" y="1146815"/>
                  </a:lnTo>
                  <a:lnTo>
                    <a:pt x="2329815" y="1147131"/>
                  </a:lnTo>
                  <a:lnTo>
                    <a:pt x="2326957" y="1147763"/>
                  </a:lnTo>
                  <a:lnTo>
                    <a:pt x="2321877" y="1147763"/>
                  </a:lnTo>
                  <a:lnTo>
                    <a:pt x="2319655" y="1147131"/>
                  </a:lnTo>
                  <a:lnTo>
                    <a:pt x="2317432" y="1146499"/>
                  </a:lnTo>
                  <a:lnTo>
                    <a:pt x="2315210" y="1145235"/>
                  </a:lnTo>
                  <a:lnTo>
                    <a:pt x="2313305" y="1144287"/>
                  </a:lnTo>
                  <a:lnTo>
                    <a:pt x="2311400" y="1142392"/>
                  </a:lnTo>
                  <a:lnTo>
                    <a:pt x="2309495" y="1140812"/>
                  </a:lnTo>
                  <a:lnTo>
                    <a:pt x="2306002" y="1136388"/>
                  </a:lnTo>
                  <a:lnTo>
                    <a:pt x="2303145" y="1131649"/>
                  </a:lnTo>
                  <a:lnTo>
                    <a:pt x="2300922" y="1125962"/>
                  </a:lnTo>
                  <a:lnTo>
                    <a:pt x="2298382" y="1120274"/>
                  </a:lnTo>
                  <a:lnTo>
                    <a:pt x="2296795" y="1114271"/>
                  </a:lnTo>
                  <a:lnTo>
                    <a:pt x="2295207" y="1108268"/>
                  </a:lnTo>
                  <a:lnTo>
                    <a:pt x="2293620" y="1102580"/>
                  </a:lnTo>
                  <a:lnTo>
                    <a:pt x="2291715" y="1092470"/>
                  </a:lnTo>
                  <a:lnTo>
                    <a:pt x="2291080" y="1085519"/>
                  </a:lnTo>
                  <a:lnTo>
                    <a:pt x="2290762" y="1082675"/>
                  </a:lnTo>
                  <a:close/>
                  <a:moveTo>
                    <a:pt x="2847975" y="1081088"/>
                  </a:moveTo>
                  <a:lnTo>
                    <a:pt x="2847658" y="1083616"/>
                  </a:lnTo>
                  <a:lnTo>
                    <a:pt x="2846705" y="1090883"/>
                  </a:lnTo>
                  <a:lnTo>
                    <a:pt x="2844800" y="1100993"/>
                  </a:lnTo>
                  <a:lnTo>
                    <a:pt x="2843530" y="1106997"/>
                  </a:lnTo>
                  <a:lnTo>
                    <a:pt x="2842260" y="1113000"/>
                  </a:lnTo>
                  <a:lnTo>
                    <a:pt x="2840355" y="1119003"/>
                  </a:lnTo>
                  <a:lnTo>
                    <a:pt x="2838133" y="1124375"/>
                  </a:lnTo>
                  <a:lnTo>
                    <a:pt x="2835275" y="1130062"/>
                  </a:lnTo>
                  <a:lnTo>
                    <a:pt x="2832735" y="1134801"/>
                  </a:lnTo>
                  <a:lnTo>
                    <a:pt x="2829243" y="1139225"/>
                  </a:lnTo>
                  <a:lnTo>
                    <a:pt x="2827338" y="1140805"/>
                  </a:lnTo>
                  <a:lnTo>
                    <a:pt x="2825433" y="1142384"/>
                  </a:lnTo>
                  <a:lnTo>
                    <a:pt x="2823845" y="1143964"/>
                  </a:lnTo>
                  <a:lnTo>
                    <a:pt x="2821305" y="1144596"/>
                  </a:lnTo>
                  <a:lnTo>
                    <a:pt x="2819083" y="1145544"/>
                  </a:lnTo>
                  <a:lnTo>
                    <a:pt x="2816860" y="1145860"/>
                  </a:lnTo>
                  <a:lnTo>
                    <a:pt x="2811145" y="1146176"/>
                  </a:lnTo>
                  <a:lnTo>
                    <a:pt x="2808922" y="1145860"/>
                  </a:lnTo>
                  <a:lnTo>
                    <a:pt x="2807017" y="1145544"/>
                  </a:lnTo>
                  <a:lnTo>
                    <a:pt x="2804795" y="1144596"/>
                  </a:lnTo>
                  <a:lnTo>
                    <a:pt x="2803525" y="1143964"/>
                  </a:lnTo>
                  <a:lnTo>
                    <a:pt x="2801937" y="1142700"/>
                  </a:lnTo>
                  <a:lnTo>
                    <a:pt x="2800667" y="1141752"/>
                  </a:lnTo>
                  <a:lnTo>
                    <a:pt x="2799715" y="1140173"/>
                  </a:lnTo>
                  <a:lnTo>
                    <a:pt x="2798445" y="1138593"/>
                  </a:lnTo>
                  <a:lnTo>
                    <a:pt x="2796857" y="1135433"/>
                  </a:lnTo>
                  <a:lnTo>
                    <a:pt x="2796222" y="1131326"/>
                  </a:lnTo>
                  <a:lnTo>
                    <a:pt x="2796222" y="1126586"/>
                  </a:lnTo>
                  <a:lnTo>
                    <a:pt x="2795905" y="1122163"/>
                  </a:lnTo>
                  <a:lnTo>
                    <a:pt x="2794635" y="1119319"/>
                  </a:lnTo>
                  <a:lnTo>
                    <a:pt x="2794317" y="1118371"/>
                  </a:lnTo>
                  <a:lnTo>
                    <a:pt x="2793682" y="1117423"/>
                  </a:lnTo>
                  <a:lnTo>
                    <a:pt x="2792730" y="1117107"/>
                  </a:lnTo>
                  <a:lnTo>
                    <a:pt x="2792095" y="1117107"/>
                  </a:lnTo>
                  <a:lnTo>
                    <a:pt x="2791460" y="1117107"/>
                  </a:lnTo>
                  <a:lnTo>
                    <a:pt x="2790507" y="1117107"/>
                  </a:lnTo>
                  <a:lnTo>
                    <a:pt x="2789555" y="1118371"/>
                  </a:lnTo>
                  <a:lnTo>
                    <a:pt x="2788602" y="1120267"/>
                  </a:lnTo>
                  <a:lnTo>
                    <a:pt x="2788285" y="1123427"/>
                  </a:lnTo>
                  <a:lnTo>
                    <a:pt x="2787967" y="1125322"/>
                  </a:lnTo>
                  <a:lnTo>
                    <a:pt x="2787650" y="1127218"/>
                  </a:lnTo>
                  <a:lnTo>
                    <a:pt x="2785745" y="1131642"/>
                  </a:lnTo>
                  <a:lnTo>
                    <a:pt x="2783205" y="1136381"/>
                  </a:lnTo>
                  <a:lnTo>
                    <a:pt x="2780030" y="1140489"/>
                  </a:lnTo>
                  <a:lnTo>
                    <a:pt x="2778442" y="1142068"/>
                  </a:lnTo>
                  <a:lnTo>
                    <a:pt x="2777490" y="1143332"/>
                  </a:lnTo>
                  <a:lnTo>
                    <a:pt x="2775902" y="1143964"/>
                  </a:lnTo>
                  <a:lnTo>
                    <a:pt x="2774950" y="1143964"/>
                  </a:lnTo>
                  <a:lnTo>
                    <a:pt x="2773997" y="1143648"/>
                  </a:lnTo>
                  <a:lnTo>
                    <a:pt x="2773680" y="1142384"/>
                  </a:lnTo>
                  <a:lnTo>
                    <a:pt x="2773362" y="1140173"/>
                  </a:lnTo>
                  <a:lnTo>
                    <a:pt x="2773362" y="1137329"/>
                  </a:lnTo>
                  <a:lnTo>
                    <a:pt x="2775267" y="1122479"/>
                  </a:lnTo>
                  <a:lnTo>
                    <a:pt x="2776220" y="1115212"/>
                  </a:lnTo>
                  <a:lnTo>
                    <a:pt x="2777807" y="1108261"/>
                  </a:lnTo>
                  <a:lnTo>
                    <a:pt x="2780030" y="1101941"/>
                  </a:lnTo>
                  <a:lnTo>
                    <a:pt x="2781300" y="1099414"/>
                  </a:lnTo>
                  <a:lnTo>
                    <a:pt x="2782252" y="1097202"/>
                  </a:lnTo>
                  <a:lnTo>
                    <a:pt x="2783840" y="1095306"/>
                  </a:lnTo>
                  <a:lnTo>
                    <a:pt x="2785427" y="1093410"/>
                  </a:lnTo>
                  <a:lnTo>
                    <a:pt x="2787332" y="1092778"/>
                  </a:lnTo>
                  <a:lnTo>
                    <a:pt x="2789237" y="1092147"/>
                  </a:lnTo>
                  <a:lnTo>
                    <a:pt x="2847975" y="1081088"/>
                  </a:lnTo>
                  <a:close/>
                  <a:moveTo>
                    <a:pt x="2154535" y="1031875"/>
                  </a:moveTo>
                  <a:lnTo>
                    <a:pt x="2276475" y="1148694"/>
                  </a:lnTo>
                  <a:lnTo>
                    <a:pt x="2268240" y="1157288"/>
                  </a:lnTo>
                  <a:lnTo>
                    <a:pt x="2146300" y="1040469"/>
                  </a:lnTo>
                  <a:lnTo>
                    <a:pt x="2154535" y="1031875"/>
                  </a:lnTo>
                  <a:close/>
                  <a:moveTo>
                    <a:pt x="951225" y="992188"/>
                  </a:moveTo>
                  <a:lnTo>
                    <a:pt x="954087" y="1004130"/>
                  </a:lnTo>
                  <a:lnTo>
                    <a:pt x="747081" y="1054101"/>
                  </a:lnTo>
                  <a:lnTo>
                    <a:pt x="744537" y="1042158"/>
                  </a:lnTo>
                  <a:lnTo>
                    <a:pt x="951225" y="992188"/>
                  </a:lnTo>
                  <a:close/>
                  <a:moveTo>
                    <a:pt x="263208" y="913173"/>
                  </a:moveTo>
                  <a:lnTo>
                    <a:pt x="242887" y="1082955"/>
                  </a:lnTo>
                  <a:lnTo>
                    <a:pt x="259715" y="1082001"/>
                  </a:lnTo>
                  <a:lnTo>
                    <a:pt x="276860" y="1081683"/>
                  </a:lnTo>
                  <a:lnTo>
                    <a:pt x="296863" y="1082001"/>
                  </a:lnTo>
                  <a:lnTo>
                    <a:pt x="275590" y="913173"/>
                  </a:lnTo>
                  <a:lnTo>
                    <a:pt x="271780" y="913491"/>
                  </a:lnTo>
                  <a:lnTo>
                    <a:pt x="267970" y="913491"/>
                  </a:lnTo>
                  <a:lnTo>
                    <a:pt x="265748" y="913491"/>
                  </a:lnTo>
                  <a:lnTo>
                    <a:pt x="263208" y="913173"/>
                  </a:lnTo>
                  <a:close/>
                  <a:moveTo>
                    <a:pt x="1967124" y="852488"/>
                  </a:moveTo>
                  <a:lnTo>
                    <a:pt x="2032000" y="915353"/>
                  </a:lnTo>
                  <a:lnTo>
                    <a:pt x="2023538" y="923926"/>
                  </a:lnTo>
                  <a:lnTo>
                    <a:pt x="1958975" y="861378"/>
                  </a:lnTo>
                  <a:lnTo>
                    <a:pt x="1967124" y="852488"/>
                  </a:lnTo>
                  <a:close/>
                  <a:moveTo>
                    <a:pt x="71437" y="820738"/>
                  </a:moveTo>
                  <a:lnTo>
                    <a:pt x="113846" y="828515"/>
                  </a:lnTo>
                  <a:lnTo>
                    <a:pt x="115452" y="828826"/>
                  </a:lnTo>
                  <a:lnTo>
                    <a:pt x="116737" y="829759"/>
                  </a:lnTo>
                  <a:lnTo>
                    <a:pt x="117701" y="830692"/>
                  </a:lnTo>
                  <a:lnTo>
                    <a:pt x="118986" y="832247"/>
                  </a:lnTo>
                  <a:lnTo>
                    <a:pt x="120914" y="835669"/>
                  </a:lnTo>
                  <a:lnTo>
                    <a:pt x="121878" y="840024"/>
                  </a:lnTo>
                  <a:lnTo>
                    <a:pt x="123163" y="844690"/>
                  </a:lnTo>
                  <a:lnTo>
                    <a:pt x="124127" y="850289"/>
                  </a:lnTo>
                  <a:lnTo>
                    <a:pt x="125412" y="860555"/>
                  </a:lnTo>
                  <a:lnTo>
                    <a:pt x="125412" y="862732"/>
                  </a:lnTo>
                  <a:lnTo>
                    <a:pt x="125412" y="863976"/>
                  </a:lnTo>
                  <a:lnTo>
                    <a:pt x="125090" y="864909"/>
                  </a:lnTo>
                  <a:lnTo>
                    <a:pt x="124127" y="865532"/>
                  </a:lnTo>
                  <a:lnTo>
                    <a:pt x="123484" y="865532"/>
                  </a:lnTo>
                  <a:lnTo>
                    <a:pt x="122842" y="864598"/>
                  </a:lnTo>
                  <a:lnTo>
                    <a:pt x="120271" y="862732"/>
                  </a:lnTo>
                  <a:lnTo>
                    <a:pt x="118344" y="859932"/>
                  </a:lnTo>
                  <a:lnTo>
                    <a:pt x="116737" y="856511"/>
                  </a:lnTo>
                  <a:lnTo>
                    <a:pt x="115131" y="853089"/>
                  </a:lnTo>
                  <a:lnTo>
                    <a:pt x="114810" y="850600"/>
                  </a:lnTo>
                  <a:lnTo>
                    <a:pt x="114167" y="848423"/>
                  </a:lnTo>
                  <a:lnTo>
                    <a:pt x="113846" y="846868"/>
                  </a:lnTo>
                  <a:lnTo>
                    <a:pt x="112882" y="846245"/>
                  </a:lnTo>
                  <a:lnTo>
                    <a:pt x="111597" y="846245"/>
                  </a:lnTo>
                  <a:lnTo>
                    <a:pt x="110954" y="846556"/>
                  </a:lnTo>
                  <a:lnTo>
                    <a:pt x="109669" y="847801"/>
                  </a:lnTo>
                  <a:lnTo>
                    <a:pt x="109348" y="849978"/>
                  </a:lnTo>
                  <a:lnTo>
                    <a:pt x="109026" y="852778"/>
                  </a:lnTo>
                  <a:lnTo>
                    <a:pt x="108705" y="856200"/>
                  </a:lnTo>
                  <a:lnTo>
                    <a:pt x="108384" y="858999"/>
                  </a:lnTo>
                  <a:lnTo>
                    <a:pt x="107099" y="861799"/>
                  </a:lnTo>
                  <a:lnTo>
                    <a:pt x="105492" y="863665"/>
                  </a:lnTo>
                  <a:lnTo>
                    <a:pt x="103565" y="864909"/>
                  </a:lnTo>
                  <a:lnTo>
                    <a:pt x="100994" y="866154"/>
                  </a:lnTo>
                  <a:lnTo>
                    <a:pt x="98103" y="866776"/>
                  </a:lnTo>
                  <a:lnTo>
                    <a:pt x="93926" y="866465"/>
                  </a:lnTo>
                  <a:lnTo>
                    <a:pt x="92320" y="866465"/>
                  </a:lnTo>
                  <a:lnTo>
                    <a:pt x="90392" y="865843"/>
                  </a:lnTo>
                  <a:lnTo>
                    <a:pt x="87822" y="864287"/>
                  </a:lnTo>
                  <a:lnTo>
                    <a:pt x="84931" y="861799"/>
                  </a:lnTo>
                  <a:lnTo>
                    <a:pt x="82360" y="858688"/>
                  </a:lnTo>
                  <a:lnTo>
                    <a:pt x="80433" y="855577"/>
                  </a:lnTo>
                  <a:lnTo>
                    <a:pt x="78505" y="851534"/>
                  </a:lnTo>
                  <a:lnTo>
                    <a:pt x="76899" y="847490"/>
                  </a:lnTo>
                  <a:lnTo>
                    <a:pt x="75613" y="843446"/>
                  </a:lnTo>
                  <a:lnTo>
                    <a:pt x="73686" y="834736"/>
                  </a:lnTo>
                  <a:lnTo>
                    <a:pt x="72079" y="827892"/>
                  </a:lnTo>
                  <a:lnTo>
                    <a:pt x="71437" y="820738"/>
                  </a:lnTo>
                  <a:close/>
                  <a:moveTo>
                    <a:pt x="471487" y="819150"/>
                  </a:moveTo>
                  <a:lnTo>
                    <a:pt x="470534" y="826277"/>
                  </a:lnTo>
                  <a:lnTo>
                    <a:pt x="468947" y="833729"/>
                  </a:lnTo>
                  <a:lnTo>
                    <a:pt x="467042" y="842152"/>
                  </a:lnTo>
                  <a:lnTo>
                    <a:pt x="465772" y="846688"/>
                  </a:lnTo>
                  <a:lnTo>
                    <a:pt x="464184" y="850900"/>
                  </a:lnTo>
                  <a:lnTo>
                    <a:pt x="462279" y="854788"/>
                  </a:lnTo>
                  <a:lnTo>
                    <a:pt x="460374" y="858675"/>
                  </a:lnTo>
                  <a:lnTo>
                    <a:pt x="457834" y="861591"/>
                  </a:lnTo>
                  <a:lnTo>
                    <a:pt x="455294" y="864507"/>
                  </a:lnTo>
                  <a:lnTo>
                    <a:pt x="452119" y="865803"/>
                  </a:lnTo>
                  <a:lnTo>
                    <a:pt x="450532" y="866451"/>
                  </a:lnTo>
                  <a:lnTo>
                    <a:pt x="449262" y="866775"/>
                  </a:lnTo>
                  <a:lnTo>
                    <a:pt x="445134" y="866775"/>
                  </a:lnTo>
                  <a:lnTo>
                    <a:pt x="441959" y="866451"/>
                  </a:lnTo>
                  <a:lnTo>
                    <a:pt x="439419" y="865155"/>
                  </a:lnTo>
                  <a:lnTo>
                    <a:pt x="437514" y="863535"/>
                  </a:lnTo>
                  <a:lnTo>
                    <a:pt x="435927" y="861267"/>
                  </a:lnTo>
                  <a:lnTo>
                    <a:pt x="434974" y="858999"/>
                  </a:lnTo>
                  <a:lnTo>
                    <a:pt x="434022" y="856084"/>
                  </a:lnTo>
                  <a:lnTo>
                    <a:pt x="434022" y="852520"/>
                  </a:lnTo>
                  <a:lnTo>
                    <a:pt x="433704" y="849280"/>
                  </a:lnTo>
                  <a:lnTo>
                    <a:pt x="433387" y="847012"/>
                  </a:lnTo>
                  <a:lnTo>
                    <a:pt x="432117" y="846040"/>
                  </a:lnTo>
                  <a:lnTo>
                    <a:pt x="431482" y="845068"/>
                  </a:lnTo>
                  <a:lnTo>
                    <a:pt x="430212" y="845716"/>
                  </a:lnTo>
                  <a:lnTo>
                    <a:pt x="429259" y="846364"/>
                  </a:lnTo>
                  <a:lnTo>
                    <a:pt x="428942" y="847984"/>
                  </a:lnTo>
                  <a:lnTo>
                    <a:pt x="428624" y="850252"/>
                  </a:lnTo>
                  <a:lnTo>
                    <a:pt x="427989" y="852844"/>
                  </a:lnTo>
                  <a:lnTo>
                    <a:pt x="426719" y="856408"/>
                  </a:lnTo>
                  <a:lnTo>
                    <a:pt x="424814" y="859647"/>
                  </a:lnTo>
                  <a:lnTo>
                    <a:pt x="422592" y="862563"/>
                  </a:lnTo>
                  <a:lnTo>
                    <a:pt x="420687" y="864831"/>
                  </a:lnTo>
                  <a:lnTo>
                    <a:pt x="419734" y="865155"/>
                  </a:lnTo>
                  <a:lnTo>
                    <a:pt x="419099" y="865479"/>
                  </a:lnTo>
                  <a:lnTo>
                    <a:pt x="418464" y="865155"/>
                  </a:lnTo>
                  <a:lnTo>
                    <a:pt x="417829" y="863859"/>
                  </a:lnTo>
                  <a:lnTo>
                    <a:pt x="417512" y="862563"/>
                  </a:lnTo>
                  <a:lnTo>
                    <a:pt x="417829" y="860619"/>
                  </a:lnTo>
                  <a:lnTo>
                    <a:pt x="419099" y="849280"/>
                  </a:lnTo>
                  <a:lnTo>
                    <a:pt x="419734" y="844096"/>
                  </a:lnTo>
                  <a:lnTo>
                    <a:pt x="421004" y="838913"/>
                  </a:lnTo>
                  <a:lnTo>
                    <a:pt x="422592" y="834377"/>
                  </a:lnTo>
                  <a:lnTo>
                    <a:pt x="424179" y="830489"/>
                  </a:lnTo>
                  <a:lnTo>
                    <a:pt x="425449" y="829193"/>
                  </a:lnTo>
                  <a:lnTo>
                    <a:pt x="426719" y="828221"/>
                  </a:lnTo>
                  <a:lnTo>
                    <a:pt x="427672" y="827573"/>
                  </a:lnTo>
                  <a:lnTo>
                    <a:pt x="429259" y="827249"/>
                  </a:lnTo>
                  <a:lnTo>
                    <a:pt x="471487" y="819150"/>
                  </a:lnTo>
                  <a:close/>
                  <a:moveTo>
                    <a:pt x="1825625" y="773113"/>
                  </a:moveTo>
                  <a:lnTo>
                    <a:pt x="1867021" y="773113"/>
                  </a:lnTo>
                  <a:lnTo>
                    <a:pt x="1873657" y="778074"/>
                  </a:lnTo>
                  <a:lnTo>
                    <a:pt x="1879660" y="782704"/>
                  </a:lnTo>
                  <a:lnTo>
                    <a:pt x="1885664" y="787996"/>
                  </a:lnTo>
                  <a:lnTo>
                    <a:pt x="1888192" y="790972"/>
                  </a:lnTo>
                  <a:lnTo>
                    <a:pt x="1890404" y="793618"/>
                  </a:lnTo>
                  <a:lnTo>
                    <a:pt x="1891668" y="796264"/>
                  </a:lnTo>
                  <a:lnTo>
                    <a:pt x="1891984" y="797587"/>
                  </a:lnTo>
                  <a:lnTo>
                    <a:pt x="1892300" y="798579"/>
                  </a:lnTo>
                  <a:lnTo>
                    <a:pt x="1891984" y="799902"/>
                  </a:lnTo>
                  <a:lnTo>
                    <a:pt x="1891668" y="801225"/>
                  </a:lnTo>
                  <a:lnTo>
                    <a:pt x="1891036" y="801886"/>
                  </a:lnTo>
                  <a:lnTo>
                    <a:pt x="1889772" y="802548"/>
                  </a:lnTo>
                  <a:lnTo>
                    <a:pt x="1888192" y="803540"/>
                  </a:lnTo>
                  <a:lnTo>
                    <a:pt x="1886296" y="804201"/>
                  </a:lnTo>
                  <a:lnTo>
                    <a:pt x="1881556" y="804863"/>
                  </a:lnTo>
                  <a:lnTo>
                    <a:pt x="1875237" y="804863"/>
                  </a:lnTo>
                  <a:lnTo>
                    <a:pt x="1869233" y="804201"/>
                  </a:lnTo>
                  <a:lnTo>
                    <a:pt x="1863861" y="802878"/>
                  </a:lnTo>
                  <a:lnTo>
                    <a:pt x="1859121" y="801556"/>
                  </a:lnTo>
                  <a:lnTo>
                    <a:pt x="1854697" y="799240"/>
                  </a:lnTo>
                  <a:lnTo>
                    <a:pt x="1849957" y="796595"/>
                  </a:lnTo>
                  <a:lnTo>
                    <a:pt x="1846481" y="793949"/>
                  </a:lnTo>
                  <a:lnTo>
                    <a:pt x="1842373" y="790972"/>
                  </a:lnTo>
                  <a:lnTo>
                    <a:pt x="1840477" y="789649"/>
                  </a:lnTo>
                  <a:lnTo>
                    <a:pt x="1839213" y="789319"/>
                  </a:lnTo>
                  <a:lnTo>
                    <a:pt x="1838581" y="789319"/>
                  </a:lnTo>
                  <a:lnTo>
                    <a:pt x="1838265" y="789649"/>
                  </a:lnTo>
                  <a:lnTo>
                    <a:pt x="1837317" y="790972"/>
                  </a:lnTo>
                  <a:lnTo>
                    <a:pt x="1837317" y="791303"/>
                  </a:lnTo>
                  <a:lnTo>
                    <a:pt x="1836685" y="791303"/>
                  </a:lnTo>
                  <a:lnTo>
                    <a:pt x="1832261" y="791303"/>
                  </a:lnTo>
                  <a:lnTo>
                    <a:pt x="1829417" y="790972"/>
                  </a:lnTo>
                  <a:lnTo>
                    <a:pt x="1827521" y="790642"/>
                  </a:lnTo>
                  <a:lnTo>
                    <a:pt x="1826573" y="782704"/>
                  </a:lnTo>
                  <a:lnTo>
                    <a:pt x="1826257" y="778074"/>
                  </a:lnTo>
                  <a:lnTo>
                    <a:pt x="1826573" y="775759"/>
                  </a:lnTo>
                  <a:lnTo>
                    <a:pt x="1826573" y="774767"/>
                  </a:lnTo>
                  <a:lnTo>
                    <a:pt x="1825625" y="773113"/>
                  </a:lnTo>
                  <a:close/>
                  <a:moveTo>
                    <a:pt x="1722120" y="773113"/>
                  </a:moveTo>
                  <a:lnTo>
                    <a:pt x="1763712" y="773113"/>
                  </a:lnTo>
                  <a:lnTo>
                    <a:pt x="1762760" y="774767"/>
                  </a:lnTo>
                  <a:lnTo>
                    <a:pt x="1763077" y="775759"/>
                  </a:lnTo>
                  <a:lnTo>
                    <a:pt x="1763077" y="778074"/>
                  </a:lnTo>
                  <a:lnTo>
                    <a:pt x="1762760" y="782704"/>
                  </a:lnTo>
                  <a:lnTo>
                    <a:pt x="1761807" y="790642"/>
                  </a:lnTo>
                  <a:lnTo>
                    <a:pt x="1759902" y="790972"/>
                  </a:lnTo>
                  <a:lnTo>
                    <a:pt x="1757680" y="791303"/>
                  </a:lnTo>
                  <a:lnTo>
                    <a:pt x="1752600" y="791303"/>
                  </a:lnTo>
                  <a:lnTo>
                    <a:pt x="1752282" y="791303"/>
                  </a:lnTo>
                  <a:lnTo>
                    <a:pt x="1751965" y="790972"/>
                  </a:lnTo>
                  <a:lnTo>
                    <a:pt x="1751330" y="789649"/>
                  </a:lnTo>
                  <a:lnTo>
                    <a:pt x="1750695" y="789319"/>
                  </a:lnTo>
                  <a:lnTo>
                    <a:pt x="1750060" y="789319"/>
                  </a:lnTo>
                  <a:lnTo>
                    <a:pt x="1748790" y="789649"/>
                  </a:lnTo>
                  <a:lnTo>
                    <a:pt x="1747202" y="790972"/>
                  </a:lnTo>
                  <a:lnTo>
                    <a:pt x="1743392" y="793949"/>
                  </a:lnTo>
                  <a:lnTo>
                    <a:pt x="1739265" y="796595"/>
                  </a:lnTo>
                  <a:lnTo>
                    <a:pt x="1734502" y="799240"/>
                  </a:lnTo>
                  <a:lnTo>
                    <a:pt x="1730057" y="801556"/>
                  </a:lnTo>
                  <a:lnTo>
                    <a:pt x="1725295" y="802878"/>
                  </a:lnTo>
                  <a:lnTo>
                    <a:pt x="1719897" y="804201"/>
                  </a:lnTo>
                  <a:lnTo>
                    <a:pt x="1713865" y="804863"/>
                  </a:lnTo>
                  <a:lnTo>
                    <a:pt x="1707515" y="804863"/>
                  </a:lnTo>
                  <a:lnTo>
                    <a:pt x="1702752" y="804201"/>
                  </a:lnTo>
                  <a:lnTo>
                    <a:pt x="1700847" y="803540"/>
                  </a:lnTo>
                  <a:lnTo>
                    <a:pt x="1699260" y="802548"/>
                  </a:lnTo>
                  <a:lnTo>
                    <a:pt x="1698307" y="801886"/>
                  </a:lnTo>
                  <a:lnTo>
                    <a:pt x="1697355" y="801225"/>
                  </a:lnTo>
                  <a:lnTo>
                    <a:pt x="1697037" y="799902"/>
                  </a:lnTo>
                  <a:lnTo>
                    <a:pt x="1697037" y="798579"/>
                  </a:lnTo>
                  <a:lnTo>
                    <a:pt x="1697037" y="797587"/>
                  </a:lnTo>
                  <a:lnTo>
                    <a:pt x="1697355" y="796264"/>
                  </a:lnTo>
                  <a:lnTo>
                    <a:pt x="1698625" y="793618"/>
                  </a:lnTo>
                  <a:lnTo>
                    <a:pt x="1700847" y="790972"/>
                  </a:lnTo>
                  <a:lnTo>
                    <a:pt x="1703387" y="787996"/>
                  </a:lnTo>
                  <a:lnTo>
                    <a:pt x="1709420" y="782704"/>
                  </a:lnTo>
                  <a:lnTo>
                    <a:pt x="1715452" y="778074"/>
                  </a:lnTo>
                  <a:lnTo>
                    <a:pt x="1722120" y="773113"/>
                  </a:lnTo>
                  <a:close/>
                  <a:moveTo>
                    <a:pt x="1800322" y="754463"/>
                  </a:moveTo>
                  <a:lnTo>
                    <a:pt x="1784168" y="754780"/>
                  </a:lnTo>
                  <a:lnTo>
                    <a:pt x="1768964" y="756049"/>
                  </a:lnTo>
                  <a:lnTo>
                    <a:pt x="1767697" y="764936"/>
                  </a:lnTo>
                  <a:lnTo>
                    <a:pt x="1720500" y="765888"/>
                  </a:lnTo>
                  <a:lnTo>
                    <a:pt x="1720183" y="764618"/>
                  </a:lnTo>
                  <a:lnTo>
                    <a:pt x="1713215" y="766522"/>
                  </a:lnTo>
                  <a:lnTo>
                    <a:pt x="1706880" y="768744"/>
                  </a:lnTo>
                  <a:lnTo>
                    <a:pt x="1700861" y="770966"/>
                  </a:lnTo>
                  <a:lnTo>
                    <a:pt x="1695476" y="773187"/>
                  </a:lnTo>
                  <a:lnTo>
                    <a:pt x="1690092" y="776043"/>
                  </a:lnTo>
                  <a:lnTo>
                    <a:pt x="1685340" y="778265"/>
                  </a:lnTo>
                  <a:lnTo>
                    <a:pt x="1680589" y="780804"/>
                  </a:lnTo>
                  <a:lnTo>
                    <a:pt x="1676471" y="783343"/>
                  </a:lnTo>
                  <a:lnTo>
                    <a:pt x="1673304" y="786199"/>
                  </a:lnTo>
                  <a:lnTo>
                    <a:pt x="1670136" y="789055"/>
                  </a:lnTo>
                  <a:lnTo>
                    <a:pt x="1667602" y="791594"/>
                  </a:lnTo>
                  <a:lnTo>
                    <a:pt x="1665385" y="794451"/>
                  </a:lnTo>
                  <a:lnTo>
                    <a:pt x="1663484" y="796989"/>
                  </a:lnTo>
                  <a:lnTo>
                    <a:pt x="1662217" y="799528"/>
                  </a:lnTo>
                  <a:lnTo>
                    <a:pt x="1661584" y="802067"/>
                  </a:lnTo>
                  <a:lnTo>
                    <a:pt x="1661267" y="804924"/>
                  </a:lnTo>
                  <a:lnTo>
                    <a:pt x="1661584" y="806828"/>
                  </a:lnTo>
                  <a:lnTo>
                    <a:pt x="1661900" y="808732"/>
                  </a:lnTo>
                  <a:lnTo>
                    <a:pt x="1662534" y="810954"/>
                  </a:lnTo>
                  <a:lnTo>
                    <a:pt x="1663801" y="813175"/>
                  </a:lnTo>
                  <a:lnTo>
                    <a:pt x="1665068" y="815079"/>
                  </a:lnTo>
                  <a:lnTo>
                    <a:pt x="1666969" y="817301"/>
                  </a:lnTo>
                  <a:lnTo>
                    <a:pt x="1671086" y="821427"/>
                  </a:lnTo>
                  <a:lnTo>
                    <a:pt x="1676154" y="825870"/>
                  </a:lnTo>
                  <a:lnTo>
                    <a:pt x="1682490" y="829995"/>
                  </a:lnTo>
                  <a:lnTo>
                    <a:pt x="1690092" y="833804"/>
                  </a:lnTo>
                  <a:lnTo>
                    <a:pt x="1698644" y="837930"/>
                  </a:lnTo>
                  <a:lnTo>
                    <a:pt x="1708147" y="841421"/>
                  </a:lnTo>
                  <a:lnTo>
                    <a:pt x="1718600" y="844594"/>
                  </a:lnTo>
                  <a:lnTo>
                    <a:pt x="1729686" y="847768"/>
                  </a:lnTo>
                  <a:lnTo>
                    <a:pt x="1742356" y="849989"/>
                  </a:lnTo>
                  <a:lnTo>
                    <a:pt x="1755660" y="852211"/>
                  </a:lnTo>
                  <a:lnTo>
                    <a:pt x="1769597" y="853798"/>
                  </a:lnTo>
                  <a:lnTo>
                    <a:pt x="1784485" y="854750"/>
                  </a:lnTo>
                  <a:lnTo>
                    <a:pt x="1800322" y="854750"/>
                  </a:lnTo>
                  <a:lnTo>
                    <a:pt x="1816477" y="854750"/>
                  </a:lnTo>
                  <a:lnTo>
                    <a:pt x="1831048" y="853798"/>
                  </a:lnTo>
                  <a:lnTo>
                    <a:pt x="1845302" y="852211"/>
                  </a:lnTo>
                  <a:lnTo>
                    <a:pt x="1858605" y="849989"/>
                  </a:lnTo>
                  <a:lnTo>
                    <a:pt x="1870959" y="847768"/>
                  </a:lnTo>
                  <a:lnTo>
                    <a:pt x="1882362" y="844594"/>
                  </a:lnTo>
                  <a:lnTo>
                    <a:pt x="1893132" y="841421"/>
                  </a:lnTo>
                  <a:lnTo>
                    <a:pt x="1902318" y="837930"/>
                  </a:lnTo>
                  <a:lnTo>
                    <a:pt x="1910870" y="833804"/>
                  </a:lnTo>
                  <a:lnTo>
                    <a:pt x="1918472" y="829995"/>
                  </a:lnTo>
                  <a:lnTo>
                    <a:pt x="1924807" y="825870"/>
                  </a:lnTo>
                  <a:lnTo>
                    <a:pt x="1930192" y="821427"/>
                  </a:lnTo>
                  <a:lnTo>
                    <a:pt x="1934310" y="817301"/>
                  </a:lnTo>
                  <a:lnTo>
                    <a:pt x="1935894" y="815079"/>
                  </a:lnTo>
                  <a:lnTo>
                    <a:pt x="1937161" y="813175"/>
                  </a:lnTo>
                  <a:lnTo>
                    <a:pt x="1938428" y="810954"/>
                  </a:lnTo>
                  <a:lnTo>
                    <a:pt x="1939061" y="808732"/>
                  </a:lnTo>
                  <a:lnTo>
                    <a:pt x="1939378" y="806828"/>
                  </a:lnTo>
                  <a:lnTo>
                    <a:pt x="1939378" y="804924"/>
                  </a:lnTo>
                  <a:lnTo>
                    <a:pt x="1939378" y="801750"/>
                  </a:lnTo>
                  <a:lnTo>
                    <a:pt x="1938428" y="799211"/>
                  </a:lnTo>
                  <a:lnTo>
                    <a:pt x="1936844" y="796037"/>
                  </a:lnTo>
                  <a:lnTo>
                    <a:pt x="1934627" y="793181"/>
                  </a:lnTo>
                  <a:lnTo>
                    <a:pt x="1932093" y="790325"/>
                  </a:lnTo>
                  <a:lnTo>
                    <a:pt x="1928925" y="787151"/>
                  </a:lnTo>
                  <a:lnTo>
                    <a:pt x="1924807" y="784295"/>
                  </a:lnTo>
                  <a:lnTo>
                    <a:pt x="1920689" y="781121"/>
                  </a:lnTo>
                  <a:lnTo>
                    <a:pt x="1915938" y="778265"/>
                  </a:lnTo>
                  <a:lnTo>
                    <a:pt x="1910236" y="775409"/>
                  </a:lnTo>
                  <a:lnTo>
                    <a:pt x="1904218" y="772870"/>
                  </a:lnTo>
                  <a:lnTo>
                    <a:pt x="1897883" y="770331"/>
                  </a:lnTo>
                  <a:lnTo>
                    <a:pt x="1890914" y="767475"/>
                  </a:lnTo>
                  <a:lnTo>
                    <a:pt x="1883629" y="765253"/>
                  </a:lnTo>
                  <a:lnTo>
                    <a:pt x="1875710" y="763349"/>
                  </a:lnTo>
                  <a:lnTo>
                    <a:pt x="1867158" y="761127"/>
                  </a:lnTo>
                  <a:lnTo>
                    <a:pt x="1867158" y="765888"/>
                  </a:lnTo>
                  <a:lnTo>
                    <a:pt x="1821228" y="765888"/>
                  </a:lnTo>
                  <a:lnTo>
                    <a:pt x="1820278" y="755097"/>
                  </a:lnTo>
                  <a:lnTo>
                    <a:pt x="1810459" y="754780"/>
                  </a:lnTo>
                  <a:lnTo>
                    <a:pt x="1800322" y="754463"/>
                  </a:lnTo>
                  <a:close/>
                  <a:moveTo>
                    <a:pt x="2034836" y="711200"/>
                  </a:moveTo>
                  <a:lnTo>
                    <a:pt x="2039938" y="721912"/>
                  </a:lnTo>
                  <a:lnTo>
                    <a:pt x="1973603" y="752475"/>
                  </a:lnTo>
                  <a:lnTo>
                    <a:pt x="1968500" y="741762"/>
                  </a:lnTo>
                  <a:lnTo>
                    <a:pt x="2034836" y="711200"/>
                  </a:lnTo>
                  <a:close/>
                  <a:moveTo>
                    <a:pt x="1625600" y="692150"/>
                  </a:moveTo>
                  <a:lnTo>
                    <a:pt x="1697038" y="735585"/>
                  </a:lnTo>
                  <a:lnTo>
                    <a:pt x="1690688" y="746125"/>
                  </a:lnTo>
                  <a:lnTo>
                    <a:pt x="1619250" y="702689"/>
                  </a:lnTo>
                  <a:lnTo>
                    <a:pt x="1625600" y="692150"/>
                  </a:lnTo>
                  <a:close/>
                  <a:moveTo>
                    <a:pt x="1231408" y="690563"/>
                  </a:moveTo>
                  <a:lnTo>
                    <a:pt x="1244414" y="691513"/>
                  </a:lnTo>
                  <a:lnTo>
                    <a:pt x="1256468" y="692463"/>
                  </a:lnTo>
                  <a:lnTo>
                    <a:pt x="1267888" y="694046"/>
                  </a:lnTo>
                  <a:lnTo>
                    <a:pt x="1279308" y="696262"/>
                  </a:lnTo>
                  <a:lnTo>
                    <a:pt x="1289776" y="698795"/>
                  </a:lnTo>
                  <a:lnTo>
                    <a:pt x="1299927" y="702277"/>
                  </a:lnTo>
                  <a:lnTo>
                    <a:pt x="1309761" y="705760"/>
                  </a:lnTo>
                  <a:lnTo>
                    <a:pt x="1318643" y="708926"/>
                  </a:lnTo>
                  <a:lnTo>
                    <a:pt x="1327208" y="713042"/>
                  </a:lnTo>
                  <a:lnTo>
                    <a:pt x="1335773" y="716841"/>
                  </a:lnTo>
                  <a:lnTo>
                    <a:pt x="1343069" y="720957"/>
                  </a:lnTo>
                  <a:lnTo>
                    <a:pt x="1350047" y="725073"/>
                  </a:lnTo>
                  <a:lnTo>
                    <a:pt x="1356392" y="729189"/>
                  </a:lnTo>
                  <a:lnTo>
                    <a:pt x="1367494" y="737104"/>
                  </a:lnTo>
                  <a:lnTo>
                    <a:pt x="1376059" y="744386"/>
                  </a:lnTo>
                  <a:lnTo>
                    <a:pt x="1382721" y="749769"/>
                  </a:lnTo>
                  <a:lnTo>
                    <a:pt x="1387479" y="754834"/>
                  </a:lnTo>
                  <a:lnTo>
                    <a:pt x="1385893" y="758634"/>
                  </a:lnTo>
                  <a:lnTo>
                    <a:pt x="1383672" y="762750"/>
                  </a:lnTo>
                  <a:lnTo>
                    <a:pt x="1380183" y="768132"/>
                  </a:lnTo>
                  <a:lnTo>
                    <a:pt x="1376694" y="774147"/>
                  </a:lnTo>
                  <a:lnTo>
                    <a:pt x="1371301" y="780796"/>
                  </a:lnTo>
                  <a:lnTo>
                    <a:pt x="1365274" y="787445"/>
                  </a:lnTo>
                  <a:lnTo>
                    <a:pt x="1361784" y="790928"/>
                  </a:lnTo>
                  <a:lnTo>
                    <a:pt x="1358295" y="793777"/>
                  </a:lnTo>
                  <a:lnTo>
                    <a:pt x="1354488" y="796627"/>
                  </a:lnTo>
                  <a:lnTo>
                    <a:pt x="1350047" y="799793"/>
                  </a:lnTo>
                  <a:lnTo>
                    <a:pt x="1345924" y="802326"/>
                  </a:lnTo>
                  <a:lnTo>
                    <a:pt x="1340848" y="804542"/>
                  </a:lnTo>
                  <a:lnTo>
                    <a:pt x="1336090" y="806758"/>
                  </a:lnTo>
                  <a:lnTo>
                    <a:pt x="1330380" y="808658"/>
                  </a:lnTo>
                  <a:lnTo>
                    <a:pt x="1324987" y="809924"/>
                  </a:lnTo>
                  <a:lnTo>
                    <a:pt x="1318960" y="810874"/>
                  </a:lnTo>
                  <a:lnTo>
                    <a:pt x="1312616" y="811507"/>
                  </a:lnTo>
                  <a:lnTo>
                    <a:pt x="1306271" y="811507"/>
                  </a:lnTo>
                  <a:lnTo>
                    <a:pt x="1299610" y="810557"/>
                  </a:lnTo>
                  <a:lnTo>
                    <a:pt x="1292948" y="809608"/>
                  </a:lnTo>
                  <a:lnTo>
                    <a:pt x="1285335" y="807708"/>
                  </a:lnTo>
                  <a:lnTo>
                    <a:pt x="1277405" y="805492"/>
                  </a:lnTo>
                  <a:lnTo>
                    <a:pt x="1269474" y="802009"/>
                  </a:lnTo>
                  <a:lnTo>
                    <a:pt x="1261227" y="798210"/>
                  </a:lnTo>
                  <a:lnTo>
                    <a:pt x="1251710" y="793777"/>
                  </a:lnTo>
                  <a:lnTo>
                    <a:pt x="1242194" y="789345"/>
                  </a:lnTo>
                  <a:lnTo>
                    <a:pt x="1281529" y="808341"/>
                  </a:lnTo>
                  <a:lnTo>
                    <a:pt x="1300244" y="816890"/>
                  </a:lnTo>
                  <a:lnTo>
                    <a:pt x="1309444" y="820689"/>
                  </a:lnTo>
                  <a:lnTo>
                    <a:pt x="1318009" y="823855"/>
                  </a:lnTo>
                  <a:lnTo>
                    <a:pt x="1326256" y="826388"/>
                  </a:lnTo>
                  <a:lnTo>
                    <a:pt x="1334187" y="828287"/>
                  </a:lnTo>
                  <a:lnTo>
                    <a:pt x="1341483" y="829870"/>
                  </a:lnTo>
                  <a:lnTo>
                    <a:pt x="1348779" y="830187"/>
                  </a:lnTo>
                  <a:lnTo>
                    <a:pt x="1352268" y="830187"/>
                  </a:lnTo>
                  <a:lnTo>
                    <a:pt x="1355440" y="829870"/>
                  </a:lnTo>
                  <a:lnTo>
                    <a:pt x="1358929" y="828921"/>
                  </a:lnTo>
                  <a:lnTo>
                    <a:pt x="1361784" y="828287"/>
                  </a:lnTo>
                  <a:lnTo>
                    <a:pt x="1364957" y="827021"/>
                  </a:lnTo>
                  <a:lnTo>
                    <a:pt x="1367494" y="826071"/>
                  </a:lnTo>
                  <a:lnTo>
                    <a:pt x="1370032" y="824488"/>
                  </a:lnTo>
                  <a:lnTo>
                    <a:pt x="1372887" y="822272"/>
                  </a:lnTo>
                  <a:lnTo>
                    <a:pt x="1373521" y="829554"/>
                  </a:lnTo>
                  <a:lnTo>
                    <a:pt x="1374473" y="835886"/>
                  </a:lnTo>
                  <a:lnTo>
                    <a:pt x="1374790" y="848234"/>
                  </a:lnTo>
                  <a:lnTo>
                    <a:pt x="1374790" y="860265"/>
                  </a:lnTo>
                  <a:lnTo>
                    <a:pt x="1373839" y="871346"/>
                  </a:lnTo>
                  <a:lnTo>
                    <a:pt x="1376059" y="869130"/>
                  </a:lnTo>
                  <a:lnTo>
                    <a:pt x="1377328" y="868813"/>
                  </a:lnTo>
                  <a:lnTo>
                    <a:pt x="1377962" y="868497"/>
                  </a:lnTo>
                  <a:lnTo>
                    <a:pt x="1379549" y="868813"/>
                  </a:lnTo>
                  <a:lnTo>
                    <a:pt x="1381135" y="869446"/>
                  </a:lnTo>
                  <a:lnTo>
                    <a:pt x="1382721" y="871030"/>
                  </a:lnTo>
                  <a:lnTo>
                    <a:pt x="1383672" y="872929"/>
                  </a:lnTo>
                  <a:lnTo>
                    <a:pt x="1384941" y="875462"/>
                  </a:lnTo>
                  <a:lnTo>
                    <a:pt x="1385893" y="878628"/>
                  </a:lnTo>
                  <a:lnTo>
                    <a:pt x="1388113" y="885277"/>
                  </a:lnTo>
                  <a:lnTo>
                    <a:pt x="1390017" y="893825"/>
                  </a:lnTo>
                  <a:lnTo>
                    <a:pt x="1391286" y="903640"/>
                  </a:lnTo>
                  <a:lnTo>
                    <a:pt x="1391920" y="914405"/>
                  </a:lnTo>
                  <a:lnTo>
                    <a:pt x="1392237" y="926119"/>
                  </a:lnTo>
                  <a:lnTo>
                    <a:pt x="1391920" y="937834"/>
                  </a:lnTo>
                  <a:lnTo>
                    <a:pt x="1391286" y="948599"/>
                  </a:lnTo>
                  <a:lnTo>
                    <a:pt x="1390017" y="958413"/>
                  </a:lnTo>
                  <a:lnTo>
                    <a:pt x="1388113" y="966645"/>
                  </a:lnTo>
                  <a:lnTo>
                    <a:pt x="1385893" y="973611"/>
                  </a:lnTo>
                  <a:lnTo>
                    <a:pt x="1384941" y="976777"/>
                  </a:lnTo>
                  <a:lnTo>
                    <a:pt x="1383672" y="978993"/>
                  </a:lnTo>
                  <a:lnTo>
                    <a:pt x="1382721" y="980893"/>
                  </a:lnTo>
                  <a:lnTo>
                    <a:pt x="1381135" y="982476"/>
                  </a:lnTo>
                  <a:lnTo>
                    <a:pt x="1379549" y="983425"/>
                  </a:lnTo>
                  <a:lnTo>
                    <a:pt x="1377962" y="983425"/>
                  </a:lnTo>
                  <a:lnTo>
                    <a:pt x="1376694" y="983425"/>
                  </a:lnTo>
                  <a:lnTo>
                    <a:pt x="1375425" y="982476"/>
                  </a:lnTo>
                  <a:lnTo>
                    <a:pt x="1373839" y="980893"/>
                  </a:lnTo>
                  <a:lnTo>
                    <a:pt x="1372570" y="978676"/>
                  </a:lnTo>
                  <a:lnTo>
                    <a:pt x="1371301" y="976143"/>
                  </a:lnTo>
                  <a:lnTo>
                    <a:pt x="1370032" y="972977"/>
                  </a:lnTo>
                  <a:lnTo>
                    <a:pt x="1367812" y="965379"/>
                  </a:lnTo>
                  <a:lnTo>
                    <a:pt x="1366860" y="975194"/>
                  </a:lnTo>
                  <a:lnTo>
                    <a:pt x="1364957" y="985325"/>
                  </a:lnTo>
                  <a:lnTo>
                    <a:pt x="1363053" y="994823"/>
                  </a:lnTo>
                  <a:lnTo>
                    <a:pt x="1360516" y="1004005"/>
                  </a:lnTo>
                  <a:lnTo>
                    <a:pt x="1357661" y="1013187"/>
                  </a:lnTo>
                  <a:lnTo>
                    <a:pt x="1354806" y="1021735"/>
                  </a:lnTo>
                  <a:lnTo>
                    <a:pt x="1351316" y="1030283"/>
                  </a:lnTo>
                  <a:lnTo>
                    <a:pt x="1347510" y="1038515"/>
                  </a:lnTo>
                  <a:lnTo>
                    <a:pt x="1343386" y="1046430"/>
                  </a:lnTo>
                  <a:lnTo>
                    <a:pt x="1339262" y="1054346"/>
                  </a:lnTo>
                  <a:lnTo>
                    <a:pt x="1334821" y="1061628"/>
                  </a:lnTo>
                  <a:lnTo>
                    <a:pt x="1330380" y="1068593"/>
                  </a:lnTo>
                  <a:lnTo>
                    <a:pt x="1325622" y="1075242"/>
                  </a:lnTo>
                  <a:lnTo>
                    <a:pt x="1320546" y="1081891"/>
                  </a:lnTo>
                  <a:lnTo>
                    <a:pt x="1315471" y="1088223"/>
                  </a:lnTo>
                  <a:lnTo>
                    <a:pt x="1309761" y="1094238"/>
                  </a:lnTo>
                  <a:lnTo>
                    <a:pt x="1304368" y="1099304"/>
                  </a:lnTo>
                  <a:lnTo>
                    <a:pt x="1298658" y="1104686"/>
                  </a:lnTo>
                  <a:lnTo>
                    <a:pt x="1293266" y="1109435"/>
                  </a:lnTo>
                  <a:lnTo>
                    <a:pt x="1287238" y="1113868"/>
                  </a:lnTo>
                  <a:lnTo>
                    <a:pt x="1281211" y="1118617"/>
                  </a:lnTo>
                  <a:lnTo>
                    <a:pt x="1275501" y="1122100"/>
                  </a:lnTo>
                  <a:lnTo>
                    <a:pt x="1269474" y="1125899"/>
                  </a:lnTo>
                  <a:lnTo>
                    <a:pt x="1263447" y="1129065"/>
                  </a:lnTo>
                  <a:lnTo>
                    <a:pt x="1257420" y="1131915"/>
                  </a:lnTo>
                  <a:lnTo>
                    <a:pt x="1251393" y="1134131"/>
                  </a:lnTo>
                  <a:lnTo>
                    <a:pt x="1245366" y="1136347"/>
                  </a:lnTo>
                  <a:lnTo>
                    <a:pt x="1239339" y="1137930"/>
                  </a:lnTo>
                  <a:lnTo>
                    <a:pt x="1233312" y="1139513"/>
                  </a:lnTo>
                  <a:lnTo>
                    <a:pt x="1227919" y="1140463"/>
                  </a:lnTo>
                  <a:lnTo>
                    <a:pt x="1222209" y="1141096"/>
                  </a:lnTo>
                  <a:lnTo>
                    <a:pt x="1216499" y="1141413"/>
                  </a:lnTo>
                  <a:lnTo>
                    <a:pt x="1212058" y="1141096"/>
                  </a:lnTo>
                  <a:lnTo>
                    <a:pt x="1207617" y="1140146"/>
                  </a:lnTo>
                  <a:lnTo>
                    <a:pt x="1202542" y="1139513"/>
                  </a:lnTo>
                  <a:lnTo>
                    <a:pt x="1197466" y="1137930"/>
                  </a:lnTo>
                  <a:lnTo>
                    <a:pt x="1192073" y="1136031"/>
                  </a:lnTo>
                  <a:lnTo>
                    <a:pt x="1186998" y="1133814"/>
                  </a:lnTo>
                  <a:lnTo>
                    <a:pt x="1181288" y="1131281"/>
                  </a:lnTo>
                  <a:lnTo>
                    <a:pt x="1175895" y="1128749"/>
                  </a:lnTo>
                  <a:lnTo>
                    <a:pt x="1170186" y="1125266"/>
                  </a:lnTo>
                  <a:lnTo>
                    <a:pt x="1164476" y="1121467"/>
                  </a:lnTo>
                  <a:lnTo>
                    <a:pt x="1158766" y="1117667"/>
                  </a:lnTo>
                  <a:lnTo>
                    <a:pt x="1153056" y="1113235"/>
                  </a:lnTo>
                  <a:lnTo>
                    <a:pt x="1147029" y="1108802"/>
                  </a:lnTo>
                  <a:lnTo>
                    <a:pt x="1141319" y="1103736"/>
                  </a:lnTo>
                  <a:lnTo>
                    <a:pt x="1135926" y="1098671"/>
                  </a:lnTo>
                  <a:lnTo>
                    <a:pt x="1130216" y="1092972"/>
                  </a:lnTo>
                  <a:lnTo>
                    <a:pt x="1124506" y="1087273"/>
                  </a:lnTo>
                  <a:lnTo>
                    <a:pt x="1118796" y="1080941"/>
                  </a:lnTo>
                  <a:lnTo>
                    <a:pt x="1113721" y="1074925"/>
                  </a:lnTo>
                  <a:lnTo>
                    <a:pt x="1108011" y="1068276"/>
                  </a:lnTo>
                  <a:lnTo>
                    <a:pt x="1102936" y="1061628"/>
                  </a:lnTo>
                  <a:lnTo>
                    <a:pt x="1097860" y="1054346"/>
                  </a:lnTo>
                  <a:lnTo>
                    <a:pt x="1092785" y="1046747"/>
                  </a:lnTo>
                  <a:lnTo>
                    <a:pt x="1088344" y="1039465"/>
                  </a:lnTo>
                  <a:lnTo>
                    <a:pt x="1083903" y="1031550"/>
                  </a:lnTo>
                  <a:lnTo>
                    <a:pt x="1079779" y="1023635"/>
                  </a:lnTo>
                  <a:lnTo>
                    <a:pt x="1075655" y="1015403"/>
                  </a:lnTo>
                  <a:lnTo>
                    <a:pt x="1071848" y="1007171"/>
                  </a:lnTo>
                  <a:lnTo>
                    <a:pt x="1068676" y="998623"/>
                  </a:lnTo>
                  <a:lnTo>
                    <a:pt x="1065187" y="989758"/>
                  </a:lnTo>
                  <a:lnTo>
                    <a:pt x="1062649" y="980893"/>
                  </a:lnTo>
                  <a:lnTo>
                    <a:pt x="1059794" y="972028"/>
                  </a:lnTo>
                  <a:lnTo>
                    <a:pt x="1057891" y="977726"/>
                  </a:lnTo>
                  <a:lnTo>
                    <a:pt x="1055670" y="982476"/>
                  </a:lnTo>
                  <a:lnTo>
                    <a:pt x="1054719" y="984375"/>
                  </a:lnTo>
                  <a:lnTo>
                    <a:pt x="1053133" y="985325"/>
                  </a:lnTo>
                  <a:lnTo>
                    <a:pt x="1051864" y="986275"/>
                  </a:lnTo>
                  <a:lnTo>
                    <a:pt x="1050595" y="986591"/>
                  </a:lnTo>
                  <a:lnTo>
                    <a:pt x="1049326" y="986275"/>
                  </a:lnTo>
                  <a:lnTo>
                    <a:pt x="1047740" y="985325"/>
                  </a:lnTo>
                  <a:lnTo>
                    <a:pt x="1046471" y="983742"/>
                  </a:lnTo>
                  <a:lnTo>
                    <a:pt x="1045202" y="982159"/>
                  </a:lnTo>
                  <a:lnTo>
                    <a:pt x="1044250" y="979309"/>
                  </a:lnTo>
                  <a:lnTo>
                    <a:pt x="1042664" y="976460"/>
                  </a:lnTo>
                  <a:lnTo>
                    <a:pt x="1040761" y="969495"/>
                  </a:lnTo>
                  <a:lnTo>
                    <a:pt x="1038858" y="960946"/>
                  </a:lnTo>
                  <a:lnTo>
                    <a:pt x="1037589" y="951131"/>
                  </a:lnTo>
                  <a:lnTo>
                    <a:pt x="1036954" y="940367"/>
                  </a:lnTo>
                  <a:lnTo>
                    <a:pt x="1036637" y="928652"/>
                  </a:lnTo>
                  <a:lnTo>
                    <a:pt x="1036954" y="917254"/>
                  </a:lnTo>
                  <a:lnTo>
                    <a:pt x="1037589" y="906173"/>
                  </a:lnTo>
                  <a:lnTo>
                    <a:pt x="1038858" y="896358"/>
                  </a:lnTo>
                  <a:lnTo>
                    <a:pt x="1040761" y="888126"/>
                  </a:lnTo>
                  <a:lnTo>
                    <a:pt x="1042664" y="881161"/>
                  </a:lnTo>
                  <a:lnTo>
                    <a:pt x="1044250" y="877995"/>
                  </a:lnTo>
                  <a:lnTo>
                    <a:pt x="1045202" y="875779"/>
                  </a:lnTo>
                  <a:lnTo>
                    <a:pt x="1046471" y="873879"/>
                  </a:lnTo>
                  <a:lnTo>
                    <a:pt x="1047740" y="872613"/>
                  </a:lnTo>
                  <a:lnTo>
                    <a:pt x="1049326" y="871346"/>
                  </a:lnTo>
                  <a:lnTo>
                    <a:pt x="1050595" y="871346"/>
                  </a:lnTo>
                  <a:lnTo>
                    <a:pt x="1051546" y="871346"/>
                  </a:lnTo>
                  <a:lnTo>
                    <a:pt x="1052498" y="871663"/>
                  </a:lnTo>
                  <a:lnTo>
                    <a:pt x="1052815" y="864381"/>
                  </a:lnTo>
                  <a:lnTo>
                    <a:pt x="1053133" y="856782"/>
                  </a:lnTo>
                  <a:lnTo>
                    <a:pt x="1053767" y="850133"/>
                  </a:lnTo>
                  <a:lnTo>
                    <a:pt x="1055036" y="843801"/>
                  </a:lnTo>
                  <a:lnTo>
                    <a:pt x="1054719" y="835886"/>
                  </a:lnTo>
                  <a:lnTo>
                    <a:pt x="1054401" y="827971"/>
                  </a:lnTo>
                  <a:lnTo>
                    <a:pt x="1054401" y="820689"/>
                  </a:lnTo>
                  <a:lnTo>
                    <a:pt x="1054401" y="814040"/>
                  </a:lnTo>
                  <a:lnTo>
                    <a:pt x="1055036" y="807708"/>
                  </a:lnTo>
                  <a:lnTo>
                    <a:pt x="1055670" y="801692"/>
                  </a:lnTo>
                  <a:lnTo>
                    <a:pt x="1057256" y="796310"/>
                  </a:lnTo>
                  <a:lnTo>
                    <a:pt x="1058842" y="791244"/>
                  </a:lnTo>
                  <a:lnTo>
                    <a:pt x="1060746" y="786179"/>
                  </a:lnTo>
                  <a:lnTo>
                    <a:pt x="1062649" y="781746"/>
                  </a:lnTo>
                  <a:lnTo>
                    <a:pt x="1064870" y="777630"/>
                  </a:lnTo>
                  <a:lnTo>
                    <a:pt x="1067407" y="773831"/>
                  </a:lnTo>
                  <a:lnTo>
                    <a:pt x="1070262" y="770665"/>
                  </a:lnTo>
                  <a:lnTo>
                    <a:pt x="1073434" y="767499"/>
                  </a:lnTo>
                  <a:lnTo>
                    <a:pt x="1076924" y="764649"/>
                  </a:lnTo>
                  <a:lnTo>
                    <a:pt x="1080096" y="762433"/>
                  </a:lnTo>
                  <a:lnTo>
                    <a:pt x="1064235" y="762433"/>
                  </a:lnTo>
                  <a:lnTo>
                    <a:pt x="1052498" y="762750"/>
                  </a:lnTo>
                  <a:lnTo>
                    <a:pt x="1041713" y="763383"/>
                  </a:lnTo>
                  <a:lnTo>
                    <a:pt x="1049009" y="759583"/>
                  </a:lnTo>
                  <a:lnTo>
                    <a:pt x="1056622" y="754834"/>
                  </a:lnTo>
                  <a:lnTo>
                    <a:pt x="1063918" y="749452"/>
                  </a:lnTo>
                  <a:lnTo>
                    <a:pt x="1071531" y="743753"/>
                  </a:lnTo>
                  <a:lnTo>
                    <a:pt x="1085806" y="733305"/>
                  </a:lnTo>
                  <a:lnTo>
                    <a:pt x="1092150" y="728872"/>
                  </a:lnTo>
                  <a:lnTo>
                    <a:pt x="1098495" y="725073"/>
                  </a:lnTo>
                  <a:lnTo>
                    <a:pt x="1106742" y="720957"/>
                  </a:lnTo>
                  <a:lnTo>
                    <a:pt x="1114990" y="717158"/>
                  </a:lnTo>
                  <a:lnTo>
                    <a:pt x="1122920" y="713675"/>
                  </a:lnTo>
                  <a:lnTo>
                    <a:pt x="1130851" y="710193"/>
                  </a:lnTo>
                  <a:lnTo>
                    <a:pt x="1138781" y="707660"/>
                  </a:lnTo>
                  <a:lnTo>
                    <a:pt x="1146711" y="704494"/>
                  </a:lnTo>
                  <a:lnTo>
                    <a:pt x="1161938" y="700061"/>
                  </a:lnTo>
                  <a:lnTo>
                    <a:pt x="1176847" y="696262"/>
                  </a:lnTo>
                  <a:lnTo>
                    <a:pt x="1191439" y="693729"/>
                  </a:lnTo>
                  <a:lnTo>
                    <a:pt x="1205397" y="692146"/>
                  </a:lnTo>
                  <a:lnTo>
                    <a:pt x="1218720" y="691196"/>
                  </a:lnTo>
                  <a:lnTo>
                    <a:pt x="1231408" y="690563"/>
                  </a:lnTo>
                  <a:close/>
                  <a:moveTo>
                    <a:pt x="1798422" y="585942"/>
                  </a:moveTo>
                  <a:lnTo>
                    <a:pt x="1795888" y="586577"/>
                  </a:lnTo>
                  <a:lnTo>
                    <a:pt x="1792720" y="586577"/>
                  </a:lnTo>
                  <a:lnTo>
                    <a:pt x="1789236" y="586577"/>
                  </a:lnTo>
                  <a:lnTo>
                    <a:pt x="1771814" y="728756"/>
                  </a:lnTo>
                  <a:lnTo>
                    <a:pt x="1786068" y="727804"/>
                  </a:lnTo>
                  <a:lnTo>
                    <a:pt x="1800322" y="727487"/>
                  </a:lnTo>
                  <a:lnTo>
                    <a:pt x="1808558" y="727804"/>
                  </a:lnTo>
                  <a:lnTo>
                    <a:pt x="1816477" y="728121"/>
                  </a:lnTo>
                  <a:lnTo>
                    <a:pt x="1798422" y="585942"/>
                  </a:lnTo>
                  <a:close/>
                  <a:moveTo>
                    <a:pt x="2691328" y="534988"/>
                  </a:moveTo>
                  <a:lnTo>
                    <a:pt x="2700209" y="535623"/>
                  </a:lnTo>
                  <a:lnTo>
                    <a:pt x="2709091" y="535940"/>
                  </a:lnTo>
                  <a:lnTo>
                    <a:pt x="2718289" y="536893"/>
                  </a:lnTo>
                  <a:lnTo>
                    <a:pt x="2727170" y="538480"/>
                  </a:lnTo>
                  <a:lnTo>
                    <a:pt x="2736368" y="540385"/>
                  </a:lnTo>
                  <a:lnTo>
                    <a:pt x="2745249" y="542608"/>
                  </a:lnTo>
                  <a:lnTo>
                    <a:pt x="2753813" y="544830"/>
                  </a:lnTo>
                  <a:lnTo>
                    <a:pt x="2763011" y="548005"/>
                  </a:lnTo>
                  <a:lnTo>
                    <a:pt x="2771575" y="550863"/>
                  </a:lnTo>
                  <a:lnTo>
                    <a:pt x="2780139" y="554355"/>
                  </a:lnTo>
                  <a:lnTo>
                    <a:pt x="2789020" y="558165"/>
                  </a:lnTo>
                  <a:lnTo>
                    <a:pt x="2797267" y="561658"/>
                  </a:lnTo>
                  <a:lnTo>
                    <a:pt x="2812809" y="569595"/>
                  </a:lnTo>
                  <a:lnTo>
                    <a:pt x="2827716" y="577850"/>
                  </a:lnTo>
                  <a:lnTo>
                    <a:pt x="2841355" y="586105"/>
                  </a:lnTo>
                  <a:lnTo>
                    <a:pt x="2853408" y="594678"/>
                  </a:lnTo>
                  <a:lnTo>
                    <a:pt x="2864509" y="602933"/>
                  </a:lnTo>
                  <a:lnTo>
                    <a:pt x="2873073" y="609918"/>
                  </a:lnTo>
                  <a:lnTo>
                    <a:pt x="2879734" y="616585"/>
                  </a:lnTo>
                  <a:lnTo>
                    <a:pt x="2882271" y="619760"/>
                  </a:lnTo>
                  <a:lnTo>
                    <a:pt x="2884809" y="622300"/>
                  </a:lnTo>
                  <a:lnTo>
                    <a:pt x="2886077" y="624523"/>
                  </a:lnTo>
                  <a:lnTo>
                    <a:pt x="2887029" y="626428"/>
                  </a:lnTo>
                  <a:lnTo>
                    <a:pt x="2887346" y="630238"/>
                  </a:lnTo>
                  <a:lnTo>
                    <a:pt x="2887663" y="635635"/>
                  </a:lnTo>
                  <a:lnTo>
                    <a:pt x="2887663" y="650875"/>
                  </a:lnTo>
                  <a:lnTo>
                    <a:pt x="2887029" y="671513"/>
                  </a:lnTo>
                  <a:lnTo>
                    <a:pt x="2885443" y="697230"/>
                  </a:lnTo>
                  <a:lnTo>
                    <a:pt x="2883540" y="726123"/>
                  </a:lnTo>
                  <a:lnTo>
                    <a:pt x="2881320" y="758190"/>
                  </a:lnTo>
                  <a:lnTo>
                    <a:pt x="2875610" y="827723"/>
                  </a:lnTo>
                  <a:lnTo>
                    <a:pt x="2868950" y="899161"/>
                  </a:lnTo>
                  <a:lnTo>
                    <a:pt x="2861654" y="965518"/>
                  </a:lnTo>
                  <a:lnTo>
                    <a:pt x="2858483" y="995363"/>
                  </a:lnTo>
                  <a:lnTo>
                    <a:pt x="2854994" y="1021398"/>
                  </a:lnTo>
                  <a:lnTo>
                    <a:pt x="2852139" y="1042671"/>
                  </a:lnTo>
                  <a:lnTo>
                    <a:pt x="2848967" y="1059181"/>
                  </a:lnTo>
                  <a:lnTo>
                    <a:pt x="2838817" y="1062991"/>
                  </a:lnTo>
                  <a:lnTo>
                    <a:pt x="2828985" y="1066483"/>
                  </a:lnTo>
                  <a:lnTo>
                    <a:pt x="2820104" y="1069023"/>
                  </a:lnTo>
                  <a:lnTo>
                    <a:pt x="2810905" y="1070928"/>
                  </a:lnTo>
                  <a:lnTo>
                    <a:pt x="2803293" y="1072198"/>
                  </a:lnTo>
                  <a:lnTo>
                    <a:pt x="2795998" y="1072516"/>
                  </a:lnTo>
                  <a:lnTo>
                    <a:pt x="2792509" y="1072198"/>
                  </a:lnTo>
                  <a:lnTo>
                    <a:pt x="2789654" y="1071563"/>
                  </a:lnTo>
                  <a:lnTo>
                    <a:pt x="2786483" y="1070928"/>
                  </a:lnTo>
                  <a:lnTo>
                    <a:pt x="2784262" y="1070293"/>
                  </a:lnTo>
                  <a:lnTo>
                    <a:pt x="2785214" y="1057911"/>
                  </a:lnTo>
                  <a:lnTo>
                    <a:pt x="2786165" y="1039813"/>
                  </a:lnTo>
                  <a:lnTo>
                    <a:pt x="2787751" y="990918"/>
                  </a:lnTo>
                  <a:lnTo>
                    <a:pt x="2789337" y="930276"/>
                  </a:lnTo>
                  <a:lnTo>
                    <a:pt x="2790289" y="865188"/>
                  </a:lnTo>
                  <a:lnTo>
                    <a:pt x="2790606" y="803593"/>
                  </a:lnTo>
                  <a:lnTo>
                    <a:pt x="2790606" y="775653"/>
                  </a:lnTo>
                  <a:lnTo>
                    <a:pt x="2790289" y="751840"/>
                  </a:lnTo>
                  <a:lnTo>
                    <a:pt x="2789654" y="731838"/>
                  </a:lnTo>
                  <a:lnTo>
                    <a:pt x="2788386" y="717233"/>
                  </a:lnTo>
                  <a:lnTo>
                    <a:pt x="2788068" y="711835"/>
                  </a:lnTo>
                  <a:lnTo>
                    <a:pt x="2787434" y="708343"/>
                  </a:lnTo>
                  <a:lnTo>
                    <a:pt x="2786483" y="707073"/>
                  </a:lnTo>
                  <a:lnTo>
                    <a:pt x="2785848" y="706438"/>
                  </a:lnTo>
                  <a:lnTo>
                    <a:pt x="2785531" y="707073"/>
                  </a:lnTo>
                  <a:lnTo>
                    <a:pt x="2780773" y="713740"/>
                  </a:lnTo>
                  <a:lnTo>
                    <a:pt x="2775381" y="720725"/>
                  </a:lnTo>
                  <a:lnTo>
                    <a:pt x="2774113" y="722630"/>
                  </a:lnTo>
                  <a:lnTo>
                    <a:pt x="2757936" y="960756"/>
                  </a:lnTo>
                  <a:lnTo>
                    <a:pt x="2753813" y="1010921"/>
                  </a:lnTo>
                  <a:lnTo>
                    <a:pt x="2750324" y="1049338"/>
                  </a:lnTo>
                  <a:lnTo>
                    <a:pt x="2746835" y="1083946"/>
                  </a:lnTo>
                  <a:lnTo>
                    <a:pt x="2746518" y="1087438"/>
                  </a:lnTo>
                  <a:lnTo>
                    <a:pt x="2744932" y="1092836"/>
                  </a:lnTo>
                  <a:lnTo>
                    <a:pt x="2742712" y="1097916"/>
                  </a:lnTo>
                  <a:lnTo>
                    <a:pt x="2740491" y="1103631"/>
                  </a:lnTo>
                  <a:lnTo>
                    <a:pt x="2737637" y="1109028"/>
                  </a:lnTo>
                  <a:lnTo>
                    <a:pt x="2732245" y="1119506"/>
                  </a:lnTo>
                  <a:lnTo>
                    <a:pt x="2725267" y="1129666"/>
                  </a:lnTo>
                  <a:lnTo>
                    <a:pt x="2699258" y="1479233"/>
                  </a:lnTo>
                  <a:lnTo>
                    <a:pt x="2716386" y="1483361"/>
                  </a:lnTo>
                  <a:lnTo>
                    <a:pt x="2732879" y="1487488"/>
                  </a:lnTo>
                  <a:lnTo>
                    <a:pt x="2870853" y="1410971"/>
                  </a:lnTo>
                  <a:lnTo>
                    <a:pt x="2876879" y="1421766"/>
                  </a:lnTo>
                  <a:lnTo>
                    <a:pt x="2749055" y="1492886"/>
                  </a:lnTo>
                  <a:lnTo>
                    <a:pt x="2761743" y="1497013"/>
                  </a:lnTo>
                  <a:lnTo>
                    <a:pt x="2773795" y="1501776"/>
                  </a:lnTo>
                  <a:lnTo>
                    <a:pt x="2785214" y="1507173"/>
                  </a:lnTo>
                  <a:lnTo>
                    <a:pt x="2795998" y="1512253"/>
                  </a:lnTo>
                  <a:lnTo>
                    <a:pt x="2805831" y="1517968"/>
                  </a:lnTo>
                  <a:lnTo>
                    <a:pt x="2815029" y="1524001"/>
                  </a:lnTo>
                  <a:lnTo>
                    <a:pt x="2823910" y="1530033"/>
                  </a:lnTo>
                  <a:lnTo>
                    <a:pt x="2831839" y="1536383"/>
                  </a:lnTo>
                  <a:lnTo>
                    <a:pt x="2838500" y="1543051"/>
                  </a:lnTo>
                  <a:lnTo>
                    <a:pt x="2844844" y="1550036"/>
                  </a:lnTo>
                  <a:lnTo>
                    <a:pt x="2850236" y="1557021"/>
                  </a:lnTo>
                  <a:lnTo>
                    <a:pt x="2854359" y="1564323"/>
                  </a:lnTo>
                  <a:lnTo>
                    <a:pt x="2856262" y="1568133"/>
                  </a:lnTo>
                  <a:lnTo>
                    <a:pt x="2857848" y="1571626"/>
                  </a:lnTo>
                  <a:lnTo>
                    <a:pt x="2859117" y="1575436"/>
                  </a:lnTo>
                  <a:lnTo>
                    <a:pt x="2860386" y="1579246"/>
                  </a:lnTo>
                  <a:lnTo>
                    <a:pt x="2861337" y="1583056"/>
                  </a:lnTo>
                  <a:lnTo>
                    <a:pt x="2861654" y="1586866"/>
                  </a:lnTo>
                  <a:lnTo>
                    <a:pt x="2861972" y="1590993"/>
                  </a:lnTo>
                  <a:lnTo>
                    <a:pt x="2862606" y="1594803"/>
                  </a:lnTo>
                  <a:lnTo>
                    <a:pt x="2861972" y="1598931"/>
                  </a:lnTo>
                  <a:lnTo>
                    <a:pt x="2861654" y="1603058"/>
                  </a:lnTo>
                  <a:lnTo>
                    <a:pt x="2861020" y="1607186"/>
                  </a:lnTo>
                  <a:lnTo>
                    <a:pt x="2860386" y="1611313"/>
                  </a:lnTo>
                  <a:lnTo>
                    <a:pt x="2858800" y="1615123"/>
                  </a:lnTo>
                  <a:lnTo>
                    <a:pt x="2857214" y="1619251"/>
                  </a:lnTo>
                  <a:lnTo>
                    <a:pt x="2855628" y="1622743"/>
                  </a:lnTo>
                  <a:lnTo>
                    <a:pt x="2853408" y="1626553"/>
                  </a:lnTo>
                  <a:lnTo>
                    <a:pt x="2851187" y="1630681"/>
                  </a:lnTo>
                  <a:lnTo>
                    <a:pt x="2848967" y="1634491"/>
                  </a:lnTo>
                  <a:lnTo>
                    <a:pt x="2842941" y="1641793"/>
                  </a:lnTo>
                  <a:lnTo>
                    <a:pt x="2836597" y="1648778"/>
                  </a:lnTo>
                  <a:lnTo>
                    <a:pt x="2828668" y="1655763"/>
                  </a:lnTo>
                  <a:lnTo>
                    <a:pt x="2820421" y="1662431"/>
                  </a:lnTo>
                  <a:lnTo>
                    <a:pt x="2810905" y="1668781"/>
                  </a:lnTo>
                  <a:lnTo>
                    <a:pt x="2800756" y="1674813"/>
                  </a:lnTo>
                  <a:lnTo>
                    <a:pt x="2789972" y="1680528"/>
                  </a:lnTo>
                  <a:lnTo>
                    <a:pt x="2778236" y="1685926"/>
                  </a:lnTo>
                  <a:lnTo>
                    <a:pt x="2765866" y="1691006"/>
                  </a:lnTo>
                  <a:lnTo>
                    <a:pt x="2752861" y="1695768"/>
                  </a:lnTo>
                  <a:lnTo>
                    <a:pt x="2739223" y="1700213"/>
                  </a:lnTo>
                  <a:lnTo>
                    <a:pt x="2869267" y="1786891"/>
                  </a:lnTo>
                  <a:lnTo>
                    <a:pt x="2862606" y="1797051"/>
                  </a:lnTo>
                  <a:lnTo>
                    <a:pt x="2723998" y="1704341"/>
                  </a:lnTo>
                  <a:lnTo>
                    <a:pt x="2707822" y="1708151"/>
                  </a:lnTo>
                  <a:lnTo>
                    <a:pt x="2690694" y="1711961"/>
                  </a:lnTo>
                  <a:lnTo>
                    <a:pt x="2673566" y="1715136"/>
                  </a:lnTo>
                  <a:lnTo>
                    <a:pt x="2655487" y="1717358"/>
                  </a:lnTo>
                  <a:lnTo>
                    <a:pt x="2637091" y="1719581"/>
                  </a:lnTo>
                  <a:lnTo>
                    <a:pt x="2618060" y="1720533"/>
                  </a:lnTo>
                  <a:lnTo>
                    <a:pt x="2598712" y="1721803"/>
                  </a:lnTo>
                  <a:lnTo>
                    <a:pt x="2579046" y="1721803"/>
                  </a:lnTo>
                  <a:lnTo>
                    <a:pt x="2563822" y="1721803"/>
                  </a:lnTo>
                  <a:lnTo>
                    <a:pt x="2549549" y="1721486"/>
                  </a:lnTo>
                  <a:lnTo>
                    <a:pt x="2534958" y="1720533"/>
                  </a:lnTo>
                  <a:lnTo>
                    <a:pt x="2521002" y="1719581"/>
                  </a:lnTo>
                  <a:lnTo>
                    <a:pt x="2507046" y="1717993"/>
                  </a:lnTo>
                  <a:lnTo>
                    <a:pt x="2493725" y="1716088"/>
                  </a:lnTo>
                  <a:lnTo>
                    <a:pt x="2480403" y="1714183"/>
                  </a:lnTo>
                  <a:lnTo>
                    <a:pt x="2467399" y="1711961"/>
                  </a:lnTo>
                  <a:lnTo>
                    <a:pt x="2455029" y="1709738"/>
                  </a:lnTo>
                  <a:lnTo>
                    <a:pt x="2442659" y="1706881"/>
                  </a:lnTo>
                  <a:lnTo>
                    <a:pt x="2430923" y="1703706"/>
                  </a:lnTo>
                  <a:lnTo>
                    <a:pt x="2419187" y="1700213"/>
                  </a:lnTo>
                  <a:lnTo>
                    <a:pt x="2408086" y="1697038"/>
                  </a:lnTo>
                  <a:lnTo>
                    <a:pt x="2397619" y="1693228"/>
                  </a:lnTo>
                  <a:lnTo>
                    <a:pt x="2387469" y="1689418"/>
                  </a:lnTo>
                  <a:lnTo>
                    <a:pt x="2377637" y="1684973"/>
                  </a:lnTo>
                  <a:lnTo>
                    <a:pt x="2368121" y="1680846"/>
                  </a:lnTo>
                  <a:lnTo>
                    <a:pt x="2359240" y="1676401"/>
                  </a:lnTo>
                  <a:lnTo>
                    <a:pt x="2350994" y="1671321"/>
                  </a:lnTo>
                  <a:lnTo>
                    <a:pt x="2343064" y="1666558"/>
                  </a:lnTo>
                  <a:lnTo>
                    <a:pt x="2335769" y="1661161"/>
                  </a:lnTo>
                  <a:lnTo>
                    <a:pt x="2329108" y="1656081"/>
                  </a:lnTo>
                  <a:lnTo>
                    <a:pt x="2322764" y="1650366"/>
                  </a:lnTo>
                  <a:lnTo>
                    <a:pt x="2317055" y="1644651"/>
                  </a:lnTo>
                  <a:lnTo>
                    <a:pt x="2312298" y="1638936"/>
                  </a:lnTo>
                  <a:lnTo>
                    <a:pt x="2307857" y="1632903"/>
                  </a:lnTo>
                  <a:lnTo>
                    <a:pt x="2304051" y="1627188"/>
                  </a:lnTo>
                  <a:lnTo>
                    <a:pt x="2300879" y="1620521"/>
                  </a:lnTo>
                  <a:lnTo>
                    <a:pt x="2298659" y="1614171"/>
                  </a:lnTo>
                  <a:lnTo>
                    <a:pt x="2296756" y="1607821"/>
                  </a:lnTo>
                  <a:lnTo>
                    <a:pt x="2295804" y="1601471"/>
                  </a:lnTo>
                  <a:lnTo>
                    <a:pt x="2295170" y="1594803"/>
                  </a:lnTo>
                  <a:lnTo>
                    <a:pt x="2295170" y="1590676"/>
                  </a:lnTo>
                  <a:lnTo>
                    <a:pt x="2296121" y="1585913"/>
                  </a:lnTo>
                  <a:lnTo>
                    <a:pt x="2296756" y="1581468"/>
                  </a:lnTo>
                  <a:lnTo>
                    <a:pt x="2298024" y="1577341"/>
                  </a:lnTo>
                  <a:lnTo>
                    <a:pt x="2299293" y="1573213"/>
                  </a:lnTo>
                  <a:lnTo>
                    <a:pt x="2300879" y="1568768"/>
                  </a:lnTo>
                  <a:lnTo>
                    <a:pt x="2302782" y="1564641"/>
                  </a:lnTo>
                  <a:lnTo>
                    <a:pt x="2305320" y="1560831"/>
                  </a:lnTo>
                  <a:lnTo>
                    <a:pt x="2307857" y="1556703"/>
                  </a:lnTo>
                  <a:lnTo>
                    <a:pt x="2310712" y="1552576"/>
                  </a:lnTo>
                  <a:lnTo>
                    <a:pt x="2313566" y="1548766"/>
                  </a:lnTo>
                  <a:lnTo>
                    <a:pt x="2317372" y="1544956"/>
                  </a:lnTo>
                  <a:lnTo>
                    <a:pt x="2320861" y="1541146"/>
                  </a:lnTo>
                  <a:lnTo>
                    <a:pt x="2324985" y="1537653"/>
                  </a:lnTo>
                  <a:lnTo>
                    <a:pt x="2333549" y="1530351"/>
                  </a:lnTo>
                  <a:lnTo>
                    <a:pt x="2343064" y="1523366"/>
                  </a:lnTo>
                  <a:lnTo>
                    <a:pt x="2353848" y="1517016"/>
                  </a:lnTo>
                  <a:lnTo>
                    <a:pt x="2365267" y="1510348"/>
                  </a:lnTo>
                  <a:lnTo>
                    <a:pt x="2377637" y="1504316"/>
                  </a:lnTo>
                  <a:lnTo>
                    <a:pt x="2390641" y="1499236"/>
                  </a:lnTo>
                  <a:lnTo>
                    <a:pt x="2404597" y="1493838"/>
                  </a:lnTo>
                  <a:lnTo>
                    <a:pt x="2419187" y="1489393"/>
                  </a:lnTo>
                  <a:lnTo>
                    <a:pt x="2434729" y="1484948"/>
                  </a:lnTo>
                  <a:lnTo>
                    <a:pt x="2421090" y="1301751"/>
                  </a:lnTo>
                  <a:lnTo>
                    <a:pt x="2390958" y="1273493"/>
                  </a:lnTo>
                  <a:lnTo>
                    <a:pt x="2399205" y="1264603"/>
                  </a:lnTo>
                  <a:lnTo>
                    <a:pt x="2419505" y="1283653"/>
                  </a:lnTo>
                  <a:lnTo>
                    <a:pt x="2407769" y="1124268"/>
                  </a:lnTo>
                  <a:lnTo>
                    <a:pt x="2401742" y="1115378"/>
                  </a:lnTo>
                  <a:lnTo>
                    <a:pt x="2396350" y="1106171"/>
                  </a:lnTo>
                  <a:lnTo>
                    <a:pt x="2391910" y="1097281"/>
                  </a:lnTo>
                  <a:lnTo>
                    <a:pt x="2390007" y="1092201"/>
                  </a:lnTo>
                  <a:lnTo>
                    <a:pt x="2388104" y="1087756"/>
                  </a:lnTo>
                  <a:lnTo>
                    <a:pt x="2387787" y="1083946"/>
                  </a:lnTo>
                  <a:lnTo>
                    <a:pt x="2382712" y="1029971"/>
                  </a:lnTo>
                  <a:lnTo>
                    <a:pt x="2377320" y="970916"/>
                  </a:lnTo>
                  <a:lnTo>
                    <a:pt x="2371293" y="897573"/>
                  </a:lnTo>
                  <a:lnTo>
                    <a:pt x="2359240" y="716280"/>
                  </a:lnTo>
                  <a:lnTo>
                    <a:pt x="2354165" y="712153"/>
                  </a:lnTo>
                  <a:lnTo>
                    <a:pt x="2349090" y="707073"/>
                  </a:lnTo>
                  <a:lnTo>
                    <a:pt x="2348773" y="707073"/>
                  </a:lnTo>
                  <a:lnTo>
                    <a:pt x="2348773" y="707390"/>
                  </a:lnTo>
                  <a:lnTo>
                    <a:pt x="2347822" y="709295"/>
                  </a:lnTo>
                  <a:lnTo>
                    <a:pt x="2347505" y="713105"/>
                  </a:lnTo>
                  <a:lnTo>
                    <a:pt x="2347187" y="718503"/>
                  </a:lnTo>
                  <a:lnTo>
                    <a:pt x="2347187" y="733743"/>
                  </a:lnTo>
                  <a:lnTo>
                    <a:pt x="2347187" y="754063"/>
                  </a:lnTo>
                  <a:lnTo>
                    <a:pt x="2348773" y="806133"/>
                  </a:lnTo>
                  <a:lnTo>
                    <a:pt x="2350994" y="868363"/>
                  </a:lnTo>
                  <a:lnTo>
                    <a:pt x="2353848" y="932498"/>
                  </a:lnTo>
                  <a:lnTo>
                    <a:pt x="2357020" y="993141"/>
                  </a:lnTo>
                  <a:lnTo>
                    <a:pt x="2359875" y="1041718"/>
                  </a:lnTo>
                  <a:lnTo>
                    <a:pt x="2362095" y="1072198"/>
                  </a:lnTo>
                  <a:lnTo>
                    <a:pt x="2348139" y="1072516"/>
                  </a:lnTo>
                  <a:lnTo>
                    <a:pt x="2339258" y="1072198"/>
                  </a:lnTo>
                  <a:lnTo>
                    <a:pt x="2329108" y="1071246"/>
                  </a:lnTo>
                  <a:lnTo>
                    <a:pt x="2323716" y="1070611"/>
                  </a:lnTo>
                  <a:lnTo>
                    <a:pt x="2318641" y="1069658"/>
                  </a:lnTo>
                  <a:lnTo>
                    <a:pt x="2312932" y="1068706"/>
                  </a:lnTo>
                  <a:lnTo>
                    <a:pt x="2307223" y="1067118"/>
                  </a:lnTo>
                  <a:lnTo>
                    <a:pt x="2302148" y="1065213"/>
                  </a:lnTo>
                  <a:lnTo>
                    <a:pt x="2296438" y="1062991"/>
                  </a:lnTo>
                  <a:lnTo>
                    <a:pt x="2290729" y="1060451"/>
                  </a:lnTo>
                  <a:lnTo>
                    <a:pt x="2285654" y="1057276"/>
                  </a:lnTo>
                  <a:lnTo>
                    <a:pt x="2282800" y="1041718"/>
                  </a:lnTo>
                  <a:lnTo>
                    <a:pt x="2280262" y="1020446"/>
                  </a:lnTo>
                  <a:lnTo>
                    <a:pt x="2277408" y="995681"/>
                  </a:lnTo>
                  <a:lnTo>
                    <a:pt x="2274553" y="967423"/>
                  </a:lnTo>
                  <a:lnTo>
                    <a:pt x="2272016" y="936626"/>
                  </a:lnTo>
                  <a:lnTo>
                    <a:pt x="2269478" y="904241"/>
                  </a:lnTo>
                  <a:lnTo>
                    <a:pt x="2264403" y="836930"/>
                  </a:lnTo>
                  <a:lnTo>
                    <a:pt x="2260597" y="771525"/>
                  </a:lnTo>
                  <a:lnTo>
                    <a:pt x="2259328" y="741680"/>
                  </a:lnTo>
                  <a:lnTo>
                    <a:pt x="2258060" y="714058"/>
                  </a:lnTo>
                  <a:lnTo>
                    <a:pt x="2257425" y="689928"/>
                  </a:lnTo>
                  <a:lnTo>
                    <a:pt x="2257425" y="670560"/>
                  </a:lnTo>
                  <a:lnTo>
                    <a:pt x="2257425" y="655955"/>
                  </a:lnTo>
                  <a:lnTo>
                    <a:pt x="2257742" y="650875"/>
                  </a:lnTo>
                  <a:lnTo>
                    <a:pt x="2258377" y="647065"/>
                  </a:lnTo>
                  <a:lnTo>
                    <a:pt x="2259011" y="641033"/>
                  </a:lnTo>
                  <a:lnTo>
                    <a:pt x="2260280" y="635635"/>
                  </a:lnTo>
                  <a:lnTo>
                    <a:pt x="2262183" y="629920"/>
                  </a:lnTo>
                  <a:lnTo>
                    <a:pt x="2264403" y="624205"/>
                  </a:lnTo>
                  <a:lnTo>
                    <a:pt x="2267575" y="619125"/>
                  </a:lnTo>
                  <a:lnTo>
                    <a:pt x="2271381" y="614045"/>
                  </a:lnTo>
                  <a:lnTo>
                    <a:pt x="2275505" y="609283"/>
                  </a:lnTo>
                  <a:lnTo>
                    <a:pt x="2279945" y="604203"/>
                  </a:lnTo>
                  <a:lnTo>
                    <a:pt x="2284703" y="599758"/>
                  </a:lnTo>
                  <a:lnTo>
                    <a:pt x="2290412" y="595313"/>
                  </a:lnTo>
                  <a:lnTo>
                    <a:pt x="2296121" y="591185"/>
                  </a:lnTo>
                  <a:lnTo>
                    <a:pt x="2302465" y="587058"/>
                  </a:lnTo>
                  <a:lnTo>
                    <a:pt x="2309126" y="583248"/>
                  </a:lnTo>
                  <a:lnTo>
                    <a:pt x="2316104" y="579438"/>
                  </a:lnTo>
                  <a:lnTo>
                    <a:pt x="2323399" y="575628"/>
                  </a:lnTo>
                  <a:lnTo>
                    <a:pt x="2331011" y="572453"/>
                  </a:lnTo>
                  <a:lnTo>
                    <a:pt x="2338941" y="568960"/>
                  </a:lnTo>
                  <a:lnTo>
                    <a:pt x="2347187" y="566103"/>
                  </a:lnTo>
                  <a:lnTo>
                    <a:pt x="2363681" y="560070"/>
                  </a:lnTo>
                  <a:lnTo>
                    <a:pt x="2381443" y="554673"/>
                  </a:lnTo>
                  <a:lnTo>
                    <a:pt x="2399205" y="550228"/>
                  </a:lnTo>
                  <a:lnTo>
                    <a:pt x="2417284" y="546100"/>
                  </a:lnTo>
                  <a:lnTo>
                    <a:pt x="2435681" y="542290"/>
                  </a:lnTo>
                  <a:lnTo>
                    <a:pt x="2453760" y="539115"/>
                  </a:lnTo>
                  <a:lnTo>
                    <a:pt x="2471522" y="536575"/>
                  </a:lnTo>
                  <a:lnTo>
                    <a:pt x="2475646" y="536258"/>
                  </a:lnTo>
                  <a:lnTo>
                    <a:pt x="2479769" y="536258"/>
                  </a:lnTo>
                  <a:lnTo>
                    <a:pt x="2537813" y="750888"/>
                  </a:lnTo>
                  <a:lnTo>
                    <a:pt x="2539082" y="742315"/>
                  </a:lnTo>
                  <a:lnTo>
                    <a:pt x="2559064" y="595313"/>
                  </a:lnTo>
                  <a:lnTo>
                    <a:pt x="2553355" y="580708"/>
                  </a:lnTo>
                  <a:lnTo>
                    <a:pt x="2564773" y="561340"/>
                  </a:lnTo>
                  <a:lnTo>
                    <a:pt x="2590148" y="561340"/>
                  </a:lnTo>
                  <a:lnTo>
                    <a:pt x="2600615" y="580708"/>
                  </a:lnTo>
                  <a:lnTo>
                    <a:pt x="2595857" y="597853"/>
                  </a:lnTo>
                  <a:lnTo>
                    <a:pt x="2613619" y="753110"/>
                  </a:lnTo>
                  <a:lnTo>
                    <a:pt x="2661196" y="542925"/>
                  </a:lnTo>
                  <a:lnTo>
                    <a:pt x="2666271" y="540703"/>
                  </a:lnTo>
                  <a:lnTo>
                    <a:pt x="2670712" y="538480"/>
                  </a:lnTo>
                  <a:lnTo>
                    <a:pt x="2673249" y="536893"/>
                  </a:lnTo>
                  <a:lnTo>
                    <a:pt x="2673566" y="536575"/>
                  </a:lnTo>
                  <a:lnTo>
                    <a:pt x="2682130" y="535623"/>
                  </a:lnTo>
                  <a:lnTo>
                    <a:pt x="2691328" y="534988"/>
                  </a:lnTo>
                  <a:close/>
                  <a:moveTo>
                    <a:pt x="1954213" y="512763"/>
                  </a:moveTo>
                  <a:lnTo>
                    <a:pt x="1953574" y="518429"/>
                  </a:lnTo>
                  <a:lnTo>
                    <a:pt x="1952294" y="524094"/>
                  </a:lnTo>
                  <a:lnTo>
                    <a:pt x="1951015" y="530705"/>
                  </a:lnTo>
                  <a:lnTo>
                    <a:pt x="1948775" y="537629"/>
                  </a:lnTo>
                  <a:lnTo>
                    <a:pt x="1947176" y="540462"/>
                  </a:lnTo>
                  <a:lnTo>
                    <a:pt x="1945577" y="542981"/>
                  </a:lnTo>
                  <a:lnTo>
                    <a:pt x="1943657" y="545813"/>
                  </a:lnTo>
                  <a:lnTo>
                    <a:pt x="1941418" y="547387"/>
                  </a:lnTo>
                  <a:lnTo>
                    <a:pt x="1939179" y="548961"/>
                  </a:lnTo>
                  <a:lnTo>
                    <a:pt x="1936620" y="549276"/>
                  </a:lnTo>
                  <a:lnTo>
                    <a:pt x="1933421" y="549276"/>
                  </a:lnTo>
                  <a:lnTo>
                    <a:pt x="1930863" y="548961"/>
                  </a:lnTo>
                  <a:lnTo>
                    <a:pt x="1928943" y="548332"/>
                  </a:lnTo>
                  <a:lnTo>
                    <a:pt x="1927024" y="547073"/>
                  </a:lnTo>
                  <a:lnTo>
                    <a:pt x="1925745" y="545184"/>
                  </a:lnTo>
                  <a:lnTo>
                    <a:pt x="1925105" y="543295"/>
                  </a:lnTo>
                  <a:lnTo>
                    <a:pt x="1924785" y="541092"/>
                  </a:lnTo>
                  <a:lnTo>
                    <a:pt x="1924785" y="538574"/>
                  </a:lnTo>
                  <a:lnTo>
                    <a:pt x="1924465" y="536056"/>
                  </a:lnTo>
                  <a:lnTo>
                    <a:pt x="1924145" y="534482"/>
                  </a:lnTo>
                  <a:lnTo>
                    <a:pt x="1923186" y="533223"/>
                  </a:lnTo>
                  <a:lnTo>
                    <a:pt x="1922546" y="532908"/>
                  </a:lnTo>
                  <a:lnTo>
                    <a:pt x="1921266" y="532908"/>
                  </a:lnTo>
                  <a:lnTo>
                    <a:pt x="1920627" y="533852"/>
                  </a:lnTo>
                  <a:lnTo>
                    <a:pt x="1920307" y="534797"/>
                  </a:lnTo>
                  <a:lnTo>
                    <a:pt x="1920307" y="536685"/>
                  </a:lnTo>
                  <a:lnTo>
                    <a:pt x="1919987" y="538889"/>
                  </a:lnTo>
                  <a:lnTo>
                    <a:pt x="1918707" y="541721"/>
                  </a:lnTo>
                  <a:lnTo>
                    <a:pt x="1917108" y="544240"/>
                  </a:lnTo>
                  <a:lnTo>
                    <a:pt x="1915189" y="546443"/>
                  </a:lnTo>
                  <a:lnTo>
                    <a:pt x="1913909" y="548017"/>
                  </a:lnTo>
                  <a:lnTo>
                    <a:pt x="1912950" y="548332"/>
                  </a:lnTo>
                  <a:lnTo>
                    <a:pt x="1912310" y="548332"/>
                  </a:lnTo>
                  <a:lnTo>
                    <a:pt x="1911990" y="548332"/>
                  </a:lnTo>
                  <a:lnTo>
                    <a:pt x="1911350" y="547387"/>
                  </a:lnTo>
                  <a:lnTo>
                    <a:pt x="1911350" y="546443"/>
                  </a:lnTo>
                  <a:lnTo>
                    <a:pt x="1911350" y="544554"/>
                  </a:lnTo>
                  <a:lnTo>
                    <a:pt x="1912630" y="536370"/>
                  </a:lnTo>
                  <a:lnTo>
                    <a:pt x="1913269" y="532278"/>
                  </a:lnTo>
                  <a:lnTo>
                    <a:pt x="1914229" y="528186"/>
                  </a:lnTo>
                  <a:lnTo>
                    <a:pt x="1915189" y="524409"/>
                  </a:lnTo>
                  <a:lnTo>
                    <a:pt x="1916788" y="521891"/>
                  </a:lnTo>
                  <a:lnTo>
                    <a:pt x="1917428" y="520632"/>
                  </a:lnTo>
                  <a:lnTo>
                    <a:pt x="1918387" y="520003"/>
                  </a:lnTo>
                  <a:lnTo>
                    <a:pt x="1919347" y="519058"/>
                  </a:lnTo>
                  <a:lnTo>
                    <a:pt x="1920627" y="518743"/>
                  </a:lnTo>
                  <a:lnTo>
                    <a:pt x="1954213" y="512763"/>
                  </a:lnTo>
                  <a:close/>
                  <a:moveTo>
                    <a:pt x="1636712" y="512763"/>
                  </a:moveTo>
                  <a:lnTo>
                    <a:pt x="1670299" y="519003"/>
                  </a:lnTo>
                  <a:lnTo>
                    <a:pt x="1671578" y="519332"/>
                  </a:lnTo>
                  <a:lnTo>
                    <a:pt x="1672218" y="519660"/>
                  </a:lnTo>
                  <a:lnTo>
                    <a:pt x="1673498" y="520974"/>
                  </a:lnTo>
                  <a:lnTo>
                    <a:pt x="1674137" y="521959"/>
                  </a:lnTo>
                  <a:lnTo>
                    <a:pt x="1675737" y="524587"/>
                  </a:lnTo>
                  <a:lnTo>
                    <a:pt x="1676696" y="528528"/>
                  </a:lnTo>
                  <a:lnTo>
                    <a:pt x="1677656" y="532470"/>
                  </a:lnTo>
                  <a:lnTo>
                    <a:pt x="1678296" y="537068"/>
                  </a:lnTo>
                  <a:lnTo>
                    <a:pt x="1679575" y="545608"/>
                  </a:lnTo>
                  <a:lnTo>
                    <a:pt x="1679575" y="547578"/>
                  </a:lnTo>
                  <a:lnTo>
                    <a:pt x="1679575" y="548892"/>
                  </a:lnTo>
                  <a:lnTo>
                    <a:pt x="1679255" y="549549"/>
                  </a:lnTo>
                  <a:lnTo>
                    <a:pt x="1678616" y="549549"/>
                  </a:lnTo>
                  <a:lnTo>
                    <a:pt x="1677976" y="549549"/>
                  </a:lnTo>
                  <a:lnTo>
                    <a:pt x="1677336" y="549221"/>
                  </a:lnTo>
                  <a:lnTo>
                    <a:pt x="1675737" y="547578"/>
                  </a:lnTo>
                  <a:lnTo>
                    <a:pt x="1673818" y="545279"/>
                  </a:lnTo>
                  <a:lnTo>
                    <a:pt x="1672218" y="542323"/>
                  </a:lnTo>
                  <a:lnTo>
                    <a:pt x="1671259" y="539367"/>
                  </a:lnTo>
                  <a:lnTo>
                    <a:pt x="1670939" y="537725"/>
                  </a:lnTo>
                  <a:lnTo>
                    <a:pt x="1670939" y="535754"/>
                  </a:lnTo>
                  <a:lnTo>
                    <a:pt x="1670299" y="534440"/>
                  </a:lnTo>
                  <a:lnTo>
                    <a:pt x="1669659" y="533784"/>
                  </a:lnTo>
                  <a:lnTo>
                    <a:pt x="1668380" y="533784"/>
                  </a:lnTo>
                  <a:lnTo>
                    <a:pt x="1667740" y="534112"/>
                  </a:lnTo>
                  <a:lnTo>
                    <a:pt x="1667100" y="535097"/>
                  </a:lnTo>
                  <a:lnTo>
                    <a:pt x="1666780" y="536740"/>
                  </a:lnTo>
                  <a:lnTo>
                    <a:pt x="1666141" y="539367"/>
                  </a:lnTo>
                  <a:lnTo>
                    <a:pt x="1666141" y="542323"/>
                  </a:lnTo>
                  <a:lnTo>
                    <a:pt x="1665821" y="544622"/>
                  </a:lnTo>
                  <a:lnTo>
                    <a:pt x="1665181" y="546593"/>
                  </a:lnTo>
                  <a:lnTo>
                    <a:pt x="1663901" y="548564"/>
                  </a:lnTo>
                  <a:lnTo>
                    <a:pt x="1661982" y="549549"/>
                  </a:lnTo>
                  <a:lnTo>
                    <a:pt x="1660063" y="550534"/>
                  </a:lnTo>
                  <a:lnTo>
                    <a:pt x="1657504" y="550863"/>
                  </a:lnTo>
                  <a:lnTo>
                    <a:pt x="1654625" y="550863"/>
                  </a:lnTo>
                  <a:lnTo>
                    <a:pt x="1651746" y="549878"/>
                  </a:lnTo>
                  <a:lnTo>
                    <a:pt x="1649507" y="548892"/>
                  </a:lnTo>
                  <a:lnTo>
                    <a:pt x="1647268" y="546921"/>
                  </a:lnTo>
                  <a:lnTo>
                    <a:pt x="1645349" y="544294"/>
                  </a:lnTo>
                  <a:lnTo>
                    <a:pt x="1643749" y="541338"/>
                  </a:lnTo>
                  <a:lnTo>
                    <a:pt x="1642470" y="538053"/>
                  </a:lnTo>
                  <a:lnTo>
                    <a:pt x="1640231" y="531484"/>
                  </a:lnTo>
                  <a:lnTo>
                    <a:pt x="1638631" y="524259"/>
                  </a:lnTo>
                  <a:lnTo>
                    <a:pt x="1637352" y="518018"/>
                  </a:lnTo>
                  <a:lnTo>
                    <a:pt x="1636712" y="512763"/>
                  </a:lnTo>
                  <a:close/>
                  <a:moveTo>
                    <a:pt x="358458" y="427038"/>
                  </a:moveTo>
                  <a:lnTo>
                    <a:pt x="365125" y="427038"/>
                  </a:lnTo>
                  <a:lnTo>
                    <a:pt x="371475" y="427356"/>
                  </a:lnTo>
                  <a:lnTo>
                    <a:pt x="377825" y="427992"/>
                  </a:lnTo>
                  <a:lnTo>
                    <a:pt x="384493" y="429263"/>
                  </a:lnTo>
                  <a:lnTo>
                    <a:pt x="390843" y="430853"/>
                  </a:lnTo>
                  <a:lnTo>
                    <a:pt x="397193" y="432125"/>
                  </a:lnTo>
                  <a:lnTo>
                    <a:pt x="403860" y="434033"/>
                  </a:lnTo>
                  <a:lnTo>
                    <a:pt x="410210" y="435940"/>
                  </a:lnTo>
                  <a:lnTo>
                    <a:pt x="422593" y="441027"/>
                  </a:lnTo>
                  <a:lnTo>
                    <a:pt x="434658" y="446114"/>
                  </a:lnTo>
                  <a:lnTo>
                    <a:pt x="445770" y="451837"/>
                  </a:lnTo>
                  <a:lnTo>
                    <a:pt x="456883" y="457878"/>
                  </a:lnTo>
                  <a:lnTo>
                    <a:pt x="466408" y="463919"/>
                  </a:lnTo>
                  <a:lnTo>
                    <a:pt x="475298" y="469960"/>
                  </a:lnTo>
                  <a:lnTo>
                    <a:pt x="482918" y="475365"/>
                  </a:lnTo>
                  <a:lnTo>
                    <a:pt x="489585" y="480770"/>
                  </a:lnTo>
                  <a:lnTo>
                    <a:pt x="494348" y="485539"/>
                  </a:lnTo>
                  <a:lnTo>
                    <a:pt x="497840" y="489355"/>
                  </a:lnTo>
                  <a:lnTo>
                    <a:pt x="498475" y="491262"/>
                  </a:lnTo>
                  <a:lnTo>
                    <a:pt x="499110" y="492534"/>
                  </a:lnTo>
                  <a:lnTo>
                    <a:pt x="499745" y="495396"/>
                  </a:lnTo>
                  <a:lnTo>
                    <a:pt x="499745" y="499211"/>
                  </a:lnTo>
                  <a:lnTo>
                    <a:pt x="499745" y="510021"/>
                  </a:lnTo>
                  <a:lnTo>
                    <a:pt x="499110" y="525282"/>
                  </a:lnTo>
                  <a:lnTo>
                    <a:pt x="498158" y="543405"/>
                  </a:lnTo>
                  <a:lnTo>
                    <a:pt x="494983" y="587281"/>
                  </a:lnTo>
                  <a:lnTo>
                    <a:pt x="490855" y="637198"/>
                  </a:lnTo>
                  <a:lnTo>
                    <a:pt x="486093" y="688705"/>
                  </a:lnTo>
                  <a:lnTo>
                    <a:pt x="481013" y="736397"/>
                  </a:lnTo>
                  <a:lnTo>
                    <a:pt x="476250" y="776457"/>
                  </a:lnTo>
                  <a:lnTo>
                    <a:pt x="474028" y="792037"/>
                  </a:lnTo>
                  <a:lnTo>
                    <a:pt x="472123" y="803800"/>
                  </a:lnTo>
                  <a:lnTo>
                    <a:pt x="464503" y="806344"/>
                  </a:lnTo>
                  <a:lnTo>
                    <a:pt x="457835" y="808888"/>
                  </a:lnTo>
                  <a:lnTo>
                    <a:pt x="451168" y="810477"/>
                  </a:lnTo>
                  <a:lnTo>
                    <a:pt x="444818" y="812067"/>
                  </a:lnTo>
                  <a:lnTo>
                    <a:pt x="439103" y="813021"/>
                  </a:lnTo>
                  <a:lnTo>
                    <a:pt x="433705" y="813339"/>
                  </a:lnTo>
                  <a:lnTo>
                    <a:pt x="429260" y="813021"/>
                  </a:lnTo>
                  <a:lnTo>
                    <a:pt x="425450" y="811749"/>
                  </a:lnTo>
                  <a:lnTo>
                    <a:pt x="425768" y="802847"/>
                  </a:lnTo>
                  <a:lnTo>
                    <a:pt x="426720" y="789811"/>
                  </a:lnTo>
                  <a:lnTo>
                    <a:pt x="428308" y="754519"/>
                  </a:lnTo>
                  <a:lnTo>
                    <a:pt x="429260" y="710961"/>
                  </a:lnTo>
                  <a:lnTo>
                    <a:pt x="429895" y="664541"/>
                  </a:lnTo>
                  <a:lnTo>
                    <a:pt x="429895" y="619711"/>
                  </a:lnTo>
                  <a:lnTo>
                    <a:pt x="429578" y="582512"/>
                  </a:lnTo>
                  <a:lnTo>
                    <a:pt x="429260" y="568205"/>
                  </a:lnTo>
                  <a:lnTo>
                    <a:pt x="428625" y="557712"/>
                  </a:lnTo>
                  <a:lnTo>
                    <a:pt x="428308" y="554215"/>
                  </a:lnTo>
                  <a:lnTo>
                    <a:pt x="427673" y="551672"/>
                  </a:lnTo>
                  <a:lnTo>
                    <a:pt x="427038" y="550400"/>
                  </a:lnTo>
                  <a:lnTo>
                    <a:pt x="426720" y="550400"/>
                  </a:lnTo>
                  <a:lnTo>
                    <a:pt x="426403" y="550400"/>
                  </a:lnTo>
                  <a:lnTo>
                    <a:pt x="422910" y="555487"/>
                  </a:lnTo>
                  <a:lnTo>
                    <a:pt x="419100" y="560256"/>
                  </a:lnTo>
                  <a:lnTo>
                    <a:pt x="418465" y="561846"/>
                  </a:lnTo>
                  <a:lnTo>
                    <a:pt x="406718" y="733217"/>
                  </a:lnTo>
                  <a:lnTo>
                    <a:pt x="401003" y="796806"/>
                  </a:lnTo>
                  <a:lnTo>
                    <a:pt x="398463" y="821605"/>
                  </a:lnTo>
                  <a:lnTo>
                    <a:pt x="398463" y="823831"/>
                  </a:lnTo>
                  <a:lnTo>
                    <a:pt x="395288" y="831779"/>
                  </a:lnTo>
                  <a:lnTo>
                    <a:pt x="392113" y="839728"/>
                  </a:lnTo>
                  <a:lnTo>
                    <a:pt x="387985" y="847041"/>
                  </a:lnTo>
                  <a:lnTo>
                    <a:pt x="382905" y="854353"/>
                  </a:lnTo>
                  <a:lnTo>
                    <a:pt x="365443" y="1090267"/>
                  </a:lnTo>
                  <a:lnTo>
                    <a:pt x="378778" y="1093447"/>
                  </a:lnTo>
                  <a:lnTo>
                    <a:pt x="391160" y="1096944"/>
                  </a:lnTo>
                  <a:lnTo>
                    <a:pt x="403860" y="1100441"/>
                  </a:lnTo>
                  <a:lnTo>
                    <a:pt x="414973" y="1104575"/>
                  </a:lnTo>
                  <a:lnTo>
                    <a:pt x="425450" y="1109344"/>
                  </a:lnTo>
                  <a:lnTo>
                    <a:pt x="435293" y="1114113"/>
                  </a:lnTo>
                  <a:lnTo>
                    <a:pt x="444818" y="1119518"/>
                  </a:lnTo>
                  <a:lnTo>
                    <a:pt x="453073" y="1124923"/>
                  </a:lnTo>
                  <a:lnTo>
                    <a:pt x="450215" y="1114749"/>
                  </a:lnTo>
                  <a:lnTo>
                    <a:pt x="538480" y="1093447"/>
                  </a:lnTo>
                  <a:lnTo>
                    <a:pt x="541338" y="1105211"/>
                  </a:lnTo>
                  <a:lnTo>
                    <a:pt x="454343" y="1126513"/>
                  </a:lnTo>
                  <a:lnTo>
                    <a:pt x="461645" y="1132236"/>
                  </a:lnTo>
                  <a:lnTo>
                    <a:pt x="467678" y="1137959"/>
                  </a:lnTo>
                  <a:lnTo>
                    <a:pt x="472758" y="1144000"/>
                  </a:lnTo>
                  <a:lnTo>
                    <a:pt x="476885" y="1150358"/>
                  </a:lnTo>
                  <a:lnTo>
                    <a:pt x="478790" y="1153538"/>
                  </a:lnTo>
                  <a:lnTo>
                    <a:pt x="480378" y="1156717"/>
                  </a:lnTo>
                  <a:lnTo>
                    <a:pt x="481965" y="1159897"/>
                  </a:lnTo>
                  <a:lnTo>
                    <a:pt x="482918" y="1163394"/>
                  </a:lnTo>
                  <a:lnTo>
                    <a:pt x="483870" y="1166891"/>
                  </a:lnTo>
                  <a:lnTo>
                    <a:pt x="484505" y="1170707"/>
                  </a:lnTo>
                  <a:lnTo>
                    <a:pt x="484823" y="1173886"/>
                  </a:lnTo>
                  <a:lnTo>
                    <a:pt x="484823" y="1177384"/>
                  </a:lnTo>
                  <a:lnTo>
                    <a:pt x="484823" y="1182789"/>
                  </a:lnTo>
                  <a:lnTo>
                    <a:pt x="484188" y="1187558"/>
                  </a:lnTo>
                  <a:lnTo>
                    <a:pt x="482600" y="1192327"/>
                  </a:lnTo>
                  <a:lnTo>
                    <a:pt x="480695" y="1197414"/>
                  </a:lnTo>
                  <a:lnTo>
                    <a:pt x="478790" y="1201865"/>
                  </a:lnTo>
                  <a:lnTo>
                    <a:pt x="475933" y="1206634"/>
                  </a:lnTo>
                  <a:lnTo>
                    <a:pt x="472758" y="1211404"/>
                  </a:lnTo>
                  <a:lnTo>
                    <a:pt x="469265" y="1215537"/>
                  </a:lnTo>
                  <a:lnTo>
                    <a:pt x="465138" y="1219988"/>
                  </a:lnTo>
                  <a:lnTo>
                    <a:pt x="460375" y="1224121"/>
                  </a:lnTo>
                  <a:lnTo>
                    <a:pt x="455613" y="1227937"/>
                  </a:lnTo>
                  <a:lnTo>
                    <a:pt x="450215" y="1232070"/>
                  </a:lnTo>
                  <a:lnTo>
                    <a:pt x="444818" y="1235249"/>
                  </a:lnTo>
                  <a:lnTo>
                    <a:pt x="438785" y="1239065"/>
                  </a:lnTo>
                  <a:lnTo>
                    <a:pt x="432435" y="1242562"/>
                  </a:lnTo>
                  <a:lnTo>
                    <a:pt x="425450" y="1245741"/>
                  </a:lnTo>
                  <a:lnTo>
                    <a:pt x="418465" y="1248921"/>
                  </a:lnTo>
                  <a:lnTo>
                    <a:pt x="410845" y="1251782"/>
                  </a:lnTo>
                  <a:lnTo>
                    <a:pt x="402908" y="1254644"/>
                  </a:lnTo>
                  <a:lnTo>
                    <a:pt x="394970" y="1257187"/>
                  </a:lnTo>
                  <a:lnTo>
                    <a:pt x="386398" y="1259731"/>
                  </a:lnTo>
                  <a:lnTo>
                    <a:pt x="377825" y="1261956"/>
                  </a:lnTo>
                  <a:lnTo>
                    <a:pt x="368618" y="1263864"/>
                  </a:lnTo>
                  <a:lnTo>
                    <a:pt x="359410" y="1265772"/>
                  </a:lnTo>
                  <a:lnTo>
                    <a:pt x="349885" y="1267679"/>
                  </a:lnTo>
                  <a:lnTo>
                    <a:pt x="340043" y="1269269"/>
                  </a:lnTo>
                  <a:lnTo>
                    <a:pt x="329883" y="1270223"/>
                  </a:lnTo>
                  <a:lnTo>
                    <a:pt x="319723" y="1271495"/>
                  </a:lnTo>
                  <a:lnTo>
                    <a:pt x="309245" y="1272131"/>
                  </a:lnTo>
                  <a:lnTo>
                    <a:pt x="298768" y="1272767"/>
                  </a:lnTo>
                  <a:lnTo>
                    <a:pt x="287973" y="1273085"/>
                  </a:lnTo>
                  <a:lnTo>
                    <a:pt x="276860" y="1273402"/>
                  </a:lnTo>
                  <a:lnTo>
                    <a:pt x="273685" y="1273085"/>
                  </a:lnTo>
                  <a:lnTo>
                    <a:pt x="313055" y="1331268"/>
                  </a:lnTo>
                  <a:lnTo>
                    <a:pt x="302895" y="1338263"/>
                  </a:lnTo>
                  <a:lnTo>
                    <a:pt x="259080" y="1273085"/>
                  </a:lnTo>
                  <a:lnTo>
                    <a:pt x="244157" y="1272131"/>
                  </a:lnTo>
                  <a:lnTo>
                    <a:pt x="230505" y="1271177"/>
                  </a:lnTo>
                  <a:lnTo>
                    <a:pt x="216852" y="1269587"/>
                  </a:lnTo>
                  <a:lnTo>
                    <a:pt x="203835" y="1267362"/>
                  </a:lnTo>
                  <a:lnTo>
                    <a:pt x="190817" y="1265136"/>
                  </a:lnTo>
                  <a:lnTo>
                    <a:pt x="178435" y="1262592"/>
                  </a:lnTo>
                  <a:lnTo>
                    <a:pt x="166687" y="1259413"/>
                  </a:lnTo>
                  <a:lnTo>
                    <a:pt x="155575" y="1255916"/>
                  </a:lnTo>
                  <a:lnTo>
                    <a:pt x="144780" y="1252736"/>
                  </a:lnTo>
                  <a:lnTo>
                    <a:pt x="134937" y="1248603"/>
                  </a:lnTo>
                  <a:lnTo>
                    <a:pt x="125095" y="1244470"/>
                  </a:lnTo>
                  <a:lnTo>
                    <a:pt x="116522" y="1239383"/>
                  </a:lnTo>
                  <a:lnTo>
                    <a:pt x="108267" y="1234931"/>
                  </a:lnTo>
                  <a:lnTo>
                    <a:pt x="100647" y="1229844"/>
                  </a:lnTo>
                  <a:lnTo>
                    <a:pt x="93980" y="1224439"/>
                  </a:lnTo>
                  <a:lnTo>
                    <a:pt x="87947" y="1218716"/>
                  </a:lnTo>
                  <a:lnTo>
                    <a:pt x="2857" y="1238747"/>
                  </a:lnTo>
                  <a:lnTo>
                    <a:pt x="0" y="1226983"/>
                  </a:lnTo>
                  <a:lnTo>
                    <a:pt x="79375" y="1208224"/>
                  </a:lnTo>
                  <a:lnTo>
                    <a:pt x="76835" y="1204727"/>
                  </a:lnTo>
                  <a:lnTo>
                    <a:pt x="74612" y="1201229"/>
                  </a:lnTo>
                  <a:lnTo>
                    <a:pt x="72707" y="1197414"/>
                  </a:lnTo>
                  <a:lnTo>
                    <a:pt x="71437" y="1193599"/>
                  </a:lnTo>
                  <a:lnTo>
                    <a:pt x="70167" y="1189465"/>
                  </a:lnTo>
                  <a:lnTo>
                    <a:pt x="69532" y="1185650"/>
                  </a:lnTo>
                  <a:lnTo>
                    <a:pt x="69215" y="1181517"/>
                  </a:lnTo>
                  <a:lnTo>
                    <a:pt x="68580" y="1177384"/>
                  </a:lnTo>
                  <a:lnTo>
                    <a:pt x="69215" y="1171661"/>
                  </a:lnTo>
                  <a:lnTo>
                    <a:pt x="70167" y="1166574"/>
                  </a:lnTo>
                  <a:lnTo>
                    <a:pt x="71755" y="1161169"/>
                  </a:lnTo>
                  <a:lnTo>
                    <a:pt x="73977" y="1155763"/>
                  </a:lnTo>
                  <a:lnTo>
                    <a:pt x="76517" y="1150676"/>
                  </a:lnTo>
                  <a:lnTo>
                    <a:pt x="80010" y="1145589"/>
                  </a:lnTo>
                  <a:lnTo>
                    <a:pt x="83820" y="1140820"/>
                  </a:lnTo>
                  <a:lnTo>
                    <a:pt x="88265" y="1136051"/>
                  </a:lnTo>
                  <a:lnTo>
                    <a:pt x="93027" y="1131282"/>
                  </a:lnTo>
                  <a:lnTo>
                    <a:pt x="98425" y="1126831"/>
                  </a:lnTo>
                  <a:lnTo>
                    <a:pt x="104457" y="1122697"/>
                  </a:lnTo>
                  <a:lnTo>
                    <a:pt x="110807" y="1118564"/>
                  </a:lnTo>
                  <a:lnTo>
                    <a:pt x="117475" y="1114431"/>
                  </a:lnTo>
                  <a:lnTo>
                    <a:pt x="124777" y="1111251"/>
                  </a:lnTo>
                  <a:lnTo>
                    <a:pt x="132715" y="1107436"/>
                  </a:lnTo>
                  <a:lnTo>
                    <a:pt x="140652" y="1103939"/>
                  </a:lnTo>
                  <a:lnTo>
                    <a:pt x="89852" y="1023817"/>
                  </a:lnTo>
                  <a:lnTo>
                    <a:pt x="100012" y="1017458"/>
                  </a:lnTo>
                  <a:lnTo>
                    <a:pt x="152400" y="1099805"/>
                  </a:lnTo>
                  <a:lnTo>
                    <a:pt x="162242" y="1096944"/>
                  </a:lnTo>
                  <a:lnTo>
                    <a:pt x="172720" y="1093765"/>
                  </a:lnTo>
                  <a:lnTo>
                    <a:pt x="154940" y="850538"/>
                  </a:lnTo>
                  <a:lnTo>
                    <a:pt x="150812" y="844179"/>
                  </a:lnTo>
                  <a:lnTo>
                    <a:pt x="146367" y="837820"/>
                  </a:lnTo>
                  <a:lnTo>
                    <a:pt x="143510" y="830826"/>
                  </a:lnTo>
                  <a:lnTo>
                    <a:pt x="140652" y="824149"/>
                  </a:lnTo>
                  <a:lnTo>
                    <a:pt x="140652" y="821605"/>
                  </a:lnTo>
                  <a:lnTo>
                    <a:pt x="136842" y="782816"/>
                  </a:lnTo>
                  <a:lnTo>
                    <a:pt x="133032" y="740212"/>
                  </a:lnTo>
                  <a:lnTo>
                    <a:pt x="128587" y="687433"/>
                  </a:lnTo>
                  <a:lnTo>
                    <a:pt x="119697" y="557077"/>
                  </a:lnTo>
                  <a:lnTo>
                    <a:pt x="116522" y="554215"/>
                  </a:lnTo>
                  <a:lnTo>
                    <a:pt x="112712" y="550400"/>
                  </a:lnTo>
                  <a:lnTo>
                    <a:pt x="112395" y="550400"/>
                  </a:lnTo>
                  <a:lnTo>
                    <a:pt x="112395" y="550718"/>
                  </a:lnTo>
                  <a:lnTo>
                    <a:pt x="112077" y="552307"/>
                  </a:lnTo>
                  <a:lnTo>
                    <a:pt x="111125" y="558666"/>
                  </a:lnTo>
                  <a:lnTo>
                    <a:pt x="111125" y="569794"/>
                  </a:lnTo>
                  <a:lnTo>
                    <a:pt x="111125" y="584420"/>
                  </a:lnTo>
                  <a:lnTo>
                    <a:pt x="112395" y="621937"/>
                  </a:lnTo>
                  <a:lnTo>
                    <a:pt x="113665" y="666449"/>
                  </a:lnTo>
                  <a:lnTo>
                    <a:pt x="116205" y="712869"/>
                  </a:lnTo>
                  <a:lnTo>
                    <a:pt x="118427" y="756109"/>
                  </a:lnTo>
                  <a:lnTo>
                    <a:pt x="120332" y="791401"/>
                  </a:lnTo>
                  <a:lnTo>
                    <a:pt x="122237" y="813021"/>
                  </a:lnTo>
                  <a:lnTo>
                    <a:pt x="112077" y="813339"/>
                  </a:lnTo>
                  <a:lnTo>
                    <a:pt x="105410" y="813339"/>
                  </a:lnTo>
                  <a:lnTo>
                    <a:pt x="98425" y="812385"/>
                  </a:lnTo>
                  <a:lnTo>
                    <a:pt x="90487" y="811431"/>
                  </a:lnTo>
                  <a:lnTo>
                    <a:pt x="82550" y="809523"/>
                  </a:lnTo>
                  <a:lnTo>
                    <a:pt x="78740" y="807934"/>
                  </a:lnTo>
                  <a:lnTo>
                    <a:pt x="74612" y="806344"/>
                  </a:lnTo>
                  <a:lnTo>
                    <a:pt x="70802" y="804754"/>
                  </a:lnTo>
                  <a:lnTo>
                    <a:pt x="66675" y="802211"/>
                  </a:lnTo>
                  <a:lnTo>
                    <a:pt x="65087" y="791083"/>
                  </a:lnTo>
                  <a:lnTo>
                    <a:pt x="63182" y="776139"/>
                  </a:lnTo>
                  <a:lnTo>
                    <a:pt x="61277" y="758335"/>
                  </a:lnTo>
                  <a:lnTo>
                    <a:pt x="59055" y="737986"/>
                  </a:lnTo>
                  <a:lnTo>
                    <a:pt x="55245" y="692520"/>
                  </a:lnTo>
                  <a:lnTo>
                    <a:pt x="51752" y="643875"/>
                  </a:lnTo>
                  <a:lnTo>
                    <a:pt x="49212" y="596819"/>
                  </a:lnTo>
                  <a:lnTo>
                    <a:pt x="47307" y="555487"/>
                  </a:lnTo>
                  <a:lnTo>
                    <a:pt x="46990" y="538318"/>
                  </a:lnTo>
                  <a:lnTo>
                    <a:pt x="46355" y="524011"/>
                  </a:lnTo>
                  <a:lnTo>
                    <a:pt x="46990" y="513836"/>
                  </a:lnTo>
                  <a:lnTo>
                    <a:pt x="47307" y="507477"/>
                  </a:lnTo>
                  <a:lnTo>
                    <a:pt x="47625" y="503026"/>
                  </a:lnTo>
                  <a:lnTo>
                    <a:pt x="48895" y="498893"/>
                  </a:lnTo>
                  <a:lnTo>
                    <a:pt x="49847" y="495078"/>
                  </a:lnTo>
                  <a:lnTo>
                    <a:pt x="51752" y="490944"/>
                  </a:lnTo>
                  <a:lnTo>
                    <a:pt x="53975" y="487129"/>
                  </a:lnTo>
                  <a:lnTo>
                    <a:pt x="56515" y="483314"/>
                  </a:lnTo>
                  <a:lnTo>
                    <a:pt x="59690" y="480134"/>
                  </a:lnTo>
                  <a:lnTo>
                    <a:pt x="62547" y="476637"/>
                  </a:lnTo>
                  <a:lnTo>
                    <a:pt x="66357" y="473140"/>
                  </a:lnTo>
                  <a:lnTo>
                    <a:pt x="70167" y="470278"/>
                  </a:lnTo>
                  <a:lnTo>
                    <a:pt x="74612" y="467099"/>
                  </a:lnTo>
                  <a:lnTo>
                    <a:pt x="79375" y="464237"/>
                  </a:lnTo>
                  <a:lnTo>
                    <a:pt x="88900" y="458514"/>
                  </a:lnTo>
                  <a:lnTo>
                    <a:pt x="99377" y="453745"/>
                  </a:lnTo>
                  <a:lnTo>
                    <a:pt x="111125" y="449294"/>
                  </a:lnTo>
                  <a:lnTo>
                    <a:pt x="123190" y="444525"/>
                  </a:lnTo>
                  <a:lnTo>
                    <a:pt x="135572" y="441027"/>
                  </a:lnTo>
                  <a:lnTo>
                    <a:pt x="148907" y="437530"/>
                  </a:lnTo>
                  <a:lnTo>
                    <a:pt x="161607" y="434351"/>
                  </a:lnTo>
                  <a:lnTo>
                    <a:pt x="174625" y="431807"/>
                  </a:lnTo>
                  <a:lnTo>
                    <a:pt x="187960" y="429581"/>
                  </a:lnTo>
                  <a:lnTo>
                    <a:pt x="200660" y="427674"/>
                  </a:lnTo>
                  <a:lnTo>
                    <a:pt x="203835" y="427674"/>
                  </a:lnTo>
                  <a:lnTo>
                    <a:pt x="206692" y="427674"/>
                  </a:lnTo>
                  <a:lnTo>
                    <a:pt x="248285" y="582194"/>
                  </a:lnTo>
                  <a:lnTo>
                    <a:pt x="249237" y="576153"/>
                  </a:lnTo>
                  <a:lnTo>
                    <a:pt x="263525" y="470278"/>
                  </a:lnTo>
                  <a:lnTo>
                    <a:pt x="259715" y="459786"/>
                  </a:lnTo>
                  <a:lnTo>
                    <a:pt x="267653" y="445797"/>
                  </a:lnTo>
                  <a:lnTo>
                    <a:pt x="285750" y="445797"/>
                  </a:lnTo>
                  <a:lnTo>
                    <a:pt x="293688" y="459786"/>
                  </a:lnTo>
                  <a:lnTo>
                    <a:pt x="289878" y="472186"/>
                  </a:lnTo>
                  <a:lnTo>
                    <a:pt x="302578" y="584102"/>
                  </a:lnTo>
                  <a:lnTo>
                    <a:pt x="336868" y="432443"/>
                  </a:lnTo>
                  <a:lnTo>
                    <a:pt x="343853" y="429263"/>
                  </a:lnTo>
                  <a:lnTo>
                    <a:pt x="345440" y="428310"/>
                  </a:lnTo>
                  <a:lnTo>
                    <a:pt x="345758" y="427674"/>
                  </a:lnTo>
                  <a:lnTo>
                    <a:pt x="352108" y="427356"/>
                  </a:lnTo>
                  <a:lnTo>
                    <a:pt x="358458" y="427038"/>
                  </a:lnTo>
                  <a:close/>
                  <a:moveTo>
                    <a:pt x="1859239" y="201613"/>
                  </a:moveTo>
                  <a:lnTo>
                    <a:pt x="1864624" y="201613"/>
                  </a:lnTo>
                  <a:lnTo>
                    <a:pt x="1869375" y="201613"/>
                  </a:lnTo>
                  <a:lnTo>
                    <a:pt x="1874760" y="201930"/>
                  </a:lnTo>
                  <a:lnTo>
                    <a:pt x="1879828" y="202248"/>
                  </a:lnTo>
                  <a:lnTo>
                    <a:pt x="1884896" y="203517"/>
                  </a:lnTo>
                  <a:lnTo>
                    <a:pt x="1895349" y="205739"/>
                  </a:lnTo>
                  <a:lnTo>
                    <a:pt x="1905485" y="208595"/>
                  </a:lnTo>
                  <a:lnTo>
                    <a:pt x="1914988" y="212403"/>
                  </a:lnTo>
                  <a:lnTo>
                    <a:pt x="1924490" y="216529"/>
                  </a:lnTo>
                  <a:lnTo>
                    <a:pt x="1933676" y="221290"/>
                  </a:lnTo>
                  <a:lnTo>
                    <a:pt x="1942229" y="225733"/>
                  </a:lnTo>
                  <a:lnTo>
                    <a:pt x="1949514" y="230493"/>
                  </a:lnTo>
                  <a:lnTo>
                    <a:pt x="1956799" y="235571"/>
                  </a:lnTo>
                  <a:lnTo>
                    <a:pt x="1962818" y="240014"/>
                  </a:lnTo>
                  <a:lnTo>
                    <a:pt x="1967886" y="244140"/>
                  </a:lnTo>
                  <a:lnTo>
                    <a:pt x="1971687" y="247948"/>
                  </a:lnTo>
                  <a:lnTo>
                    <a:pt x="1974538" y="251122"/>
                  </a:lnTo>
                  <a:lnTo>
                    <a:pt x="1975488" y="253343"/>
                  </a:lnTo>
                  <a:lnTo>
                    <a:pt x="1976438" y="258739"/>
                  </a:lnTo>
                  <a:lnTo>
                    <a:pt x="1975805" y="267307"/>
                  </a:lnTo>
                  <a:lnTo>
                    <a:pt x="1975488" y="279367"/>
                  </a:lnTo>
                  <a:lnTo>
                    <a:pt x="1974854" y="293649"/>
                  </a:lnTo>
                  <a:lnTo>
                    <a:pt x="1972637" y="328241"/>
                  </a:lnTo>
                  <a:lnTo>
                    <a:pt x="1969153" y="368229"/>
                  </a:lnTo>
                  <a:lnTo>
                    <a:pt x="1965352" y="408852"/>
                  </a:lnTo>
                  <a:lnTo>
                    <a:pt x="1961234" y="446619"/>
                  </a:lnTo>
                  <a:lnTo>
                    <a:pt x="1957433" y="478355"/>
                  </a:lnTo>
                  <a:lnTo>
                    <a:pt x="1956166" y="490732"/>
                  </a:lnTo>
                  <a:lnTo>
                    <a:pt x="1954265" y="499619"/>
                  </a:lnTo>
                  <a:lnTo>
                    <a:pt x="1948564" y="501840"/>
                  </a:lnTo>
                  <a:lnTo>
                    <a:pt x="1942862" y="503744"/>
                  </a:lnTo>
                  <a:lnTo>
                    <a:pt x="1937794" y="505331"/>
                  </a:lnTo>
                  <a:lnTo>
                    <a:pt x="1932726" y="506283"/>
                  </a:lnTo>
                  <a:lnTo>
                    <a:pt x="1928291" y="507235"/>
                  </a:lnTo>
                  <a:lnTo>
                    <a:pt x="1924174" y="507235"/>
                  </a:lnTo>
                  <a:lnTo>
                    <a:pt x="1920373" y="506918"/>
                  </a:lnTo>
                  <a:lnTo>
                    <a:pt x="1917522" y="505966"/>
                  </a:lnTo>
                  <a:lnTo>
                    <a:pt x="1918472" y="488828"/>
                  </a:lnTo>
                  <a:lnTo>
                    <a:pt x="1919422" y="460900"/>
                  </a:lnTo>
                  <a:lnTo>
                    <a:pt x="1920373" y="426307"/>
                  </a:lnTo>
                  <a:lnTo>
                    <a:pt x="1920689" y="389493"/>
                  </a:lnTo>
                  <a:lnTo>
                    <a:pt x="1921006" y="354265"/>
                  </a:lnTo>
                  <a:lnTo>
                    <a:pt x="1920689" y="324750"/>
                  </a:lnTo>
                  <a:lnTo>
                    <a:pt x="1920373" y="313325"/>
                  </a:lnTo>
                  <a:lnTo>
                    <a:pt x="1919739" y="305074"/>
                  </a:lnTo>
                  <a:lnTo>
                    <a:pt x="1918789" y="299996"/>
                  </a:lnTo>
                  <a:lnTo>
                    <a:pt x="1918472" y="299361"/>
                  </a:lnTo>
                  <a:lnTo>
                    <a:pt x="1918472" y="299044"/>
                  </a:lnTo>
                  <a:lnTo>
                    <a:pt x="1918155" y="299361"/>
                  </a:lnTo>
                  <a:lnTo>
                    <a:pt x="1914988" y="303170"/>
                  </a:lnTo>
                  <a:lnTo>
                    <a:pt x="1912454" y="307295"/>
                  </a:lnTo>
                  <a:lnTo>
                    <a:pt x="1911820" y="308247"/>
                  </a:lnTo>
                  <a:lnTo>
                    <a:pt x="1902318" y="443762"/>
                  </a:lnTo>
                  <a:lnTo>
                    <a:pt x="1897883" y="493906"/>
                  </a:lnTo>
                  <a:lnTo>
                    <a:pt x="1895982" y="513900"/>
                  </a:lnTo>
                  <a:lnTo>
                    <a:pt x="1895982" y="515804"/>
                  </a:lnTo>
                  <a:lnTo>
                    <a:pt x="1893765" y="521834"/>
                  </a:lnTo>
                  <a:lnTo>
                    <a:pt x="1891231" y="528181"/>
                  </a:lnTo>
                  <a:lnTo>
                    <a:pt x="1887747" y="534211"/>
                  </a:lnTo>
                  <a:lnTo>
                    <a:pt x="1883946" y="539924"/>
                  </a:lnTo>
                  <a:lnTo>
                    <a:pt x="1869375" y="734151"/>
                  </a:lnTo>
                  <a:lnTo>
                    <a:pt x="1879828" y="736373"/>
                  </a:lnTo>
                  <a:lnTo>
                    <a:pt x="1890281" y="738912"/>
                  </a:lnTo>
                  <a:lnTo>
                    <a:pt x="1899784" y="742403"/>
                  </a:lnTo>
                  <a:lnTo>
                    <a:pt x="1909286" y="745576"/>
                  </a:lnTo>
                  <a:lnTo>
                    <a:pt x="1917839" y="749067"/>
                  </a:lnTo>
                  <a:lnTo>
                    <a:pt x="1925757" y="752876"/>
                  </a:lnTo>
                  <a:lnTo>
                    <a:pt x="1933043" y="757002"/>
                  </a:lnTo>
                  <a:lnTo>
                    <a:pt x="1940011" y="761762"/>
                  </a:lnTo>
                  <a:lnTo>
                    <a:pt x="1946030" y="766522"/>
                  </a:lnTo>
                  <a:lnTo>
                    <a:pt x="1951098" y="771283"/>
                  </a:lnTo>
                  <a:lnTo>
                    <a:pt x="1955532" y="776361"/>
                  </a:lnTo>
                  <a:lnTo>
                    <a:pt x="1959333" y="781439"/>
                  </a:lnTo>
                  <a:lnTo>
                    <a:pt x="1962501" y="787151"/>
                  </a:lnTo>
                  <a:lnTo>
                    <a:pt x="1964718" y="792864"/>
                  </a:lnTo>
                  <a:lnTo>
                    <a:pt x="1966302" y="798894"/>
                  </a:lnTo>
                  <a:lnTo>
                    <a:pt x="1966619" y="801750"/>
                  </a:lnTo>
                  <a:lnTo>
                    <a:pt x="1966619" y="804924"/>
                  </a:lnTo>
                  <a:lnTo>
                    <a:pt x="1966302" y="808732"/>
                  </a:lnTo>
                  <a:lnTo>
                    <a:pt x="1965669" y="812223"/>
                  </a:lnTo>
                  <a:lnTo>
                    <a:pt x="1965035" y="816031"/>
                  </a:lnTo>
                  <a:lnTo>
                    <a:pt x="1963451" y="819522"/>
                  </a:lnTo>
                  <a:lnTo>
                    <a:pt x="1962184" y="823331"/>
                  </a:lnTo>
                  <a:lnTo>
                    <a:pt x="1960284" y="826504"/>
                  </a:lnTo>
                  <a:lnTo>
                    <a:pt x="1958066" y="829995"/>
                  </a:lnTo>
                  <a:lnTo>
                    <a:pt x="1955532" y="833486"/>
                  </a:lnTo>
                  <a:lnTo>
                    <a:pt x="1952682" y="836660"/>
                  </a:lnTo>
                  <a:lnTo>
                    <a:pt x="1949514" y="839834"/>
                  </a:lnTo>
                  <a:lnTo>
                    <a:pt x="1946030" y="842690"/>
                  </a:lnTo>
                  <a:lnTo>
                    <a:pt x="1942545" y="845864"/>
                  </a:lnTo>
                  <a:lnTo>
                    <a:pt x="1938428" y="848720"/>
                  </a:lnTo>
                  <a:lnTo>
                    <a:pt x="1934310" y="851576"/>
                  </a:lnTo>
                  <a:lnTo>
                    <a:pt x="1924807" y="856654"/>
                  </a:lnTo>
                  <a:lnTo>
                    <a:pt x="1914354" y="861732"/>
                  </a:lnTo>
                  <a:lnTo>
                    <a:pt x="1903268" y="865858"/>
                  </a:lnTo>
                  <a:lnTo>
                    <a:pt x="1891231" y="869983"/>
                  </a:lnTo>
                  <a:lnTo>
                    <a:pt x="1878244" y="873157"/>
                  </a:lnTo>
                  <a:lnTo>
                    <a:pt x="1864624" y="876013"/>
                  </a:lnTo>
                  <a:lnTo>
                    <a:pt x="1850370" y="878235"/>
                  </a:lnTo>
                  <a:lnTo>
                    <a:pt x="1835165" y="880139"/>
                  </a:lnTo>
                  <a:lnTo>
                    <a:pt x="1819644" y="881091"/>
                  </a:lnTo>
                  <a:lnTo>
                    <a:pt x="1783851" y="947738"/>
                  </a:lnTo>
                  <a:lnTo>
                    <a:pt x="1773398" y="941708"/>
                  </a:lnTo>
                  <a:lnTo>
                    <a:pt x="1805390" y="881409"/>
                  </a:lnTo>
                  <a:lnTo>
                    <a:pt x="1800322" y="881726"/>
                  </a:lnTo>
                  <a:lnTo>
                    <a:pt x="1787335" y="881409"/>
                  </a:lnTo>
                  <a:lnTo>
                    <a:pt x="1774032" y="881091"/>
                  </a:lnTo>
                  <a:lnTo>
                    <a:pt x="1761678" y="880139"/>
                  </a:lnTo>
                  <a:lnTo>
                    <a:pt x="1749642" y="878552"/>
                  </a:lnTo>
                  <a:lnTo>
                    <a:pt x="1737605" y="876648"/>
                  </a:lnTo>
                  <a:lnTo>
                    <a:pt x="1726518" y="874427"/>
                  </a:lnTo>
                  <a:lnTo>
                    <a:pt x="1716066" y="871888"/>
                  </a:lnTo>
                  <a:lnTo>
                    <a:pt x="1705296" y="868714"/>
                  </a:lnTo>
                  <a:lnTo>
                    <a:pt x="1696110" y="865223"/>
                  </a:lnTo>
                  <a:lnTo>
                    <a:pt x="1686607" y="862049"/>
                  </a:lnTo>
                  <a:lnTo>
                    <a:pt x="1678372" y="857924"/>
                  </a:lnTo>
                  <a:lnTo>
                    <a:pt x="1670453" y="853798"/>
                  </a:lnTo>
                  <a:lnTo>
                    <a:pt x="1663484" y="849037"/>
                  </a:lnTo>
                  <a:lnTo>
                    <a:pt x="1657149" y="844594"/>
                  </a:lnTo>
                  <a:lnTo>
                    <a:pt x="1651448" y="839516"/>
                  </a:lnTo>
                  <a:lnTo>
                    <a:pt x="1646696" y="834439"/>
                  </a:lnTo>
                  <a:lnTo>
                    <a:pt x="1574476" y="851894"/>
                  </a:lnTo>
                  <a:lnTo>
                    <a:pt x="1571625" y="840151"/>
                  </a:lnTo>
                  <a:lnTo>
                    <a:pt x="1639411" y="823648"/>
                  </a:lnTo>
                  <a:lnTo>
                    <a:pt x="1637510" y="819205"/>
                  </a:lnTo>
                  <a:lnTo>
                    <a:pt x="1635927" y="814127"/>
                  </a:lnTo>
                  <a:lnTo>
                    <a:pt x="1634976" y="809684"/>
                  </a:lnTo>
                  <a:lnTo>
                    <a:pt x="1634660" y="804924"/>
                  </a:lnTo>
                  <a:lnTo>
                    <a:pt x="1634976" y="799211"/>
                  </a:lnTo>
                  <a:lnTo>
                    <a:pt x="1635927" y="793816"/>
                  </a:lnTo>
                  <a:lnTo>
                    <a:pt x="1637827" y="788738"/>
                  </a:lnTo>
                  <a:lnTo>
                    <a:pt x="1640678" y="783343"/>
                  </a:lnTo>
                  <a:lnTo>
                    <a:pt x="1643529" y="778582"/>
                  </a:lnTo>
                  <a:lnTo>
                    <a:pt x="1647646" y="773504"/>
                  </a:lnTo>
                  <a:lnTo>
                    <a:pt x="1652081" y="769061"/>
                  </a:lnTo>
                  <a:lnTo>
                    <a:pt x="1657466" y="764618"/>
                  </a:lnTo>
                  <a:lnTo>
                    <a:pt x="1663167" y="760493"/>
                  </a:lnTo>
                  <a:lnTo>
                    <a:pt x="1669503" y="756684"/>
                  </a:lnTo>
                  <a:lnTo>
                    <a:pt x="1676154" y="752876"/>
                  </a:lnTo>
                  <a:lnTo>
                    <a:pt x="1683757" y="749067"/>
                  </a:lnTo>
                  <a:lnTo>
                    <a:pt x="1691675" y="745894"/>
                  </a:lnTo>
                  <a:lnTo>
                    <a:pt x="1700228" y="742720"/>
                  </a:lnTo>
                  <a:lnTo>
                    <a:pt x="1708780" y="740181"/>
                  </a:lnTo>
                  <a:lnTo>
                    <a:pt x="1718283" y="737642"/>
                  </a:lnTo>
                  <a:lnTo>
                    <a:pt x="1703079" y="536750"/>
                  </a:lnTo>
                  <a:lnTo>
                    <a:pt x="1699911" y="531990"/>
                  </a:lnTo>
                  <a:lnTo>
                    <a:pt x="1696744" y="526595"/>
                  </a:lnTo>
                  <a:lnTo>
                    <a:pt x="1694209" y="521517"/>
                  </a:lnTo>
                  <a:lnTo>
                    <a:pt x="1691992" y="516122"/>
                  </a:lnTo>
                  <a:lnTo>
                    <a:pt x="1691992" y="513900"/>
                  </a:lnTo>
                  <a:lnTo>
                    <a:pt x="1688825" y="483116"/>
                  </a:lnTo>
                  <a:lnTo>
                    <a:pt x="1685974" y="449792"/>
                  </a:lnTo>
                  <a:lnTo>
                    <a:pt x="1682490" y="407583"/>
                  </a:lnTo>
                  <a:lnTo>
                    <a:pt x="1675521" y="304439"/>
                  </a:lnTo>
                  <a:lnTo>
                    <a:pt x="1672670" y="302218"/>
                  </a:lnTo>
                  <a:lnTo>
                    <a:pt x="1669819" y="299361"/>
                  </a:lnTo>
                  <a:lnTo>
                    <a:pt x="1669503" y="299361"/>
                  </a:lnTo>
                  <a:lnTo>
                    <a:pt x="1669186" y="300948"/>
                  </a:lnTo>
                  <a:lnTo>
                    <a:pt x="1668552" y="305709"/>
                  </a:lnTo>
                  <a:lnTo>
                    <a:pt x="1668552" y="314277"/>
                  </a:lnTo>
                  <a:lnTo>
                    <a:pt x="1668552" y="326020"/>
                  </a:lnTo>
                  <a:lnTo>
                    <a:pt x="1669503" y="355852"/>
                  </a:lnTo>
                  <a:lnTo>
                    <a:pt x="1671086" y="391080"/>
                  </a:lnTo>
                  <a:lnTo>
                    <a:pt x="1672353" y="427894"/>
                  </a:lnTo>
                  <a:lnTo>
                    <a:pt x="1674254" y="462169"/>
                  </a:lnTo>
                  <a:lnTo>
                    <a:pt x="1675838" y="489780"/>
                  </a:lnTo>
                  <a:lnTo>
                    <a:pt x="1677421" y="507235"/>
                  </a:lnTo>
                  <a:lnTo>
                    <a:pt x="1669503" y="507235"/>
                  </a:lnTo>
                  <a:lnTo>
                    <a:pt x="1664118" y="507235"/>
                  </a:lnTo>
                  <a:lnTo>
                    <a:pt x="1658416" y="506918"/>
                  </a:lnTo>
                  <a:lnTo>
                    <a:pt x="1652715" y="505648"/>
                  </a:lnTo>
                  <a:lnTo>
                    <a:pt x="1646063" y="504062"/>
                  </a:lnTo>
                  <a:lnTo>
                    <a:pt x="1639728" y="501840"/>
                  </a:lnTo>
                  <a:lnTo>
                    <a:pt x="1636877" y="500253"/>
                  </a:lnTo>
                  <a:lnTo>
                    <a:pt x="1633709" y="498984"/>
                  </a:lnTo>
                  <a:lnTo>
                    <a:pt x="1632442" y="489780"/>
                  </a:lnTo>
                  <a:lnTo>
                    <a:pt x="1630858" y="477720"/>
                  </a:lnTo>
                  <a:lnTo>
                    <a:pt x="1627374" y="447888"/>
                  </a:lnTo>
                  <a:lnTo>
                    <a:pt x="1624523" y="411708"/>
                  </a:lnTo>
                  <a:lnTo>
                    <a:pt x="1621673" y="373307"/>
                  </a:lnTo>
                  <a:lnTo>
                    <a:pt x="1619455" y="336176"/>
                  </a:lnTo>
                  <a:lnTo>
                    <a:pt x="1618188" y="303487"/>
                  </a:lnTo>
                  <a:lnTo>
                    <a:pt x="1617555" y="278733"/>
                  </a:lnTo>
                  <a:lnTo>
                    <a:pt x="1617555" y="270481"/>
                  </a:lnTo>
                  <a:lnTo>
                    <a:pt x="1618188" y="265086"/>
                  </a:lnTo>
                  <a:lnTo>
                    <a:pt x="1618505" y="261595"/>
                  </a:lnTo>
                  <a:lnTo>
                    <a:pt x="1619139" y="258421"/>
                  </a:lnTo>
                  <a:lnTo>
                    <a:pt x="1620406" y="255248"/>
                  </a:lnTo>
                  <a:lnTo>
                    <a:pt x="1621673" y="252391"/>
                  </a:lnTo>
                  <a:lnTo>
                    <a:pt x="1623573" y="249218"/>
                  </a:lnTo>
                  <a:lnTo>
                    <a:pt x="1625474" y="246361"/>
                  </a:lnTo>
                  <a:lnTo>
                    <a:pt x="1627691" y="243822"/>
                  </a:lnTo>
                  <a:lnTo>
                    <a:pt x="1630542" y="240649"/>
                  </a:lnTo>
                  <a:lnTo>
                    <a:pt x="1633392" y="238110"/>
                  </a:lnTo>
                  <a:lnTo>
                    <a:pt x="1636560" y="235888"/>
                  </a:lnTo>
                  <a:lnTo>
                    <a:pt x="1643212" y="230810"/>
                  </a:lnTo>
                  <a:lnTo>
                    <a:pt x="1651131" y="226685"/>
                  </a:lnTo>
                  <a:lnTo>
                    <a:pt x="1659683" y="222559"/>
                  </a:lnTo>
                  <a:lnTo>
                    <a:pt x="1668552" y="218751"/>
                  </a:lnTo>
                  <a:lnTo>
                    <a:pt x="1678055" y="215577"/>
                  </a:lnTo>
                  <a:lnTo>
                    <a:pt x="1688191" y="212403"/>
                  </a:lnTo>
                  <a:lnTo>
                    <a:pt x="1698327" y="209864"/>
                  </a:lnTo>
                  <a:lnTo>
                    <a:pt x="1708780" y="207643"/>
                  </a:lnTo>
                  <a:lnTo>
                    <a:pt x="1718916" y="205421"/>
                  </a:lnTo>
                  <a:lnTo>
                    <a:pt x="1729369" y="203834"/>
                  </a:lnTo>
                  <a:lnTo>
                    <a:pt x="1739505" y="202248"/>
                  </a:lnTo>
                  <a:lnTo>
                    <a:pt x="1741723" y="201930"/>
                  </a:lnTo>
                  <a:lnTo>
                    <a:pt x="1743940" y="201930"/>
                  </a:lnTo>
                  <a:lnTo>
                    <a:pt x="1777516" y="324433"/>
                  </a:lnTo>
                  <a:lnTo>
                    <a:pt x="1777833" y="319673"/>
                  </a:lnTo>
                  <a:lnTo>
                    <a:pt x="1789553" y="235888"/>
                  </a:lnTo>
                  <a:lnTo>
                    <a:pt x="1786068" y="227637"/>
                  </a:lnTo>
                  <a:lnTo>
                    <a:pt x="1792404" y="216529"/>
                  </a:lnTo>
                  <a:lnTo>
                    <a:pt x="1806658" y="216212"/>
                  </a:lnTo>
                  <a:lnTo>
                    <a:pt x="1812676" y="227637"/>
                  </a:lnTo>
                  <a:lnTo>
                    <a:pt x="1810142" y="237158"/>
                  </a:lnTo>
                  <a:lnTo>
                    <a:pt x="1820278" y="325703"/>
                  </a:lnTo>
                  <a:lnTo>
                    <a:pt x="1847202" y="206056"/>
                  </a:lnTo>
                  <a:lnTo>
                    <a:pt x="1852904" y="203517"/>
                  </a:lnTo>
                  <a:lnTo>
                    <a:pt x="1853854" y="202882"/>
                  </a:lnTo>
                  <a:lnTo>
                    <a:pt x="1854488" y="202248"/>
                  </a:lnTo>
                  <a:lnTo>
                    <a:pt x="1859239" y="201613"/>
                  </a:lnTo>
                  <a:close/>
                  <a:moveTo>
                    <a:pt x="2576838" y="182563"/>
                  </a:moveTo>
                  <a:lnTo>
                    <a:pt x="2587021" y="182563"/>
                  </a:lnTo>
                  <a:lnTo>
                    <a:pt x="2597204" y="182880"/>
                  </a:lnTo>
                  <a:lnTo>
                    <a:pt x="2606432" y="183515"/>
                  </a:lnTo>
                  <a:lnTo>
                    <a:pt x="2615979" y="185103"/>
                  </a:lnTo>
                  <a:lnTo>
                    <a:pt x="2624570" y="186690"/>
                  </a:lnTo>
                  <a:lnTo>
                    <a:pt x="2633162" y="188913"/>
                  </a:lnTo>
                  <a:lnTo>
                    <a:pt x="2641118" y="191135"/>
                  </a:lnTo>
                  <a:lnTo>
                    <a:pt x="2649073" y="193993"/>
                  </a:lnTo>
                  <a:lnTo>
                    <a:pt x="2656392" y="196850"/>
                  </a:lnTo>
                  <a:lnTo>
                    <a:pt x="2663074" y="200025"/>
                  </a:lnTo>
                  <a:lnTo>
                    <a:pt x="2669439" y="203200"/>
                  </a:lnTo>
                  <a:lnTo>
                    <a:pt x="2675485" y="206375"/>
                  </a:lnTo>
                  <a:lnTo>
                    <a:pt x="2685986" y="213043"/>
                  </a:lnTo>
                  <a:lnTo>
                    <a:pt x="2694578" y="219393"/>
                  </a:lnTo>
                  <a:lnTo>
                    <a:pt x="2701578" y="224473"/>
                  </a:lnTo>
                  <a:lnTo>
                    <a:pt x="2706670" y="228918"/>
                  </a:lnTo>
                  <a:lnTo>
                    <a:pt x="2710488" y="233045"/>
                  </a:lnTo>
                  <a:lnTo>
                    <a:pt x="2709216" y="236220"/>
                  </a:lnTo>
                  <a:lnTo>
                    <a:pt x="2707625" y="239078"/>
                  </a:lnTo>
                  <a:lnTo>
                    <a:pt x="2705079" y="243840"/>
                  </a:lnTo>
                  <a:lnTo>
                    <a:pt x="2701897" y="248603"/>
                  </a:lnTo>
                  <a:lnTo>
                    <a:pt x="2697760" y="253365"/>
                  </a:lnTo>
                  <a:lnTo>
                    <a:pt x="2693305" y="258763"/>
                  </a:lnTo>
                  <a:lnTo>
                    <a:pt x="2687577" y="264160"/>
                  </a:lnTo>
                  <a:lnTo>
                    <a:pt x="2684077" y="266383"/>
                  </a:lnTo>
                  <a:lnTo>
                    <a:pt x="2681213" y="268605"/>
                  </a:lnTo>
                  <a:lnTo>
                    <a:pt x="2677394" y="270828"/>
                  </a:lnTo>
                  <a:lnTo>
                    <a:pt x="2673575" y="272733"/>
                  </a:lnTo>
                  <a:lnTo>
                    <a:pt x="2669757" y="274638"/>
                  </a:lnTo>
                  <a:lnTo>
                    <a:pt x="2665302" y="275591"/>
                  </a:lnTo>
                  <a:lnTo>
                    <a:pt x="2661165" y="276861"/>
                  </a:lnTo>
                  <a:lnTo>
                    <a:pt x="2656392" y="277496"/>
                  </a:lnTo>
                  <a:lnTo>
                    <a:pt x="2651300" y="277813"/>
                  </a:lnTo>
                  <a:lnTo>
                    <a:pt x="2646527" y="277813"/>
                  </a:lnTo>
                  <a:lnTo>
                    <a:pt x="2640799" y="277496"/>
                  </a:lnTo>
                  <a:lnTo>
                    <a:pt x="2635390" y="276543"/>
                  </a:lnTo>
                  <a:lnTo>
                    <a:pt x="2629344" y="274956"/>
                  </a:lnTo>
                  <a:lnTo>
                    <a:pt x="2623298" y="273050"/>
                  </a:lnTo>
                  <a:lnTo>
                    <a:pt x="2616933" y="270510"/>
                  </a:lnTo>
                  <a:lnTo>
                    <a:pt x="2610569" y="267335"/>
                  </a:lnTo>
                  <a:lnTo>
                    <a:pt x="2603250" y="263525"/>
                  </a:lnTo>
                  <a:lnTo>
                    <a:pt x="2595295" y="260668"/>
                  </a:lnTo>
                  <a:lnTo>
                    <a:pt x="2626480" y="275591"/>
                  </a:lnTo>
                  <a:lnTo>
                    <a:pt x="2641436" y="282576"/>
                  </a:lnTo>
                  <a:lnTo>
                    <a:pt x="2648437" y="285116"/>
                  </a:lnTo>
                  <a:lnTo>
                    <a:pt x="2655437" y="287656"/>
                  </a:lnTo>
                  <a:lnTo>
                    <a:pt x="2661802" y="289878"/>
                  </a:lnTo>
                  <a:lnTo>
                    <a:pt x="2668166" y="291466"/>
                  </a:lnTo>
                  <a:lnTo>
                    <a:pt x="2674212" y="292101"/>
                  </a:lnTo>
                  <a:lnTo>
                    <a:pt x="2679940" y="292736"/>
                  </a:lnTo>
                  <a:lnTo>
                    <a:pt x="2685349" y="292736"/>
                  </a:lnTo>
                  <a:lnTo>
                    <a:pt x="2690123" y="291466"/>
                  </a:lnTo>
                  <a:lnTo>
                    <a:pt x="2692350" y="290196"/>
                  </a:lnTo>
                  <a:lnTo>
                    <a:pt x="2694578" y="289561"/>
                  </a:lnTo>
                  <a:lnTo>
                    <a:pt x="2696805" y="287973"/>
                  </a:lnTo>
                  <a:lnTo>
                    <a:pt x="2698714" y="286703"/>
                  </a:lnTo>
                  <a:lnTo>
                    <a:pt x="2699987" y="297498"/>
                  </a:lnTo>
                  <a:lnTo>
                    <a:pt x="2700624" y="307341"/>
                  </a:lnTo>
                  <a:lnTo>
                    <a:pt x="2700306" y="316548"/>
                  </a:lnTo>
                  <a:lnTo>
                    <a:pt x="2699987" y="325756"/>
                  </a:lnTo>
                  <a:lnTo>
                    <a:pt x="2701578" y="323851"/>
                  </a:lnTo>
                  <a:lnTo>
                    <a:pt x="2702533" y="323533"/>
                  </a:lnTo>
                  <a:lnTo>
                    <a:pt x="2703488" y="322898"/>
                  </a:lnTo>
                  <a:lnTo>
                    <a:pt x="2704442" y="323533"/>
                  </a:lnTo>
                  <a:lnTo>
                    <a:pt x="2705715" y="324168"/>
                  </a:lnTo>
                  <a:lnTo>
                    <a:pt x="2706670" y="325438"/>
                  </a:lnTo>
                  <a:lnTo>
                    <a:pt x="2707625" y="326708"/>
                  </a:lnTo>
                  <a:lnTo>
                    <a:pt x="2709216" y="330836"/>
                  </a:lnTo>
                  <a:lnTo>
                    <a:pt x="2711125" y="336551"/>
                  </a:lnTo>
                  <a:lnTo>
                    <a:pt x="2712398" y="343218"/>
                  </a:lnTo>
                  <a:lnTo>
                    <a:pt x="2713671" y="351156"/>
                  </a:lnTo>
                  <a:lnTo>
                    <a:pt x="2714307" y="359411"/>
                  </a:lnTo>
                  <a:lnTo>
                    <a:pt x="2714625" y="368936"/>
                  </a:lnTo>
                  <a:lnTo>
                    <a:pt x="2714307" y="377826"/>
                  </a:lnTo>
                  <a:lnTo>
                    <a:pt x="2713671" y="386716"/>
                  </a:lnTo>
                  <a:lnTo>
                    <a:pt x="2712398" y="394653"/>
                  </a:lnTo>
                  <a:lnTo>
                    <a:pt x="2711125" y="401321"/>
                  </a:lnTo>
                  <a:lnTo>
                    <a:pt x="2709216" y="407036"/>
                  </a:lnTo>
                  <a:lnTo>
                    <a:pt x="2707625" y="411163"/>
                  </a:lnTo>
                  <a:lnTo>
                    <a:pt x="2706670" y="412433"/>
                  </a:lnTo>
                  <a:lnTo>
                    <a:pt x="2705715" y="413703"/>
                  </a:lnTo>
                  <a:lnTo>
                    <a:pt x="2704442" y="414338"/>
                  </a:lnTo>
                  <a:lnTo>
                    <a:pt x="2703488" y="414338"/>
                  </a:lnTo>
                  <a:lnTo>
                    <a:pt x="2702215" y="414338"/>
                  </a:lnTo>
                  <a:lnTo>
                    <a:pt x="2700942" y="413703"/>
                  </a:lnTo>
                  <a:lnTo>
                    <a:pt x="2699987" y="412116"/>
                  </a:lnTo>
                  <a:lnTo>
                    <a:pt x="2698714" y="410528"/>
                  </a:lnTo>
                  <a:lnTo>
                    <a:pt x="2696805" y="406083"/>
                  </a:lnTo>
                  <a:lnTo>
                    <a:pt x="2694896" y="400051"/>
                  </a:lnTo>
                  <a:lnTo>
                    <a:pt x="2693941" y="407988"/>
                  </a:lnTo>
                  <a:lnTo>
                    <a:pt x="2692668" y="415926"/>
                  </a:lnTo>
                  <a:lnTo>
                    <a:pt x="2691396" y="423546"/>
                  </a:lnTo>
                  <a:lnTo>
                    <a:pt x="2689168" y="430531"/>
                  </a:lnTo>
                  <a:lnTo>
                    <a:pt x="2687259" y="437833"/>
                  </a:lnTo>
                  <a:lnTo>
                    <a:pt x="2684395" y="444818"/>
                  </a:lnTo>
                  <a:lnTo>
                    <a:pt x="2681849" y="451803"/>
                  </a:lnTo>
                  <a:lnTo>
                    <a:pt x="2678985" y="458153"/>
                  </a:lnTo>
                  <a:lnTo>
                    <a:pt x="2675803" y="464503"/>
                  </a:lnTo>
                  <a:lnTo>
                    <a:pt x="2672303" y="470536"/>
                  </a:lnTo>
                  <a:lnTo>
                    <a:pt x="2669120" y="476568"/>
                  </a:lnTo>
                  <a:lnTo>
                    <a:pt x="2665302" y="481966"/>
                  </a:lnTo>
                  <a:lnTo>
                    <a:pt x="2661483" y="487363"/>
                  </a:lnTo>
                  <a:lnTo>
                    <a:pt x="2657347" y="492761"/>
                  </a:lnTo>
                  <a:lnTo>
                    <a:pt x="2653210" y="497523"/>
                  </a:lnTo>
                  <a:lnTo>
                    <a:pt x="2649073" y="501968"/>
                  </a:lnTo>
                  <a:lnTo>
                    <a:pt x="2644618" y="506413"/>
                  </a:lnTo>
                  <a:lnTo>
                    <a:pt x="2640163" y="510541"/>
                  </a:lnTo>
                  <a:lnTo>
                    <a:pt x="2635390" y="514351"/>
                  </a:lnTo>
                  <a:lnTo>
                    <a:pt x="2630935" y="518161"/>
                  </a:lnTo>
                  <a:lnTo>
                    <a:pt x="2626480" y="521653"/>
                  </a:lnTo>
                  <a:lnTo>
                    <a:pt x="2621706" y="524511"/>
                  </a:lnTo>
                  <a:lnTo>
                    <a:pt x="2616933" y="527368"/>
                  </a:lnTo>
                  <a:lnTo>
                    <a:pt x="2612160" y="529908"/>
                  </a:lnTo>
                  <a:lnTo>
                    <a:pt x="2607387" y="532131"/>
                  </a:lnTo>
                  <a:lnTo>
                    <a:pt x="2602614" y="534036"/>
                  </a:lnTo>
                  <a:lnTo>
                    <a:pt x="2597840" y="535941"/>
                  </a:lnTo>
                  <a:lnTo>
                    <a:pt x="2593385" y="536893"/>
                  </a:lnTo>
                  <a:lnTo>
                    <a:pt x="2588294" y="538163"/>
                  </a:lnTo>
                  <a:lnTo>
                    <a:pt x="2583839" y="538798"/>
                  </a:lnTo>
                  <a:lnTo>
                    <a:pt x="2579384" y="539116"/>
                  </a:lnTo>
                  <a:lnTo>
                    <a:pt x="2575247" y="539751"/>
                  </a:lnTo>
                  <a:lnTo>
                    <a:pt x="2571428" y="539116"/>
                  </a:lnTo>
                  <a:lnTo>
                    <a:pt x="2567610" y="538798"/>
                  </a:lnTo>
                  <a:lnTo>
                    <a:pt x="2563791" y="538163"/>
                  </a:lnTo>
                  <a:lnTo>
                    <a:pt x="2559654" y="536893"/>
                  </a:lnTo>
                  <a:lnTo>
                    <a:pt x="2555518" y="535623"/>
                  </a:lnTo>
                  <a:lnTo>
                    <a:pt x="2551381" y="533718"/>
                  </a:lnTo>
                  <a:lnTo>
                    <a:pt x="2542789" y="529591"/>
                  </a:lnTo>
                  <a:lnTo>
                    <a:pt x="2533879" y="523876"/>
                  </a:lnTo>
                  <a:lnTo>
                    <a:pt x="2524651" y="517526"/>
                  </a:lnTo>
                  <a:lnTo>
                    <a:pt x="2515423" y="509906"/>
                  </a:lnTo>
                  <a:lnTo>
                    <a:pt x="2506194" y="501333"/>
                  </a:lnTo>
                  <a:lnTo>
                    <a:pt x="2497603" y="491808"/>
                  </a:lnTo>
                  <a:lnTo>
                    <a:pt x="2489011" y="481648"/>
                  </a:lnTo>
                  <a:lnTo>
                    <a:pt x="2481055" y="470536"/>
                  </a:lnTo>
                  <a:lnTo>
                    <a:pt x="2473418" y="458788"/>
                  </a:lnTo>
                  <a:lnTo>
                    <a:pt x="2469600" y="452756"/>
                  </a:lnTo>
                  <a:lnTo>
                    <a:pt x="2466417" y="446406"/>
                  </a:lnTo>
                  <a:lnTo>
                    <a:pt x="2463235" y="440056"/>
                  </a:lnTo>
                  <a:lnTo>
                    <a:pt x="2460371" y="433071"/>
                  </a:lnTo>
                  <a:lnTo>
                    <a:pt x="2457507" y="426403"/>
                  </a:lnTo>
                  <a:lnTo>
                    <a:pt x="2454962" y="419418"/>
                  </a:lnTo>
                  <a:lnTo>
                    <a:pt x="2452734" y="412433"/>
                  </a:lnTo>
                  <a:lnTo>
                    <a:pt x="2450825" y="405448"/>
                  </a:lnTo>
                  <a:lnTo>
                    <a:pt x="2448916" y="409893"/>
                  </a:lnTo>
                  <a:lnTo>
                    <a:pt x="2447325" y="413703"/>
                  </a:lnTo>
                  <a:lnTo>
                    <a:pt x="2446370" y="414656"/>
                  </a:lnTo>
                  <a:lnTo>
                    <a:pt x="2445733" y="415926"/>
                  </a:lnTo>
                  <a:lnTo>
                    <a:pt x="2444461" y="416561"/>
                  </a:lnTo>
                  <a:lnTo>
                    <a:pt x="2443188" y="416561"/>
                  </a:lnTo>
                  <a:lnTo>
                    <a:pt x="2442233" y="416243"/>
                  </a:lnTo>
                  <a:lnTo>
                    <a:pt x="2440960" y="415926"/>
                  </a:lnTo>
                  <a:lnTo>
                    <a:pt x="2440006" y="414656"/>
                  </a:lnTo>
                  <a:lnTo>
                    <a:pt x="2439051" y="413386"/>
                  </a:lnTo>
                  <a:lnTo>
                    <a:pt x="2437142" y="408941"/>
                  </a:lnTo>
                  <a:lnTo>
                    <a:pt x="2435551" y="403543"/>
                  </a:lnTo>
                  <a:lnTo>
                    <a:pt x="2434278" y="396876"/>
                  </a:lnTo>
                  <a:lnTo>
                    <a:pt x="2433005" y="388938"/>
                  </a:lnTo>
                  <a:lnTo>
                    <a:pt x="2432368" y="380048"/>
                  </a:lnTo>
                  <a:lnTo>
                    <a:pt x="2432050" y="371158"/>
                  </a:lnTo>
                  <a:lnTo>
                    <a:pt x="2432368" y="361633"/>
                  </a:lnTo>
                  <a:lnTo>
                    <a:pt x="2433005" y="353061"/>
                  </a:lnTo>
                  <a:lnTo>
                    <a:pt x="2434278" y="345758"/>
                  </a:lnTo>
                  <a:lnTo>
                    <a:pt x="2435551" y="338773"/>
                  </a:lnTo>
                  <a:lnTo>
                    <a:pt x="2437142" y="333058"/>
                  </a:lnTo>
                  <a:lnTo>
                    <a:pt x="2439051" y="328931"/>
                  </a:lnTo>
                  <a:lnTo>
                    <a:pt x="2440006" y="327661"/>
                  </a:lnTo>
                  <a:lnTo>
                    <a:pt x="2440960" y="326391"/>
                  </a:lnTo>
                  <a:lnTo>
                    <a:pt x="2442233" y="325756"/>
                  </a:lnTo>
                  <a:lnTo>
                    <a:pt x="2443188" y="325438"/>
                  </a:lnTo>
                  <a:lnTo>
                    <a:pt x="2444142" y="325756"/>
                  </a:lnTo>
                  <a:lnTo>
                    <a:pt x="2444779" y="326073"/>
                  </a:lnTo>
                  <a:lnTo>
                    <a:pt x="2445097" y="314008"/>
                  </a:lnTo>
                  <a:lnTo>
                    <a:pt x="2446052" y="308293"/>
                  </a:lnTo>
                  <a:lnTo>
                    <a:pt x="2447006" y="303531"/>
                  </a:lnTo>
                  <a:lnTo>
                    <a:pt x="2446370" y="297181"/>
                  </a:lnTo>
                  <a:lnTo>
                    <a:pt x="2446052" y="291148"/>
                  </a:lnTo>
                  <a:lnTo>
                    <a:pt x="2446052" y="285433"/>
                  </a:lnTo>
                  <a:lnTo>
                    <a:pt x="2446370" y="280036"/>
                  </a:lnTo>
                  <a:lnTo>
                    <a:pt x="2446688" y="274956"/>
                  </a:lnTo>
                  <a:lnTo>
                    <a:pt x="2447325" y="270510"/>
                  </a:lnTo>
                  <a:lnTo>
                    <a:pt x="2448597" y="265748"/>
                  </a:lnTo>
                  <a:lnTo>
                    <a:pt x="2449870" y="261620"/>
                  </a:lnTo>
                  <a:lnTo>
                    <a:pt x="2451143" y="258128"/>
                  </a:lnTo>
                  <a:lnTo>
                    <a:pt x="2452734" y="254635"/>
                  </a:lnTo>
                  <a:lnTo>
                    <a:pt x="2454644" y="251143"/>
                  </a:lnTo>
                  <a:lnTo>
                    <a:pt x="2456871" y="248285"/>
                  </a:lnTo>
                  <a:lnTo>
                    <a:pt x="2459099" y="245745"/>
                  </a:lnTo>
                  <a:lnTo>
                    <a:pt x="2461326" y="242888"/>
                  </a:lnTo>
                  <a:lnTo>
                    <a:pt x="2464190" y="240665"/>
                  </a:lnTo>
                  <a:lnTo>
                    <a:pt x="2466736" y="238760"/>
                  </a:lnTo>
                  <a:lnTo>
                    <a:pt x="2454325" y="239078"/>
                  </a:lnTo>
                  <a:lnTo>
                    <a:pt x="2444779" y="239713"/>
                  </a:lnTo>
                  <a:lnTo>
                    <a:pt x="2436505" y="240030"/>
                  </a:lnTo>
                  <a:lnTo>
                    <a:pt x="2442233" y="236855"/>
                  </a:lnTo>
                  <a:lnTo>
                    <a:pt x="2448279" y="233045"/>
                  </a:lnTo>
                  <a:lnTo>
                    <a:pt x="2454007" y="228918"/>
                  </a:lnTo>
                  <a:lnTo>
                    <a:pt x="2460053" y="224473"/>
                  </a:lnTo>
                  <a:lnTo>
                    <a:pt x="2471191" y="215900"/>
                  </a:lnTo>
                  <a:lnTo>
                    <a:pt x="2476600" y="212408"/>
                  </a:lnTo>
                  <a:lnTo>
                    <a:pt x="2481374" y="209550"/>
                  </a:lnTo>
                  <a:lnTo>
                    <a:pt x="2494420" y="203200"/>
                  </a:lnTo>
                  <a:lnTo>
                    <a:pt x="2507149" y="197803"/>
                  </a:lnTo>
                  <a:lnTo>
                    <a:pt x="2519559" y="193358"/>
                  </a:lnTo>
                  <a:lnTo>
                    <a:pt x="2531652" y="189548"/>
                  </a:lnTo>
                  <a:lnTo>
                    <a:pt x="2543426" y="186690"/>
                  </a:lnTo>
                  <a:lnTo>
                    <a:pt x="2554881" y="184785"/>
                  </a:lnTo>
                  <a:lnTo>
                    <a:pt x="2565701" y="183198"/>
                  </a:lnTo>
                  <a:lnTo>
                    <a:pt x="2576838" y="182563"/>
                  </a:lnTo>
                  <a:close/>
                  <a:moveTo>
                    <a:pt x="276055" y="174625"/>
                  </a:moveTo>
                  <a:lnTo>
                    <a:pt x="283639" y="174625"/>
                  </a:lnTo>
                  <a:lnTo>
                    <a:pt x="290592" y="174942"/>
                  </a:lnTo>
                  <a:lnTo>
                    <a:pt x="297860" y="175258"/>
                  </a:lnTo>
                  <a:lnTo>
                    <a:pt x="304180" y="176208"/>
                  </a:lnTo>
                  <a:lnTo>
                    <a:pt x="310500" y="177475"/>
                  </a:lnTo>
                  <a:lnTo>
                    <a:pt x="316504" y="179059"/>
                  </a:lnTo>
                  <a:lnTo>
                    <a:pt x="322508" y="180959"/>
                  </a:lnTo>
                  <a:lnTo>
                    <a:pt x="327881" y="182859"/>
                  </a:lnTo>
                  <a:lnTo>
                    <a:pt x="332937" y="185076"/>
                  </a:lnTo>
                  <a:lnTo>
                    <a:pt x="337677" y="187293"/>
                  </a:lnTo>
                  <a:lnTo>
                    <a:pt x="346525" y="191727"/>
                  </a:lnTo>
                  <a:lnTo>
                    <a:pt x="354425" y="196161"/>
                  </a:lnTo>
                  <a:lnTo>
                    <a:pt x="360429" y="200595"/>
                  </a:lnTo>
                  <a:lnTo>
                    <a:pt x="365486" y="204713"/>
                  </a:lnTo>
                  <a:lnTo>
                    <a:pt x="368962" y="207880"/>
                  </a:lnTo>
                  <a:lnTo>
                    <a:pt x="371806" y="210730"/>
                  </a:lnTo>
                  <a:lnTo>
                    <a:pt x="370858" y="212631"/>
                  </a:lnTo>
                  <a:lnTo>
                    <a:pt x="367698" y="218331"/>
                  </a:lnTo>
                  <a:lnTo>
                    <a:pt x="365486" y="221815"/>
                  </a:lnTo>
                  <a:lnTo>
                    <a:pt x="362641" y="225616"/>
                  </a:lnTo>
                  <a:lnTo>
                    <a:pt x="359165" y="229100"/>
                  </a:lnTo>
                  <a:lnTo>
                    <a:pt x="355057" y="232900"/>
                  </a:lnTo>
                  <a:lnTo>
                    <a:pt x="350633" y="236384"/>
                  </a:lnTo>
                  <a:lnTo>
                    <a:pt x="345261" y="239234"/>
                  </a:lnTo>
                  <a:lnTo>
                    <a:pt x="342733" y="240501"/>
                  </a:lnTo>
                  <a:lnTo>
                    <a:pt x="339573" y="241135"/>
                  </a:lnTo>
                  <a:lnTo>
                    <a:pt x="336413" y="242085"/>
                  </a:lnTo>
                  <a:lnTo>
                    <a:pt x="332937" y="242718"/>
                  </a:lnTo>
                  <a:lnTo>
                    <a:pt x="329461" y="243035"/>
                  </a:lnTo>
                  <a:lnTo>
                    <a:pt x="325985" y="243035"/>
                  </a:lnTo>
                  <a:lnTo>
                    <a:pt x="322192" y="242718"/>
                  </a:lnTo>
                  <a:lnTo>
                    <a:pt x="318084" y="242085"/>
                  </a:lnTo>
                  <a:lnTo>
                    <a:pt x="313976" y="240818"/>
                  </a:lnTo>
                  <a:lnTo>
                    <a:pt x="309868" y="239234"/>
                  </a:lnTo>
                  <a:lnTo>
                    <a:pt x="304812" y="237334"/>
                  </a:lnTo>
                  <a:lnTo>
                    <a:pt x="302252" y="236418"/>
                  </a:lnTo>
                  <a:lnTo>
                    <a:pt x="289644" y="230366"/>
                  </a:lnTo>
                  <a:lnTo>
                    <a:pt x="294700" y="232900"/>
                  </a:lnTo>
                  <a:lnTo>
                    <a:pt x="300388" y="235751"/>
                  </a:lnTo>
                  <a:lnTo>
                    <a:pt x="302252" y="236418"/>
                  </a:lnTo>
                  <a:lnTo>
                    <a:pt x="312080" y="241135"/>
                  </a:lnTo>
                  <a:lnTo>
                    <a:pt x="322508" y="246202"/>
                  </a:lnTo>
                  <a:lnTo>
                    <a:pt x="332305" y="250003"/>
                  </a:lnTo>
                  <a:lnTo>
                    <a:pt x="337045" y="251270"/>
                  </a:lnTo>
                  <a:lnTo>
                    <a:pt x="341469" y="252536"/>
                  </a:lnTo>
                  <a:lnTo>
                    <a:pt x="345577" y="253170"/>
                  </a:lnTo>
                  <a:lnTo>
                    <a:pt x="349685" y="253487"/>
                  </a:lnTo>
                  <a:lnTo>
                    <a:pt x="353477" y="253170"/>
                  </a:lnTo>
                  <a:lnTo>
                    <a:pt x="357269" y="252536"/>
                  </a:lnTo>
                  <a:lnTo>
                    <a:pt x="360745" y="251270"/>
                  </a:lnTo>
                  <a:lnTo>
                    <a:pt x="363589" y="249053"/>
                  </a:lnTo>
                  <a:lnTo>
                    <a:pt x="364538" y="256970"/>
                  </a:lnTo>
                  <a:lnTo>
                    <a:pt x="364854" y="263621"/>
                  </a:lnTo>
                  <a:lnTo>
                    <a:pt x="364538" y="270589"/>
                  </a:lnTo>
                  <a:lnTo>
                    <a:pt x="363905" y="277240"/>
                  </a:lnTo>
                  <a:lnTo>
                    <a:pt x="365486" y="275657"/>
                  </a:lnTo>
                  <a:lnTo>
                    <a:pt x="366750" y="275340"/>
                  </a:lnTo>
                  <a:lnTo>
                    <a:pt x="367382" y="275657"/>
                  </a:lnTo>
                  <a:lnTo>
                    <a:pt x="368014" y="275973"/>
                  </a:lnTo>
                  <a:lnTo>
                    <a:pt x="369594" y="277874"/>
                  </a:lnTo>
                  <a:lnTo>
                    <a:pt x="371174" y="281041"/>
                  </a:lnTo>
                  <a:lnTo>
                    <a:pt x="372122" y="285158"/>
                  </a:lnTo>
                  <a:lnTo>
                    <a:pt x="373386" y="289909"/>
                  </a:lnTo>
                  <a:lnTo>
                    <a:pt x="373702" y="295293"/>
                  </a:lnTo>
                  <a:lnTo>
                    <a:pt x="374650" y="301627"/>
                  </a:lnTo>
                  <a:lnTo>
                    <a:pt x="374650" y="307961"/>
                  </a:lnTo>
                  <a:lnTo>
                    <a:pt x="374650" y="314612"/>
                  </a:lnTo>
                  <a:lnTo>
                    <a:pt x="373702" y="320630"/>
                  </a:lnTo>
                  <a:lnTo>
                    <a:pt x="373386" y="326331"/>
                  </a:lnTo>
                  <a:lnTo>
                    <a:pt x="372122" y="331398"/>
                  </a:lnTo>
                  <a:lnTo>
                    <a:pt x="371174" y="335515"/>
                  </a:lnTo>
                  <a:lnTo>
                    <a:pt x="369594" y="338366"/>
                  </a:lnTo>
                  <a:lnTo>
                    <a:pt x="368014" y="340266"/>
                  </a:lnTo>
                  <a:lnTo>
                    <a:pt x="367382" y="340583"/>
                  </a:lnTo>
                  <a:lnTo>
                    <a:pt x="366750" y="340583"/>
                  </a:lnTo>
                  <a:lnTo>
                    <a:pt x="365802" y="340583"/>
                  </a:lnTo>
                  <a:lnTo>
                    <a:pt x="364854" y="340266"/>
                  </a:lnTo>
                  <a:lnTo>
                    <a:pt x="363273" y="338049"/>
                  </a:lnTo>
                  <a:lnTo>
                    <a:pt x="362009" y="334565"/>
                  </a:lnTo>
                  <a:lnTo>
                    <a:pt x="360745" y="330448"/>
                  </a:lnTo>
                  <a:lnTo>
                    <a:pt x="359797" y="336149"/>
                  </a:lnTo>
                  <a:lnTo>
                    <a:pt x="359165" y="341850"/>
                  </a:lnTo>
                  <a:lnTo>
                    <a:pt x="357901" y="346917"/>
                  </a:lnTo>
                  <a:lnTo>
                    <a:pt x="356637" y="352301"/>
                  </a:lnTo>
                  <a:lnTo>
                    <a:pt x="353161" y="362436"/>
                  </a:lnTo>
                  <a:lnTo>
                    <a:pt x="349053" y="372254"/>
                  </a:lnTo>
                  <a:lnTo>
                    <a:pt x="344629" y="380806"/>
                  </a:lnTo>
                  <a:lnTo>
                    <a:pt x="339257" y="389040"/>
                  </a:lnTo>
                  <a:lnTo>
                    <a:pt x="333569" y="396641"/>
                  </a:lnTo>
                  <a:lnTo>
                    <a:pt x="327881" y="403609"/>
                  </a:lnTo>
                  <a:lnTo>
                    <a:pt x="321876" y="409626"/>
                  </a:lnTo>
                  <a:lnTo>
                    <a:pt x="314924" y="415011"/>
                  </a:lnTo>
                  <a:lnTo>
                    <a:pt x="308288" y="419761"/>
                  </a:lnTo>
                  <a:lnTo>
                    <a:pt x="301652" y="423562"/>
                  </a:lnTo>
                  <a:lnTo>
                    <a:pt x="294700" y="426412"/>
                  </a:lnTo>
                  <a:lnTo>
                    <a:pt x="288064" y="428629"/>
                  </a:lnTo>
                  <a:lnTo>
                    <a:pt x="281427" y="429896"/>
                  </a:lnTo>
                  <a:lnTo>
                    <a:pt x="275107" y="430213"/>
                  </a:lnTo>
                  <a:lnTo>
                    <a:pt x="272579" y="430213"/>
                  </a:lnTo>
                  <a:lnTo>
                    <a:pt x="269735" y="429896"/>
                  </a:lnTo>
                  <a:lnTo>
                    <a:pt x="264047" y="428313"/>
                  </a:lnTo>
                  <a:lnTo>
                    <a:pt x="258043" y="426096"/>
                  </a:lnTo>
                  <a:lnTo>
                    <a:pt x="252039" y="423245"/>
                  </a:lnTo>
                  <a:lnTo>
                    <a:pt x="245719" y="419128"/>
                  </a:lnTo>
                  <a:lnTo>
                    <a:pt x="239082" y="414377"/>
                  </a:lnTo>
                  <a:lnTo>
                    <a:pt x="232762" y="408993"/>
                  </a:lnTo>
                  <a:lnTo>
                    <a:pt x="225810" y="402975"/>
                  </a:lnTo>
                  <a:lnTo>
                    <a:pt x="219806" y="396008"/>
                  </a:lnTo>
                  <a:lnTo>
                    <a:pt x="213486" y="389040"/>
                  </a:lnTo>
                  <a:lnTo>
                    <a:pt x="208114" y="380806"/>
                  </a:lnTo>
                  <a:lnTo>
                    <a:pt x="202741" y="372571"/>
                  </a:lnTo>
                  <a:lnTo>
                    <a:pt x="197369" y="363386"/>
                  </a:lnTo>
                  <a:lnTo>
                    <a:pt x="193261" y="354202"/>
                  </a:lnTo>
                  <a:lnTo>
                    <a:pt x="189785" y="344383"/>
                  </a:lnTo>
                  <a:lnTo>
                    <a:pt x="186309" y="334249"/>
                  </a:lnTo>
                  <a:lnTo>
                    <a:pt x="185045" y="337732"/>
                  </a:lnTo>
                  <a:lnTo>
                    <a:pt x="184097" y="340266"/>
                  </a:lnTo>
                  <a:lnTo>
                    <a:pt x="182517" y="341850"/>
                  </a:lnTo>
                  <a:lnTo>
                    <a:pt x="181885" y="342166"/>
                  </a:lnTo>
                  <a:lnTo>
                    <a:pt x="180937" y="342483"/>
                  </a:lnTo>
                  <a:lnTo>
                    <a:pt x="180305" y="342166"/>
                  </a:lnTo>
                  <a:lnTo>
                    <a:pt x="179673" y="341850"/>
                  </a:lnTo>
                  <a:lnTo>
                    <a:pt x="178093" y="339949"/>
                  </a:lnTo>
                  <a:lnTo>
                    <a:pt x="176829" y="336782"/>
                  </a:lnTo>
                  <a:lnTo>
                    <a:pt x="175565" y="332665"/>
                  </a:lnTo>
                  <a:lnTo>
                    <a:pt x="174617" y="327914"/>
                  </a:lnTo>
                  <a:lnTo>
                    <a:pt x="173985" y="322213"/>
                  </a:lnTo>
                  <a:lnTo>
                    <a:pt x="173669" y="316196"/>
                  </a:lnTo>
                  <a:lnTo>
                    <a:pt x="173037" y="309545"/>
                  </a:lnTo>
                  <a:lnTo>
                    <a:pt x="173669" y="303211"/>
                  </a:lnTo>
                  <a:lnTo>
                    <a:pt x="173985" y="296876"/>
                  </a:lnTo>
                  <a:lnTo>
                    <a:pt x="174617" y="291492"/>
                  </a:lnTo>
                  <a:lnTo>
                    <a:pt x="175565" y="286742"/>
                  </a:lnTo>
                  <a:lnTo>
                    <a:pt x="176829" y="282624"/>
                  </a:lnTo>
                  <a:lnTo>
                    <a:pt x="178093" y="279457"/>
                  </a:lnTo>
                  <a:lnTo>
                    <a:pt x="179673" y="277557"/>
                  </a:lnTo>
                  <a:lnTo>
                    <a:pt x="180305" y="277240"/>
                  </a:lnTo>
                  <a:lnTo>
                    <a:pt x="180937" y="276923"/>
                  </a:lnTo>
                  <a:lnTo>
                    <a:pt x="182201" y="277240"/>
                  </a:lnTo>
                  <a:lnTo>
                    <a:pt x="182517" y="268689"/>
                  </a:lnTo>
                  <a:lnTo>
                    <a:pt x="182833" y="264888"/>
                  </a:lnTo>
                  <a:lnTo>
                    <a:pt x="183781" y="261088"/>
                  </a:lnTo>
                  <a:lnTo>
                    <a:pt x="183149" y="252536"/>
                  </a:lnTo>
                  <a:lnTo>
                    <a:pt x="183149" y="244619"/>
                  </a:lnTo>
                  <a:lnTo>
                    <a:pt x="184097" y="237334"/>
                  </a:lnTo>
                  <a:lnTo>
                    <a:pt x="185993" y="231633"/>
                  </a:lnTo>
                  <a:lnTo>
                    <a:pt x="187889" y="226249"/>
                  </a:lnTo>
                  <a:lnTo>
                    <a:pt x="189153" y="223716"/>
                  </a:lnTo>
                  <a:lnTo>
                    <a:pt x="190733" y="221815"/>
                  </a:lnTo>
                  <a:lnTo>
                    <a:pt x="192313" y="219915"/>
                  </a:lnTo>
                  <a:lnTo>
                    <a:pt x="194209" y="218015"/>
                  </a:lnTo>
                  <a:lnTo>
                    <a:pt x="198001" y="214848"/>
                  </a:lnTo>
                  <a:lnTo>
                    <a:pt x="188837" y="214848"/>
                  </a:lnTo>
                  <a:lnTo>
                    <a:pt x="182201" y="215481"/>
                  </a:lnTo>
                  <a:lnTo>
                    <a:pt x="176197" y="215798"/>
                  </a:lnTo>
                  <a:lnTo>
                    <a:pt x="180305" y="213581"/>
                  </a:lnTo>
                  <a:lnTo>
                    <a:pt x="184413" y="210730"/>
                  </a:lnTo>
                  <a:lnTo>
                    <a:pt x="192945" y="204396"/>
                  </a:lnTo>
                  <a:lnTo>
                    <a:pt x="200845" y="198378"/>
                  </a:lnTo>
                  <a:lnTo>
                    <a:pt x="204638" y="195845"/>
                  </a:lnTo>
                  <a:lnTo>
                    <a:pt x="208430" y="193944"/>
                  </a:lnTo>
                  <a:lnTo>
                    <a:pt x="217594" y="189510"/>
                  </a:lnTo>
                  <a:lnTo>
                    <a:pt x="226758" y="185393"/>
                  </a:lnTo>
                  <a:lnTo>
                    <a:pt x="235606" y="182226"/>
                  </a:lnTo>
                  <a:lnTo>
                    <a:pt x="244139" y="179692"/>
                  </a:lnTo>
                  <a:lnTo>
                    <a:pt x="252355" y="177475"/>
                  </a:lnTo>
                  <a:lnTo>
                    <a:pt x="260887" y="175892"/>
                  </a:lnTo>
                  <a:lnTo>
                    <a:pt x="268471" y="175258"/>
                  </a:lnTo>
                  <a:lnTo>
                    <a:pt x="276055" y="174625"/>
                  </a:lnTo>
                  <a:close/>
                  <a:moveTo>
                    <a:pt x="1800062" y="0"/>
                  </a:moveTo>
                  <a:lnTo>
                    <a:pt x="1805766" y="0"/>
                  </a:lnTo>
                  <a:lnTo>
                    <a:pt x="1811153" y="634"/>
                  </a:lnTo>
                  <a:lnTo>
                    <a:pt x="1816857" y="951"/>
                  </a:lnTo>
                  <a:lnTo>
                    <a:pt x="1822244" y="1585"/>
                  </a:lnTo>
                  <a:lnTo>
                    <a:pt x="1826997" y="2853"/>
                  </a:lnTo>
                  <a:lnTo>
                    <a:pt x="1831750" y="3804"/>
                  </a:lnTo>
                  <a:lnTo>
                    <a:pt x="1840939" y="6974"/>
                  </a:lnTo>
                  <a:lnTo>
                    <a:pt x="1848861" y="10144"/>
                  </a:lnTo>
                  <a:lnTo>
                    <a:pt x="1855832" y="13948"/>
                  </a:lnTo>
                  <a:lnTo>
                    <a:pt x="1861853" y="17435"/>
                  </a:lnTo>
                  <a:lnTo>
                    <a:pt x="1866923" y="21239"/>
                  </a:lnTo>
                  <a:lnTo>
                    <a:pt x="1870408" y="24092"/>
                  </a:lnTo>
                  <a:lnTo>
                    <a:pt x="1873577" y="26628"/>
                  </a:lnTo>
                  <a:lnTo>
                    <a:pt x="1875795" y="29164"/>
                  </a:lnTo>
                  <a:lnTo>
                    <a:pt x="1875161" y="30432"/>
                  </a:lnTo>
                  <a:lnTo>
                    <a:pt x="1872626" y="35187"/>
                  </a:lnTo>
                  <a:lnTo>
                    <a:pt x="1871042" y="37723"/>
                  </a:lnTo>
                  <a:lnTo>
                    <a:pt x="1868507" y="40576"/>
                  </a:lnTo>
                  <a:lnTo>
                    <a:pt x="1865655" y="43747"/>
                  </a:lnTo>
                  <a:lnTo>
                    <a:pt x="1862803" y="46600"/>
                  </a:lnTo>
                  <a:lnTo>
                    <a:pt x="1859001" y="49453"/>
                  </a:lnTo>
                  <a:lnTo>
                    <a:pt x="1854881" y="51672"/>
                  </a:lnTo>
                  <a:lnTo>
                    <a:pt x="1850128" y="53574"/>
                  </a:lnTo>
                  <a:lnTo>
                    <a:pt x="1845058" y="54208"/>
                  </a:lnTo>
                  <a:lnTo>
                    <a:pt x="1842523" y="54525"/>
                  </a:lnTo>
                  <a:lnTo>
                    <a:pt x="1839355" y="54525"/>
                  </a:lnTo>
                  <a:lnTo>
                    <a:pt x="1836503" y="54208"/>
                  </a:lnTo>
                  <a:lnTo>
                    <a:pt x="1833017" y="53891"/>
                  </a:lnTo>
                  <a:lnTo>
                    <a:pt x="1829532" y="52940"/>
                  </a:lnTo>
                  <a:lnTo>
                    <a:pt x="1826363" y="51989"/>
                  </a:lnTo>
                  <a:lnTo>
                    <a:pt x="1822877" y="50404"/>
                  </a:lnTo>
                  <a:lnTo>
                    <a:pt x="1819075" y="48502"/>
                  </a:lnTo>
                  <a:lnTo>
                    <a:pt x="1814639" y="46600"/>
                  </a:lnTo>
                  <a:lnTo>
                    <a:pt x="1810202" y="44381"/>
                  </a:lnTo>
                  <a:lnTo>
                    <a:pt x="1828264" y="53574"/>
                  </a:lnTo>
                  <a:lnTo>
                    <a:pt x="1836503" y="57061"/>
                  </a:lnTo>
                  <a:lnTo>
                    <a:pt x="1844742" y="60231"/>
                  </a:lnTo>
                  <a:lnTo>
                    <a:pt x="1847910" y="61182"/>
                  </a:lnTo>
                  <a:lnTo>
                    <a:pt x="1851713" y="62133"/>
                  </a:lnTo>
                  <a:lnTo>
                    <a:pt x="1855198" y="62767"/>
                  </a:lnTo>
                  <a:lnTo>
                    <a:pt x="1858367" y="62767"/>
                  </a:lnTo>
                  <a:lnTo>
                    <a:pt x="1861536" y="62767"/>
                  </a:lnTo>
                  <a:lnTo>
                    <a:pt x="1864071" y="62133"/>
                  </a:lnTo>
                  <a:lnTo>
                    <a:pt x="1866923" y="60865"/>
                  </a:lnTo>
                  <a:lnTo>
                    <a:pt x="1869458" y="59597"/>
                  </a:lnTo>
                  <a:lnTo>
                    <a:pt x="1869775" y="65303"/>
                  </a:lnTo>
                  <a:lnTo>
                    <a:pt x="1870091" y="71009"/>
                  </a:lnTo>
                  <a:lnTo>
                    <a:pt x="1870091" y="76398"/>
                  </a:lnTo>
                  <a:lnTo>
                    <a:pt x="1869775" y="81470"/>
                  </a:lnTo>
                  <a:lnTo>
                    <a:pt x="1870408" y="80836"/>
                  </a:lnTo>
                  <a:lnTo>
                    <a:pt x="1871676" y="80519"/>
                  </a:lnTo>
                  <a:lnTo>
                    <a:pt x="1872310" y="80519"/>
                  </a:lnTo>
                  <a:lnTo>
                    <a:pt x="1872626" y="80836"/>
                  </a:lnTo>
                  <a:lnTo>
                    <a:pt x="1874211" y="82421"/>
                  </a:lnTo>
                  <a:lnTo>
                    <a:pt x="1875161" y="84640"/>
                  </a:lnTo>
                  <a:lnTo>
                    <a:pt x="1876112" y="88127"/>
                  </a:lnTo>
                  <a:lnTo>
                    <a:pt x="1877063" y="91614"/>
                  </a:lnTo>
                  <a:lnTo>
                    <a:pt x="1877696" y="96369"/>
                  </a:lnTo>
                  <a:lnTo>
                    <a:pt x="1878013" y="101124"/>
                  </a:lnTo>
                  <a:lnTo>
                    <a:pt x="1878013" y="106513"/>
                  </a:lnTo>
                  <a:lnTo>
                    <a:pt x="1878013" y="111586"/>
                  </a:lnTo>
                  <a:lnTo>
                    <a:pt x="1877696" y="116658"/>
                  </a:lnTo>
                  <a:lnTo>
                    <a:pt x="1877063" y="120779"/>
                  </a:lnTo>
                  <a:lnTo>
                    <a:pt x="1876112" y="124900"/>
                  </a:lnTo>
                  <a:lnTo>
                    <a:pt x="1875161" y="127753"/>
                  </a:lnTo>
                  <a:lnTo>
                    <a:pt x="1874211" y="129972"/>
                  </a:lnTo>
                  <a:lnTo>
                    <a:pt x="1872626" y="131874"/>
                  </a:lnTo>
                  <a:lnTo>
                    <a:pt x="1872310" y="132191"/>
                  </a:lnTo>
                  <a:lnTo>
                    <a:pt x="1871676" y="132191"/>
                  </a:lnTo>
                  <a:lnTo>
                    <a:pt x="1871042" y="132191"/>
                  </a:lnTo>
                  <a:lnTo>
                    <a:pt x="1870091" y="131557"/>
                  </a:lnTo>
                  <a:lnTo>
                    <a:pt x="1869141" y="129972"/>
                  </a:lnTo>
                  <a:lnTo>
                    <a:pt x="1867873" y="127436"/>
                  </a:lnTo>
                  <a:lnTo>
                    <a:pt x="1867240" y="123949"/>
                  </a:lnTo>
                  <a:lnTo>
                    <a:pt x="1865655" y="133142"/>
                  </a:lnTo>
                  <a:lnTo>
                    <a:pt x="1863754" y="141384"/>
                  </a:lnTo>
                  <a:lnTo>
                    <a:pt x="1861219" y="149626"/>
                  </a:lnTo>
                  <a:lnTo>
                    <a:pt x="1857733" y="156917"/>
                  </a:lnTo>
                  <a:lnTo>
                    <a:pt x="1853931" y="164208"/>
                  </a:lnTo>
                  <a:lnTo>
                    <a:pt x="1850128" y="170548"/>
                  </a:lnTo>
                  <a:lnTo>
                    <a:pt x="1845692" y="176571"/>
                  </a:lnTo>
                  <a:lnTo>
                    <a:pt x="1840939" y="181961"/>
                  </a:lnTo>
                  <a:lnTo>
                    <a:pt x="1835869" y="186716"/>
                  </a:lnTo>
                  <a:lnTo>
                    <a:pt x="1830799" y="191154"/>
                  </a:lnTo>
                  <a:lnTo>
                    <a:pt x="1825412" y="194958"/>
                  </a:lnTo>
                  <a:lnTo>
                    <a:pt x="1820025" y="198128"/>
                  </a:lnTo>
                  <a:lnTo>
                    <a:pt x="1814639" y="200347"/>
                  </a:lnTo>
                  <a:lnTo>
                    <a:pt x="1809252" y="202249"/>
                  </a:lnTo>
                  <a:lnTo>
                    <a:pt x="1804182" y="202883"/>
                  </a:lnTo>
                  <a:lnTo>
                    <a:pt x="1798795" y="203200"/>
                  </a:lnTo>
                  <a:lnTo>
                    <a:pt x="1794676" y="202883"/>
                  </a:lnTo>
                  <a:lnTo>
                    <a:pt x="1790239" y="201615"/>
                  </a:lnTo>
                  <a:lnTo>
                    <a:pt x="1785486" y="200347"/>
                  </a:lnTo>
                  <a:lnTo>
                    <a:pt x="1780416" y="197494"/>
                  </a:lnTo>
                  <a:lnTo>
                    <a:pt x="1775663" y="194641"/>
                  </a:lnTo>
                  <a:lnTo>
                    <a:pt x="1770276" y="190837"/>
                  </a:lnTo>
                  <a:lnTo>
                    <a:pt x="1765206" y="186399"/>
                  </a:lnTo>
                  <a:lnTo>
                    <a:pt x="1759819" y="181327"/>
                  </a:lnTo>
                  <a:lnTo>
                    <a:pt x="1755066" y="176254"/>
                  </a:lnTo>
                  <a:lnTo>
                    <a:pt x="1749996" y="170548"/>
                  </a:lnTo>
                  <a:lnTo>
                    <a:pt x="1745560" y="164208"/>
                  </a:lnTo>
                  <a:lnTo>
                    <a:pt x="1741124" y="157551"/>
                  </a:lnTo>
                  <a:lnTo>
                    <a:pt x="1737321" y="150260"/>
                  </a:lnTo>
                  <a:lnTo>
                    <a:pt x="1733836" y="142652"/>
                  </a:lnTo>
                  <a:lnTo>
                    <a:pt x="1730984" y="135044"/>
                  </a:lnTo>
                  <a:lnTo>
                    <a:pt x="1728449" y="127119"/>
                  </a:lnTo>
                  <a:lnTo>
                    <a:pt x="1727498" y="129655"/>
                  </a:lnTo>
                  <a:lnTo>
                    <a:pt x="1726548" y="131874"/>
                  </a:lnTo>
                  <a:lnTo>
                    <a:pt x="1725280" y="133142"/>
                  </a:lnTo>
                  <a:lnTo>
                    <a:pt x="1724330" y="133459"/>
                  </a:lnTo>
                  <a:lnTo>
                    <a:pt x="1723379" y="133459"/>
                  </a:lnTo>
                  <a:lnTo>
                    <a:pt x="1723062" y="133142"/>
                  </a:lnTo>
                  <a:lnTo>
                    <a:pt x="1721795" y="131557"/>
                  </a:lnTo>
                  <a:lnTo>
                    <a:pt x="1720844" y="129021"/>
                  </a:lnTo>
                  <a:lnTo>
                    <a:pt x="1719576" y="125851"/>
                  </a:lnTo>
                  <a:lnTo>
                    <a:pt x="1718943" y="122047"/>
                  </a:lnTo>
                  <a:lnTo>
                    <a:pt x="1718626" y="117609"/>
                  </a:lnTo>
                  <a:lnTo>
                    <a:pt x="1718309" y="112854"/>
                  </a:lnTo>
                  <a:lnTo>
                    <a:pt x="1717675" y="107464"/>
                  </a:lnTo>
                  <a:lnTo>
                    <a:pt x="1718309" y="102392"/>
                  </a:lnTo>
                  <a:lnTo>
                    <a:pt x="1718626" y="97320"/>
                  </a:lnTo>
                  <a:lnTo>
                    <a:pt x="1718943" y="92882"/>
                  </a:lnTo>
                  <a:lnTo>
                    <a:pt x="1719576" y="89078"/>
                  </a:lnTo>
                  <a:lnTo>
                    <a:pt x="1720844" y="86225"/>
                  </a:lnTo>
                  <a:lnTo>
                    <a:pt x="1721795" y="83372"/>
                  </a:lnTo>
                  <a:lnTo>
                    <a:pt x="1723062" y="82104"/>
                  </a:lnTo>
                  <a:lnTo>
                    <a:pt x="1723379" y="81470"/>
                  </a:lnTo>
                  <a:lnTo>
                    <a:pt x="1724330" y="81470"/>
                  </a:lnTo>
                  <a:lnTo>
                    <a:pt x="1724963" y="82104"/>
                  </a:lnTo>
                  <a:lnTo>
                    <a:pt x="1725280" y="75130"/>
                  </a:lnTo>
                  <a:lnTo>
                    <a:pt x="1726548" y="69107"/>
                  </a:lnTo>
                  <a:lnTo>
                    <a:pt x="1725597" y="62133"/>
                  </a:lnTo>
                  <a:lnTo>
                    <a:pt x="1725914" y="55793"/>
                  </a:lnTo>
                  <a:lnTo>
                    <a:pt x="1726865" y="50087"/>
                  </a:lnTo>
                  <a:lnTo>
                    <a:pt x="1727815" y="45649"/>
                  </a:lnTo>
                  <a:lnTo>
                    <a:pt x="1729400" y="40893"/>
                  </a:lnTo>
                  <a:lnTo>
                    <a:pt x="1731618" y="37723"/>
                  </a:lnTo>
                  <a:lnTo>
                    <a:pt x="1734153" y="34553"/>
                  </a:lnTo>
                  <a:lnTo>
                    <a:pt x="1737638" y="32334"/>
                  </a:lnTo>
                  <a:lnTo>
                    <a:pt x="1724963" y="32651"/>
                  </a:lnTo>
                  <a:lnTo>
                    <a:pt x="1720527" y="32651"/>
                  </a:lnTo>
                  <a:lnTo>
                    <a:pt x="1723379" y="31383"/>
                  </a:lnTo>
                  <a:lnTo>
                    <a:pt x="1726865" y="29164"/>
                  </a:lnTo>
                  <a:lnTo>
                    <a:pt x="1733519" y="24092"/>
                  </a:lnTo>
                  <a:lnTo>
                    <a:pt x="1739856" y="19337"/>
                  </a:lnTo>
                  <a:lnTo>
                    <a:pt x="1743025" y="17435"/>
                  </a:lnTo>
                  <a:lnTo>
                    <a:pt x="1745560" y="15533"/>
                  </a:lnTo>
                  <a:lnTo>
                    <a:pt x="1753165" y="12046"/>
                  </a:lnTo>
                  <a:lnTo>
                    <a:pt x="1760453" y="9193"/>
                  </a:lnTo>
                  <a:lnTo>
                    <a:pt x="1767424" y="6657"/>
                  </a:lnTo>
                  <a:lnTo>
                    <a:pt x="1774396" y="4121"/>
                  </a:lnTo>
                  <a:lnTo>
                    <a:pt x="1780733" y="2853"/>
                  </a:lnTo>
                  <a:lnTo>
                    <a:pt x="1787704" y="1585"/>
                  </a:lnTo>
                  <a:lnTo>
                    <a:pt x="1793725" y="951"/>
                  </a:lnTo>
                  <a:lnTo>
                    <a:pt x="1800062" y="0"/>
                  </a:lnTo>
                  <a:close/>
                </a:path>
              </a:pathLst>
            </a:custGeom>
            <a:solidFill>
              <a:srgbClr val="FFFFFF">
                <a:lumMod val="50000"/>
              </a:srgbClr>
            </a:solidFill>
            <a:ln>
              <a:solidFill>
                <a:srgbClr val="FFFFFF">
                  <a:lumMod val="50000"/>
                </a:srgbClr>
              </a:solidFill>
            </a:ln>
          </p:spPr>
          <p:txBody>
            <a:bodyPr anchor="ctr">
              <a:scene3d>
                <a:camera prst="orthographicFront"/>
                <a:lightRig rig="threePt" dir="t"/>
              </a:scene3d>
              <a:sp3d>
                <a:contourClr>
                  <a:srgbClr val="FFFFFF"/>
                </a:contourClr>
              </a:sp3d>
            </a:bodyPr>
            <a:lstStyle/>
            <a:p>
              <a:pPr algn="ctr" defTabSz="911225">
                <a:defRPr/>
              </a:pPr>
              <a:endParaRPr lang="zh-CN" altLang="en-US" sz="1600" kern="0">
                <a:solidFill>
                  <a:prstClr val="white">
                    <a:lumMod val="65000"/>
                  </a:prstClr>
                </a:solidFill>
              </a:endParaRPr>
            </a:p>
          </p:txBody>
        </p:sp>
        <p:pic>
          <p:nvPicPr>
            <p:cNvPr id="274" name="图片 116"/>
            <p:cNvPicPr>
              <a:picLocks noChangeAspect="1"/>
            </p:cNvPicPr>
            <p:nvPr/>
          </p:nvPicPr>
          <p:blipFill>
            <a:blip r:embed="rId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1301" y="1160019"/>
              <a:ext cx="173312" cy="1861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75" name="组合 117"/>
          <p:cNvGrpSpPr/>
          <p:nvPr/>
        </p:nvGrpSpPr>
        <p:grpSpPr bwMode="auto">
          <a:xfrm>
            <a:off x="3294063" y="1160464"/>
            <a:ext cx="234950" cy="282575"/>
            <a:chOff x="2696030" y="1160019"/>
            <a:chExt cx="378794" cy="416640"/>
          </a:xfrm>
        </p:grpSpPr>
        <p:sp>
          <p:nvSpPr>
            <p:cNvPr id="276" name="KSO_Shape"/>
            <p:cNvSpPr/>
            <p:nvPr/>
          </p:nvSpPr>
          <p:spPr bwMode="auto">
            <a:xfrm>
              <a:off x="2696030" y="1270030"/>
              <a:ext cx="378794" cy="306629"/>
            </a:xfrm>
            <a:custGeom>
              <a:avLst/>
              <a:gdLst>
                <a:gd name="T0" fmla="*/ 859152 w 2887663"/>
                <a:gd name="T1" fmla="*/ 1613541 h 2762250"/>
                <a:gd name="T2" fmla="*/ 660904 w 2887663"/>
                <a:gd name="T3" fmla="*/ 1631599 h 2762250"/>
                <a:gd name="T4" fmla="*/ 582760 w 2887663"/>
                <a:gd name="T5" fmla="*/ 1615068 h 2762250"/>
                <a:gd name="T6" fmla="*/ 995462 w 2887663"/>
                <a:gd name="T7" fmla="*/ 1633083 h 2762250"/>
                <a:gd name="T8" fmla="*/ 794773 w 2887663"/>
                <a:gd name="T9" fmla="*/ 1314259 h 2762250"/>
                <a:gd name="T10" fmla="*/ 610807 w 2887663"/>
                <a:gd name="T11" fmla="*/ 1237111 h 2762250"/>
                <a:gd name="T12" fmla="*/ 1010000 w 2887663"/>
                <a:gd name="T13" fmla="*/ 1258119 h 2762250"/>
                <a:gd name="T14" fmla="*/ 971706 w 2887663"/>
                <a:gd name="T15" fmla="*/ 1228164 h 2762250"/>
                <a:gd name="T16" fmla="*/ 1592768 w 2887663"/>
                <a:gd name="T17" fmla="*/ 1051361 h 2762250"/>
                <a:gd name="T18" fmla="*/ 1541332 w 2887663"/>
                <a:gd name="T19" fmla="*/ 1069171 h 2762250"/>
                <a:gd name="T20" fmla="*/ 1858757 w 2887663"/>
                <a:gd name="T21" fmla="*/ 1072313 h 2762250"/>
                <a:gd name="T22" fmla="*/ 1791171 w 2887663"/>
                <a:gd name="T23" fmla="*/ 1051365 h 2762250"/>
                <a:gd name="T24" fmla="*/ 1711030 w 2887663"/>
                <a:gd name="T25" fmla="*/ 968622 h 2762250"/>
                <a:gd name="T26" fmla="*/ 151645 w 2887663"/>
                <a:gd name="T27" fmla="*/ 762046 h 2762250"/>
                <a:gd name="T28" fmla="*/ 981201 w 2887663"/>
                <a:gd name="T29" fmla="*/ 768990 h 2762250"/>
                <a:gd name="T30" fmla="*/ 971764 w 2887663"/>
                <a:gd name="T31" fmla="*/ 1009888 h 2762250"/>
                <a:gd name="T32" fmla="*/ 1026917 w 2887663"/>
                <a:gd name="T33" fmla="*/ 1583646 h 2762250"/>
                <a:gd name="T34" fmla="*/ 718440 w 2887663"/>
                <a:gd name="T35" fmla="*/ 1721482 h 2762250"/>
                <a:gd name="T36" fmla="*/ 610651 w 2887663"/>
                <a:gd name="T37" fmla="*/ 1478698 h 2762250"/>
                <a:gd name="T38" fmla="*/ 560741 w 2887663"/>
                <a:gd name="T39" fmla="*/ 1185640 h 2762250"/>
                <a:gd name="T40" fmla="*/ 815324 w 2887663"/>
                <a:gd name="T41" fmla="*/ 771713 h 2762250"/>
                <a:gd name="T42" fmla="*/ 136146 w 2887663"/>
                <a:gd name="T43" fmla="*/ 816029 h 2762250"/>
                <a:gd name="T44" fmla="*/ 1067177 w 2887663"/>
                <a:gd name="T45" fmla="*/ 813407 h 2762250"/>
                <a:gd name="T46" fmla="*/ 1528817 w 2887663"/>
                <a:gd name="T47" fmla="*/ 756426 h 2762250"/>
                <a:gd name="T48" fmla="*/ 1840906 w 2887663"/>
                <a:gd name="T49" fmla="*/ 737034 h 2762250"/>
                <a:gd name="T50" fmla="*/ 1292342 w 2887663"/>
                <a:gd name="T51" fmla="*/ 568311 h 2762250"/>
                <a:gd name="T52" fmla="*/ 47127 w 2887663"/>
                <a:gd name="T53" fmla="*/ 541498 h 2762250"/>
                <a:gd name="T54" fmla="*/ 1204370 w 2887663"/>
                <a:gd name="T55" fmla="*/ 510077 h 2762250"/>
                <a:gd name="T56" fmla="*/ 1155777 w 2887663"/>
                <a:gd name="T57" fmla="*/ 521860 h 2762250"/>
                <a:gd name="T58" fmla="*/ 1096152 w 2887663"/>
                <a:gd name="T59" fmla="*/ 532321 h 2762250"/>
                <a:gd name="T60" fmla="*/ 1242636 w 2887663"/>
                <a:gd name="T61" fmla="*/ 504891 h 2762250"/>
                <a:gd name="T62" fmla="*/ 870122 w 2887663"/>
                <a:gd name="T63" fmla="*/ 534990 h 2762250"/>
                <a:gd name="T64" fmla="*/ 913650 w 2887663"/>
                <a:gd name="T65" fmla="*/ 644448 h 2762250"/>
                <a:gd name="T66" fmla="*/ 779299 w 2887663"/>
                <a:gd name="T67" fmla="*/ 746385 h 2762250"/>
                <a:gd name="T68" fmla="*/ 691197 w 2887663"/>
                <a:gd name="T69" fmla="*/ 575724 h 2762250"/>
                <a:gd name="T70" fmla="*/ 1168871 w 2887663"/>
                <a:gd name="T71" fmla="*/ 480811 h 2762250"/>
                <a:gd name="T72" fmla="*/ 1840343 w 2887663"/>
                <a:gd name="T73" fmla="*/ 706985 h 2762250"/>
                <a:gd name="T74" fmla="*/ 1885331 w 2887663"/>
                <a:gd name="T75" fmla="*/ 1036912 h 2762250"/>
                <a:gd name="T76" fmla="*/ 1588622 w 2887663"/>
                <a:gd name="T77" fmla="*/ 1119655 h 2762250"/>
                <a:gd name="T78" fmla="*/ 1576695 w 2887663"/>
                <a:gd name="T79" fmla="*/ 720602 h 2762250"/>
                <a:gd name="T80" fmla="*/ 1493833 w 2887663"/>
                <a:gd name="T81" fmla="*/ 411832 h 2762250"/>
                <a:gd name="T82" fmla="*/ 1275484 w 2887663"/>
                <a:gd name="T83" fmla="*/ 362396 h 2762250"/>
                <a:gd name="T84" fmla="*/ 1107388 w 2887663"/>
                <a:gd name="T85" fmla="*/ 362576 h 2762250"/>
                <a:gd name="T86" fmla="*/ 326123 w 2887663"/>
                <a:gd name="T87" fmla="*/ 320344 h 2762250"/>
                <a:gd name="T88" fmla="*/ 258049 w 2887663"/>
                <a:gd name="T89" fmla="*/ 723731 h 2762250"/>
                <a:gd name="T90" fmla="*/ 204010 w 2887663"/>
                <a:gd name="T91" fmla="*/ 839314 h 2762250"/>
                <a:gd name="T92" fmla="*/ 59276 w 2887663"/>
                <a:gd name="T93" fmla="*/ 675484 h 2762250"/>
                <a:gd name="T94" fmla="*/ 32256 w 2887663"/>
                <a:gd name="T95" fmla="*/ 329155 h 2762250"/>
                <a:gd name="T96" fmla="*/ 1290906 w 2887663"/>
                <a:gd name="T97" fmla="*/ 155423 h 2762250"/>
                <a:gd name="T98" fmla="*/ 1253293 w 2887663"/>
                <a:gd name="T99" fmla="*/ 489815 h 2762250"/>
                <a:gd name="T100" fmla="*/ 1112660 w 2887663"/>
                <a:gd name="T101" fmla="*/ 568754 h 2762250"/>
                <a:gd name="T102" fmla="*/ 1105555 w 2887663"/>
                <a:gd name="T103" fmla="*/ 323142 h 2762250"/>
                <a:gd name="T104" fmla="*/ 1200843 w 2887663"/>
                <a:gd name="T105" fmla="*/ 214889 h 2762250"/>
                <a:gd name="T106" fmla="*/ 1747182 w 2887663"/>
                <a:gd name="T107" fmla="*/ 188111 h 2762250"/>
                <a:gd name="T108" fmla="*/ 1769224 w 2887663"/>
                <a:gd name="T109" fmla="*/ 298086 h 2762250"/>
                <a:gd name="T110" fmla="*/ 1613878 w 2887663"/>
                <a:gd name="T111" fmla="*/ 273578 h 2762250"/>
                <a:gd name="T112" fmla="*/ 1622904 w 2887663"/>
                <a:gd name="T113" fmla="*/ 148101 h 2762250"/>
                <a:gd name="T114" fmla="*/ 198167 w 2887663"/>
                <a:gd name="T115" fmla="*/ 155541 h 2762250"/>
                <a:gd name="T116" fmla="*/ 216304 w 2887663"/>
                <a:gd name="T117" fmla="*/ 266289 h 2762250"/>
                <a:gd name="T118" fmla="*/ 120615 w 2887663"/>
                <a:gd name="T119" fmla="*/ 174765 h 2762250"/>
                <a:gd name="T120" fmla="*/ 1223671 w 2887663"/>
                <a:gd name="T121" fmla="*/ 34092 h 2762250"/>
                <a:gd name="T122" fmla="*/ 1232241 w 2887663"/>
                <a:gd name="T123" fmla="*/ 84078 h 2762250"/>
                <a:gd name="T124" fmla="*/ 1135246 w 2887663"/>
                <a:gd name="T125" fmla="*/ 56889 h 276225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887663" h="2762250">
                  <a:moveTo>
                    <a:pt x="873134" y="2527300"/>
                  </a:moveTo>
                  <a:lnTo>
                    <a:pt x="877887" y="2538366"/>
                  </a:lnTo>
                  <a:lnTo>
                    <a:pt x="723573" y="2601913"/>
                  </a:lnTo>
                  <a:lnTo>
                    <a:pt x="719137" y="2590848"/>
                  </a:lnTo>
                  <a:lnTo>
                    <a:pt x="873134" y="2527300"/>
                  </a:lnTo>
                  <a:close/>
                  <a:moveTo>
                    <a:pt x="1277937" y="2406650"/>
                  </a:moveTo>
                  <a:lnTo>
                    <a:pt x="1369498" y="2406650"/>
                  </a:lnTo>
                  <a:lnTo>
                    <a:pt x="1373617" y="2409226"/>
                  </a:lnTo>
                  <a:lnTo>
                    <a:pt x="1384072" y="2416632"/>
                  </a:lnTo>
                  <a:lnTo>
                    <a:pt x="1390725" y="2421462"/>
                  </a:lnTo>
                  <a:lnTo>
                    <a:pt x="1398012" y="2426935"/>
                  </a:lnTo>
                  <a:lnTo>
                    <a:pt x="1404665" y="2432409"/>
                  </a:lnTo>
                  <a:lnTo>
                    <a:pt x="1411318" y="2438527"/>
                  </a:lnTo>
                  <a:lnTo>
                    <a:pt x="1417021" y="2444645"/>
                  </a:lnTo>
                  <a:lnTo>
                    <a:pt x="1419556" y="2447865"/>
                  </a:lnTo>
                  <a:lnTo>
                    <a:pt x="1421457" y="2450763"/>
                  </a:lnTo>
                  <a:lnTo>
                    <a:pt x="1423358" y="2453661"/>
                  </a:lnTo>
                  <a:lnTo>
                    <a:pt x="1424625" y="2456559"/>
                  </a:lnTo>
                  <a:lnTo>
                    <a:pt x="1425258" y="2459135"/>
                  </a:lnTo>
                  <a:lnTo>
                    <a:pt x="1425575" y="2461389"/>
                  </a:lnTo>
                  <a:lnTo>
                    <a:pt x="1425258" y="2464287"/>
                  </a:lnTo>
                  <a:lnTo>
                    <a:pt x="1423991" y="2466219"/>
                  </a:lnTo>
                  <a:lnTo>
                    <a:pt x="1422724" y="2468473"/>
                  </a:lnTo>
                  <a:lnTo>
                    <a:pt x="1419872" y="2469761"/>
                  </a:lnTo>
                  <a:lnTo>
                    <a:pt x="1417021" y="2471371"/>
                  </a:lnTo>
                  <a:lnTo>
                    <a:pt x="1412902" y="2472981"/>
                  </a:lnTo>
                  <a:lnTo>
                    <a:pt x="1408150" y="2473625"/>
                  </a:lnTo>
                  <a:lnTo>
                    <a:pt x="1402131" y="2474591"/>
                  </a:lnTo>
                  <a:lnTo>
                    <a:pt x="1394844" y="2474913"/>
                  </a:lnTo>
                  <a:lnTo>
                    <a:pt x="1387874" y="2474913"/>
                  </a:lnTo>
                  <a:lnTo>
                    <a:pt x="1380904" y="2474591"/>
                  </a:lnTo>
                  <a:lnTo>
                    <a:pt x="1374567" y="2473303"/>
                  </a:lnTo>
                  <a:lnTo>
                    <a:pt x="1368548" y="2472337"/>
                  </a:lnTo>
                  <a:lnTo>
                    <a:pt x="1362528" y="2471049"/>
                  </a:lnTo>
                  <a:lnTo>
                    <a:pt x="1357459" y="2469117"/>
                  </a:lnTo>
                  <a:lnTo>
                    <a:pt x="1351756" y="2467185"/>
                  </a:lnTo>
                  <a:lnTo>
                    <a:pt x="1347004" y="2464931"/>
                  </a:lnTo>
                  <a:lnTo>
                    <a:pt x="1341618" y="2462677"/>
                  </a:lnTo>
                  <a:lnTo>
                    <a:pt x="1332113" y="2456881"/>
                  </a:lnTo>
                  <a:lnTo>
                    <a:pt x="1323242" y="2451085"/>
                  </a:lnTo>
                  <a:lnTo>
                    <a:pt x="1314055" y="2444645"/>
                  </a:lnTo>
                  <a:lnTo>
                    <a:pt x="1310570" y="2442069"/>
                  </a:lnTo>
                  <a:lnTo>
                    <a:pt x="1307718" y="2440781"/>
                  </a:lnTo>
                  <a:lnTo>
                    <a:pt x="1306768" y="2440781"/>
                  </a:lnTo>
                  <a:lnTo>
                    <a:pt x="1305817" y="2440781"/>
                  </a:lnTo>
                  <a:lnTo>
                    <a:pt x="1305184" y="2441747"/>
                  </a:lnTo>
                  <a:lnTo>
                    <a:pt x="1304550" y="2442713"/>
                  </a:lnTo>
                  <a:lnTo>
                    <a:pt x="1304233" y="2444001"/>
                  </a:lnTo>
                  <a:lnTo>
                    <a:pt x="1303283" y="2444967"/>
                  </a:lnTo>
                  <a:lnTo>
                    <a:pt x="1302649" y="2444967"/>
                  </a:lnTo>
                  <a:lnTo>
                    <a:pt x="1302332" y="2445611"/>
                  </a:lnTo>
                  <a:lnTo>
                    <a:pt x="1291560" y="2444967"/>
                  </a:lnTo>
                  <a:lnTo>
                    <a:pt x="1286175" y="2444323"/>
                  </a:lnTo>
                  <a:lnTo>
                    <a:pt x="1283957" y="2444001"/>
                  </a:lnTo>
                  <a:lnTo>
                    <a:pt x="1282373" y="2443357"/>
                  </a:lnTo>
                  <a:lnTo>
                    <a:pt x="1280472" y="2434341"/>
                  </a:lnTo>
                  <a:lnTo>
                    <a:pt x="1279205" y="2426935"/>
                  </a:lnTo>
                  <a:lnTo>
                    <a:pt x="1278571" y="2421140"/>
                  </a:lnTo>
                  <a:lnTo>
                    <a:pt x="1278571" y="2416632"/>
                  </a:lnTo>
                  <a:lnTo>
                    <a:pt x="1278571" y="2413090"/>
                  </a:lnTo>
                  <a:lnTo>
                    <a:pt x="1278888" y="2411158"/>
                  </a:lnTo>
                  <a:lnTo>
                    <a:pt x="1279205" y="2409226"/>
                  </a:lnTo>
                  <a:lnTo>
                    <a:pt x="1277937" y="2406650"/>
                  </a:lnTo>
                  <a:close/>
                  <a:moveTo>
                    <a:pt x="1045692" y="2406650"/>
                  </a:moveTo>
                  <a:lnTo>
                    <a:pt x="1138237" y="2406650"/>
                  </a:lnTo>
                  <a:lnTo>
                    <a:pt x="1136956" y="2409226"/>
                  </a:lnTo>
                  <a:lnTo>
                    <a:pt x="1137277" y="2411158"/>
                  </a:lnTo>
                  <a:lnTo>
                    <a:pt x="1137597" y="2413090"/>
                  </a:lnTo>
                  <a:lnTo>
                    <a:pt x="1137597" y="2416632"/>
                  </a:lnTo>
                  <a:lnTo>
                    <a:pt x="1137597" y="2421140"/>
                  </a:lnTo>
                  <a:lnTo>
                    <a:pt x="1136956" y="2426935"/>
                  </a:lnTo>
                  <a:lnTo>
                    <a:pt x="1135675" y="2434341"/>
                  </a:lnTo>
                  <a:lnTo>
                    <a:pt x="1133754" y="2443357"/>
                  </a:lnTo>
                  <a:lnTo>
                    <a:pt x="1132153" y="2444001"/>
                  </a:lnTo>
                  <a:lnTo>
                    <a:pt x="1129911" y="2444323"/>
                  </a:lnTo>
                  <a:lnTo>
                    <a:pt x="1124147" y="2444967"/>
                  </a:lnTo>
                  <a:lnTo>
                    <a:pt x="1113580" y="2445611"/>
                  </a:lnTo>
                  <a:lnTo>
                    <a:pt x="1113260" y="2444967"/>
                  </a:lnTo>
                  <a:lnTo>
                    <a:pt x="1112619" y="2444967"/>
                  </a:lnTo>
                  <a:lnTo>
                    <a:pt x="1112299" y="2444001"/>
                  </a:lnTo>
                  <a:lnTo>
                    <a:pt x="1111338" y="2442713"/>
                  </a:lnTo>
                  <a:lnTo>
                    <a:pt x="1110698" y="2441747"/>
                  </a:lnTo>
                  <a:lnTo>
                    <a:pt x="1109737" y="2440781"/>
                  </a:lnTo>
                  <a:lnTo>
                    <a:pt x="1109097" y="2440781"/>
                  </a:lnTo>
                  <a:lnTo>
                    <a:pt x="1107816" y="2440781"/>
                  </a:lnTo>
                  <a:lnTo>
                    <a:pt x="1105254" y="2442069"/>
                  </a:lnTo>
                  <a:lnTo>
                    <a:pt x="1101411" y="2444645"/>
                  </a:lnTo>
                  <a:lnTo>
                    <a:pt x="1092445" y="2451085"/>
                  </a:lnTo>
                  <a:lnTo>
                    <a:pt x="1083479" y="2456881"/>
                  </a:lnTo>
                  <a:lnTo>
                    <a:pt x="1073872" y="2462677"/>
                  </a:lnTo>
                  <a:lnTo>
                    <a:pt x="1069069" y="2464931"/>
                  </a:lnTo>
                  <a:lnTo>
                    <a:pt x="1063625" y="2467185"/>
                  </a:lnTo>
                  <a:lnTo>
                    <a:pt x="1057861" y="2469117"/>
                  </a:lnTo>
                  <a:lnTo>
                    <a:pt x="1052737" y="2471049"/>
                  </a:lnTo>
                  <a:lnTo>
                    <a:pt x="1046653" y="2472337"/>
                  </a:lnTo>
                  <a:lnTo>
                    <a:pt x="1040569" y="2473303"/>
                  </a:lnTo>
                  <a:lnTo>
                    <a:pt x="1034164" y="2474591"/>
                  </a:lnTo>
                  <a:lnTo>
                    <a:pt x="1027119" y="2474913"/>
                  </a:lnTo>
                  <a:lnTo>
                    <a:pt x="1020394" y="2474913"/>
                  </a:lnTo>
                  <a:lnTo>
                    <a:pt x="1012709" y="2474591"/>
                  </a:lnTo>
                  <a:lnTo>
                    <a:pt x="1006625" y="2473625"/>
                  </a:lnTo>
                  <a:lnTo>
                    <a:pt x="1001821" y="2472981"/>
                  </a:lnTo>
                  <a:lnTo>
                    <a:pt x="997658" y="2471371"/>
                  </a:lnTo>
                  <a:lnTo>
                    <a:pt x="994456" y="2469761"/>
                  </a:lnTo>
                  <a:lnTo>
                    <a:pt x="991894" y="2468473"/>
                  </a:lnTo>
                  <a:lnTo>
                    <a:pt x="990293" y="2466219"/>
                  </a:lnTo>
                  <a:lnTo>
                    <a:pt x="989332" y="2464287"/>
                  </a:lnTo>
                  <a:lnTo>
                    <a:pt x="989012" y="2461389"/>
                  </a:lnTo>
                  <a:lnTo>
                    <a:pt x="989332" y="2459135"/>
                  </a:lnTo>
                  <a:lnTo>
                    <a:pt x="989973" y="2456559"/>
                  </a:lnTo>
                  <a:lnTo>
                    <a:pt x="991254" y="2453661"/>
                  </a:lnTo>
                  <a:lnTo>
                    <a:pt x="993175" y="2450763"/>
                  </a:lnTo>
                  <a:lnTo>
                    <a:pt x="995417" y="2447865"/>
                  </a:lnTo>
                  <a:lnTo>
                    <a:pt x="997658" y="2444645"/>
                  </a:lnTo>
                  <a:lnTo>
                    <a:pt x="1003422" y="2438527"/>
                  </a:lnTo>
                  <a:lnTo>
                    <a:pt x="1010147" y="2432409"/>
                  </a:lnTo>
                  <a:lnTo>
                    <a:pt x="1017192" y="2426935"/>
                  </a:lnTo>
                  <a:lnTo>
                    <a:pt x="1024237" y="2421462"/>
                  </a:lnTo>
                  <a:lnTo>
                    <a:pt x="1030962" y="2416632"/>
                  </a:lnTo>
                  <a:lnTo>
                    <a:pt x="1041529" y="2409226"/>
                  </a:lnTo>
                  <a:lnTo>
                    <a:pt x="1045692" y="2406650"/>
                  </a:lnTo>
                  <a:close/>
                  <a:moveTo>
                    <a:pt x="1201246" y="2330132"/>
                  </a:moveTo>
                  <a:lnTo>
                    <a:pt x="1182492" y="2330450"/>
                  </a:lnTo>
                  <a:lnTo>
                    <a:pt x="1164372" y="2331085"/>
                  </a:lnTo>
                  <a:lnTo>
                    <a:pt x="1157061" y="2331720"/>
                  </a:lnTo>
                  <a:lnTo>
                    <a:pt x="1155472" y="2331720"/>
                  </a:lnTo>
                  <a:lnTo>
                    <a:pt x="1153565" y="2344420"/>
                  </a:lnTo>
                  <a:lnTo>
                    <a:pt x="1148796" y="2388235"/>
                  </a:lnTo>
                  <a:lnTo>
                    <a:pt x="1139896" y="2388235"/>
                  </a:lnTo>
                  <a:lnTo>
                    <a:pt x="1042943" y="2389822"/>
                  </a:lnTo>
                  <a:lnTo>
                    <a:pt x="1039764" y="2347277"/>
                  </a:lnTo>
                  <a:lnTo>
                    <a:pt x="1022280" y="2352040"/>
                  </a:lnTo>
                  <a:lnTo>
                    <a:pt x="1005115" y="2356802"/>
                  </a:lnTo>
                  <a:lnTo>
                    <a:pt x="989539" y="2361565"/>
                  </a:lnTo>
                  <a:lnTo>
                    <a:pt x="974281" y="2367280"/>
                  </a:lnTo>
                  <a:lnTo>
                    <a:pt x="960930" y="2372995"/>
                  </a:lnTo>
                  <a:lnTo>
                    <a:pt x="947579" y="2379027"/>
                  </a:lnTo>
                  <a:lnTo>
                    <a:pt x="935817" y="2385377"/>
                  </a:lnTo>
                  <a:lnTo>
                    <a:pt x="925009" y="2391727"/>
                  </a:lnTo>
                  <a:lnTo>
                    <a:pt x="915791" y="2398395"/>
                  </a:lnTo>
                  <a:lnTo>
                    <a:pt x="907208" y="2405380"/>
                  </a:lnTo>
                  <a:lnTo>
                    <a:pt x="903711" y="2409190"/>
                  </a:lnTo>
                  <a:lnTo>
                    <a:pt x="900215" y="2412365"/>
                  </a:lnTo>
                  <a:lnTo>
                    <a:pt x="896718" y="2415857"/>
                  </a:lnTo>
                  <a:lnTo>
                    <a:pt x="894175" y="2419667"/>
                  </a:lnTo>
                  <a:lnTo>
                    <a:pt x="891632" y="2422842"/>
                  </a:lnTo>
                  <a:lnTo>
                    <a:pt x="889407" y="2426335"/>
                  </a:lnTo>
                  <a:lnTo>
                    <a:pt x="887500" y="2430145"/>
                  </a:lnTo>
                  <a:lnTo>
                    <a:pt x="885910" y="2433637"/>
                  </a:lnTo>
                  <a:lnTo>
                    <a:pt x="884639" y="2437130"/>
                  </a:lnTo>
                  <a:lnTo>
                    <a:pt x="884003" y="2440622"/>
                  </a:lnTo>
                  <a:lnTo>
                    <a:pt x="883367" y="2444432"/>
                  </a:lnTo>
                  <a:lnTo>
                    <a:pt x="883367" y="2447925"/>
                  </a:lnTo>
                  <a:lnTo>
                    <a:pt x="883367" y="2451100"/>
                  </a:lnTo>
                  <a:lnTo>
                    <a:pt x="883685" y="2454592"/>
                  </a:lnTo>
                  <a:lnTo>
                    <a:pt x="884639" y="2457450"/>
                  </a:lnTo>
                  <a:lnTo>
                    <a:pt x="885592" y="2460942"/>
                  </a:lnTo>
                  <a:lnTo>
                    <a:pt x="887182" y="2464435"/>
                  </a:lnTo>
                  <a:lnTo>
                    <a:pt x="888771" y="2467610"/>
                  </a:lnTo>
                  <a:lnTo>
                    <a:pt x="890678" y="2471102"/>
                  </a:lnTo>
                  <a:lnTo>
                    <a:pt x="892903" y="2473960"/>
                  </a:lnTo>
                  <a:lnTo>
                    <a:pt x="898307" y="2480945"/>
                  </a:lnTo>
                  <a:lnTo>
                    <a:pt x="904665" y="2487295"/>
                  </a:lnTo>
                  <a:lnTo>
                    <a:pt x="912294" y="2493645"/>
                  </a:lnTo>
                  <a:lnTo>
                    <a:pt x="920877" y="2499995"/>
                  </a:lnTo>
                  <a:lnTo>
                    <a:pt x="930413" y="2506027"/>
                  </a:lnTo>
                  <a:lnTo>
                    <a:pt x="940903" y="2512060"/>
                  </a:lnTo>
                  <a:lnTo>
                    <a:pt x="952665" y="2518092"/>
                  </a:lnTo>
                  <a:lnTo>
                    <a:pt x="964426" y="2523807"/>
                  </a:lnTo>
                  <a:lnTo>
                    <a:pt x="978095" y="2528888"/>
                  </a:lnTo>
                  <a:lnTo>
                    <a:pt x="992082" y="2533968"/>
                  </a:lnTo>
                  <a:lnTo>
                    <a:pt x="1006704" y="2538730"/>
                  </a:lnTo>
                  <a:lnTo>
                    <a:pt x="1022598" y="2543175"/>
                  </a:lnTo>
                  <a:lnTo>
                    <a:pt x="1041671" y="2548255"/>
                  </a:lnTo>
                  <a:lnTo>
                    <a:pt x="1062015" y="2552700"/>
                  </a:lnTo>
                  <a:lnTo>
                    <a:pt x="1083631" y="2556510"/>
                  </a:lnTo>
                  <a:lnTo>
                    <a:pt x="1105247" y="2559368"/>
                  </a:lnTo>
                  <a:lnTo>
                    <a:pt x="1128452" y="2562225"/>
                  </a:lnTo>
                  <a:lnTo>
                    <a:pt x="1151975" y="2564130"/>
                  </a:lnTo>
                  <a:lnTo>
                    <a:pt x="1176452" y="2565083"/>
                  </a:lnTo>
                  <a:lnTo>
                    <a:pt x="1201246" y="2565400"/>
                  </a:lnTo>
                  <a:lnTo>
                    <a:pt x="1222862" y="2565083"/>
                  </a:lnTo>
                  <a:lnTo>
                    <a:pt x="1243524" y="2564448"/>
                  </a:lnTo>
                  <a:lnTo>
                    <a:pt x="1264187" y="2562860"/>
                  </a:lnTo>
                  <a:lnTo>
                    <a:pt x="1283895" y="2560955"/>
                  </a:lnTo>
                  <a:lnTo>
                    <a:pt x="1303286" y="2558733"/>
                  </a:lnTo>
                  <a:lnTo>
                    <a:pt x="1321723" y="2555558"/>
                  </a:lnTo>
                  <a:lnTo>
                    <a:pt x="1339842" y="2552700"/>
                  </a:lnTo>
                  <a:lnTo>
                    <a:pt x="1357643" y="2548890"/>
                  </a:lnTo>
                  <a:lnTo>
                    <a:pt x="1374173" y="2544763"/>
                  </a:lnTo>
                  <a:lnTo>
                    <a:pt x="1390385" y="2540635"/>
                  </a:lnTo>
                  <a:lnTo>
                    <a:pt x="1405325" y="2535873"/>
                  </a:lnTo>
                  <a:lnTo>
                    <a:pt x="1419630" y="2530793"/>
                  </a:lnTo>
                  <a:lnTo>
                    <a:pt x="1431073" y="2526347"/>
                  </a:lnTo>
                  <a:lnTo>
                    <a:pt x="1441881" y="2521902"/>
                  </a:lnTo>
                  <a:lnTo>
                    <a:pt x="1452053" y="2516822"/>
                  </a:lnTo>
                  <a:lnTo>
                    <a:pt x="1461590" y="2512060"/>
                  </a:lnTo>
                  <a:lnTo>
                    <a:pt x="1470490" y="2507297"/>
                  </a:lnTo>
                  <a:lnTo>
                    <a:pt x="1478437" y="2502217"/>
                  </a:lnTo>
                  <a:lnTo>
                    <a:pt x="1486066" y="2497137"/>
                  </a:lnTo>
                  <a:lnTo>
                    <a:pt x="1492742" y="2491740"/>
                  </a:lnTo>
                  <a:lnTo>
                    <a:pt x="1499099" y="2486025"/>
                  </a:lnTo>
                  <a:lnTo>
                    <a:pt x="1504503" y="2480945"/>
                  </a:lnTo>
                  <a:lnTo>
                    <a:pt x="1508954" y="2475230"/>
                  </a:lnTo>
                  <a:lnTo>
                    <a:pt x="1512768" y="2469832"/>
                  </a:lnTo>
                  <a:lnTo>
                    <a:pt x="1515629" y="2464435"/>
                  </a:lnTo>
                  <a:lnTo>
                    <a:pt x="1517854" y="2458720"/>
                  </a:lnTo>
                  <a:lnTo>
                    <a:pt x="1519126" y="2453322"/>
                  </a:lnTo>
                  <a:lnTo>
                    <a:pt x="1519444" y="2447925"/>
                  </a:lnTo>
                  <a:lnTo>
                    <a:pt x="1519126" y="2442845"/>
                  </a:lnTo>
                  <a:lnTo>
                    <a:pt x="1518490" y="2438082"/>
                  </a:lnTo>
                  <a:lnTo>
                    <a:pt x="1516583" y="2433002"/>
                  </a:lnTo>
                  <a:lnTo>
                    <a:pt x="1514358" y="2427922"/>
                  </a:lnTo>
                  <a:lnTo>
                    <a:pt x="1511179" y="2422842"/>
                  </a:lnTo>
                  <a:lnTo>
                    <a:pt x="1507364" y="2418080"/>
                  </a:lnTo>
                  <a:lnTo>
                    <a:pt x="1503232" y="2413317"/>
                  </a:lnTo>
                  <a:lnTo>
                    <a:pt x="1498464" y="2408237"/>
                  </a:lnTo>
                  <a:lnTo>
                    <a:pt x="1493060" y="2403475"/>
                  </a:lnTo>
                  <a:lnTo>
                    <a:pt x="1487020" y="2399030"/>
                  </a:lnTo>
                  <a:lnTo>
                    <a:pt x="1480662" y="2393950"/>
                  </a:lnTo>
                  <a:lnTo>
                    <a:pt x="1473669" y="2389505"/>
                  </a:lnTo>
                  <a:lnTo>
                    <a:pt x="1465722" y="2385060"/>
                  </a:lnTo>
                  <a:lnTo>
                    <a:pt x="1457775" y="2380615"/>
                  </a:lnTo>
                  <a:lnTo>
                    <a:pt x="1448557" y="2376487"/>
                  </a:lnTo>
                  <a:lnTo>
                    <a:pt x="1439656" y="2372360"/>
                  </a:lnTo>
                  <a:lnTo>
                    <a:pt x="1424716" y="2365692"/>
                  </a:lnTo>
                  <a:lnTo>
                    <a:pt x="1408504" y="2360295"/>
                  </a:lnTo>
                  <a:lnTo>
                    <a:pt x="1391020" y="2354897"/>
                  </a:lnTo>
                  <a:lnTo>
                    <a:pt x="1372583" y="2350135"/>
                  </a:lnTo>
                  <a:lnTo>
                    <a:pt x="1369722" y="2389822"/>
                  </a:lnTo>
                  <a:lnTo>
                    <a:pt x="1268319" y="2389822"/>
                  </a:lnTo>
                  <a:lnTo>
                    <a:pt x="1260690" y="2332355"/>
                  </a:lnTo>
                  <a:lnTo>
                    <a:pt x="1246385" y="2331720"/>
                  </a:lnTo>
                  <a:lnTo>
                    <a:pt x="1231763" y="2330767"/>
                  </a:lnTo>
                  <a:lnTo>
                    <a:pt x="1216823" y="2330450"/>
                  </a:lnTo>
                  <a:lnTo>
                    <a:pt x="1201246" y="2330132"/>
                  </a:lnTo>
                  <a:close/>
                  <a:moveTo>
                    <a:pt x="1861529" y="2074863"/>
                  </a:moveTo>
                  <a:lnTo>
                    <a:pt x="1868488" y="2085078"/>
                  </a:lnTo>
                  <a:lnTo>
                    <a:pt x="1702093" y="2192338"/>
                  </a:lnTo>
                  <a:lnTo>
                    <a:pt x="1695450" y="2181803"/>
                  </a:lnTo>
                  <a:lnTo>
                    <a:pt x="1861529" y="2074863"/>
                  </a:lnTo>
                  <a:close/>
                  <a:moveTo>
                    <a:pt x="1219048" y="2005330"/>
                  </a:moveTo>
                  <a:lnTo>
                    <a:pt x="1186942" y="2065337"/>
                  </a:lnTo>
                  <a:lnTo>
                    <a:pt x="1161512" y="2280602"/>
                  </a:lnTo>
                  <a:lnTo>
                    <a:pt x="1180902" y="2279650"/>
                  </a:lnTo>
                  <a:lnTo>
                    <a:pt x="1201246" y="2279332"/>
                  </a:lnTo>
                  <a:lnTo>
                    <a:pt x="1214915" y="2279650"/>
                  </a:lnTo>
                  <a:lnTo>
                    <a:pt x="1227948" y="2279967"/>
                  </a:lnTo>
                  <a:lnTo>
                    <a:pt x="1254332" y="2281237"/>
                  </a:lnTo>
                  <a:lnTo>
                    <a:pt x="1219048" y="2005330"/>
                  </a:lnTo>
                  <a:close/>
                  <a:moveTo>
                    <a:pt x="1196160" y="1991360"/>
                  </a:moveTo>
                  <a:lnTo>
                    <a:pt x="1191074" y="2032000"/>
                  </a:lnTo>
                  <a:lnTo>
                    <a:pt x="1212690" y="1991360"/>
                  </a:lnTo>
                  <a:lnTo>
                    <a:pt x="1208876" y="1991677"/>
                  </a:lnTo>
                  <a:lnTo>
                    <a:pt x="1204743" y="1991995"/>
                  </a:lnTo>
                  <a:lnTo>
                    <a:pt x="1200293" y="1991677"/>
                  </a:lnTo>
                  <a:lnTo>
                    <a:pt x="1196160" y="1991360"/>
                  </a:lnTo>
                  <a:close/>
                  <a:moveTo>
                    <a:pt x="751423" y="1981200"/>
                  </a:moveTo>
                  <a:lnTo>
                    <a:pt x="838200" y="2111073"/>
                  </a:lnTo>
                  <a:lnTo>
                    <a:pt x="828139" y="2117725"/>
                  </a:lnTo>
                  <a:lnTo>
                    <a:pt x="741362" y="1987852"/>
                  </a:lnTo>
                  <a:lnTo>
                    <a:pt x="751423" y="1981200"/>
                  </a:lnTo>
                  <a:close/>
                  <a:moveTo>
                    <a:pt x="2195208" y="1862138"/>
                  </a:moveTo>
                  <a:lnTo>
                    <a:pt x="2201863" y="1872672"/>
                  </a:lnTo>
                  <a:lnTo>
                    <a:pt x="2035164" y="1979613"/>
                  </a:lnTo>
                  <a:lnTo>
                    <a:pt x="2028825" y="1969398"/>
                  </a:lnTo>
                  <a:lnTo>
                    <a:pt x="2195208" y="1862138"/>
                  </a:lnTo>
                  <a:close/>
                  <a:moveTo>
                    <a:pt x="857250" y="1828800"/>
                  </a:moveTo>
                  <a:lnTo>
                    <a:pt x="932616" y="1842554"/>
                  </a:lnTo>
                  <a:lnTo>
                    <a:pt x="934861" y="1843179"/>
                  </a:lnTo>
                  <a:lnTo>
                    <a:pt x="937106" y="1844430"/>
                  </a:lnTo>
                  <a:lnTo>
                    <a:pt x="939351" y="1846305"/>
                  </a:lnTo>
                  <a:lnTo>
                    <a:pt x="940955" y="1848806"/>
                  </a:lnTo>
                  <a:lnTo>
                    <a:pt x="942879" y="1851307"/>
                  </a:lnTo>
                  <a:lnTo>
                    <a:pt x="944162" y="1854745"/>
                  </a:lnTo>
                  <a:lnTo>
                    <a:pt x="945445" y="1858497"/>
                  </a:lnTo>
                  <a:lnTo>
                    <a:pt x="946407" y="1862560"/>
                  </a:lnTo>
                  <a:lnTo>
                    <a:pt x="948972" y="1871313"/>
                  </a:lnTo>
                  <a:lnTo>
                    <a:pt x="950255" y="1880691"/>
                  </a:lnTo>
                  <a:lnTo>
                    <a:pt x="952500" y="1899134"/>
                  </a:lnTo>
                  <a:lnTo>
                    <a:pt x="952500" y="1902886"/>
                  </a:lnTo>
                  <a:lnTo>
                    <a:pt x="952180" y="1905386"/>
                  </a:lnTo>
                  <a:lnTo>
                    <a:pt x="951859" y="1906949"/>
                  </a:lnTo>
                  <a:lnTo>
                    <a:pt x="951217" y="1907262"/>
                  </a:lnTo>
                  <a:lnTo>
                    <a:pt x="950576" y="1907262"/>
                  </a:lnTo>
                  <a:lnTo>
                    <a:pt x="949293" y="1907262"/>
                  </a:lnTo>
                  <a:lnTo>
                    <a:pt x="947690" y="1906324"/>
                  </a:lnTo>
                  <a:lnTo>
                    <a:pt x="945765" y="1904761"/>
                  </a:lnTo>
                  <a:lnTo>
                    <a:pt x="943841" y="1902886"/>
                  </a:lnTo>
                  <a:lnTo>
                    <a:pt x="939993" y="1897571"/>
                  </a:lnTo>
                  <a:lnTo>
                    <a:pt x="937106" y="1892257"/>
                  </a:lnTo>
                  <a:lnTo>
                    <a:pt x="935503" y="1889131"/>
                  </a:lnTo>
                  <a:lnTo>
                    <a:pt x="934541" y="1886318"/>
                  </a:lnTo>
                  <a:lnTo>
                    <a:pt x="933899" y="1883504"/>
                  </a:lnTo>
                  <a:lnTo>
                    <a:pt x="933579" y="1881316"/>
                  </a:lnTo>
                  <a:lnTo>
                    <a:pt x="933579" y="1879441"/>
                  </a:lnTo>
                  <a:lnTo>
                    <a:pt x="933258" y="1878190"/>
                  </a:lnTo>
                  <a:lnTo>
                    <a:pt x="932937" y="1876627"/>
                  </a:lnTo>
                  <a:lnTo>
                    <a:pt x="931975" y="1875064"/>
                  </a:lnTo>
                  <a:lnTo>
                    <a:pt x="931334" y="1874439"/>
                  </a:lnTo>
                  <a:lnTo>
                    <a:pt x="930692" y="1873501"/>
                  </a:lnTo>
                  <a:lnTo>
                    <a:pt x="929409" y="1873189"/>
                  </a:lnTo>
                  <a:lnTo>
                    <a:pt x="928768" y="1873189"/>
                  </a:lnTo>
                  <a:lnTo>
                    <a:pt x="927485" y="1873501"/>
                  </a:lnTo>
                  <a:lnTo>
                    <a:pt x="926844" y="1874439"/>
                  </a:lnTo>
                  <a:lnTo>
                    <a:pt x="925882" y="1875064"/>
                  </a:lnTo>
                  <a:lnTo>
                    <a:pt x="925240" y="1876627"/>
                  </a:lnTo>
                  <a:lnTo>
                    <a:pt x="924599" y="1878190"/>
                  </a:lnTo>
                  <a:lnTo>
                    <a:pt x="924278" y="1880378"/>
                  </a:lnTo>
                  <a:lnTo>
                    <a:pt x="923637" y="1882879"/>
                  </a:lnTo>
                  <a:lnTo>
                    <a:pt x="923316" y="1885380"/>
                  </a:lnTo>
                  <a:lnTo>
                    <a:pt x="923316" y="1891319"/>
                  </a:lnTo>
                  <a:lnTo>
                    <a:pt x="922354" y="1896321"/>
                  </a:lnTo>
                  <a:lnTo>
                    <a:pt x="921392" y="1898822"/>
                  </a:lnTo>
                  <a:lnTo>
                    <a:pt x="920430" y="1900697"/>
                  </a:lnTo>
                  <a:lnTo>
                    <a:pt x="919147" y="1902573"/>
                  </a:lnTo>
                  <a:lnTo>
                    <a:pt x="917543" y="1904449"/>
                  </a:lnTo>
                  <a:lnTo>
                    <a:pt x="916260" y="1905699"/>
                  </a:lnTo>
                  <a:lnTo>
                    <a:pt x="914336" y="1906949"/>
                  </a:lnTo>
                  <a:lnTo>
                    <a:pt x="912091" y="1908200"/>
                  </a:lnTo>
                  <a:lnTo>
                    <a:pt x="909846" y="1909138"/>
                  </a:lnTo>
                  <a:lnTo>
                    <a:pt x="906960" y="1909450"/>
                  </a:lnTo>
                  <a:lnTo>
                    <a:pt x="904073" y="1909763"/>
                  </a:lnTo>
                  <a:lnTo>
                    <a:pt x="900546" y="1909763"/>
                  </a:lnTo>
                  <a:lnTo>
                    <a:pt x="897018" y="1909763"/>
                  </a:lnTo>
                  <a:lnTo>
                    <a:pt x="894132" y="1909450"/>
                  </a:lnTo>
                  <a:lnTo>
                    <a:pt x="891245" y="1908512"/>
                  </a:lnTo>
                  <a:lnTo>
                    <a:pt x="888359" y="1907262"/>
                  </a:lnTo>
                  <a:lnTo>
                    <a:pt x="885793" y="1905386"/>
                  </a:lnTo>
                  <a:lnTo>
                    <a:pt x="883548" y="1903511"/>
                  </a:lnTo>
                  <a:lnTo>
                    <a:pt x="881303" y="1901323"/>
                  </a:lnTo>
                  <a:lnTo>
                    <a:pt x="879058" y="1898822"/>
                  </a:lnTo>
                  <a:lnTo>
                    <a:pt x="877134" y="1896321"/>
                  </a:lnTo>
                  <a:lnTo>
                    <a:pt x="873286" y="1889756"/>
                  </a:lnTo>
                  <a:lnTo>
                    <a:pt x="870079" y="1882879"/>
                  </a:lnTo>
                  <a:lnTo>
                    <a:pt x="867192" y="1875690"/>
                  </a:lnTo>
                  <a:lnTo>
                    <a:pt x="864947" y="1868500"/>
                  </a:lnTo>
                  <a:lnTo>
                    <a:pt x="863023" y="1860997"/>
                  </a:lnTo>
                  <a:lnTo>
                    <a:pt x="861099" y="1853495"/>
                  </a:lnTo>
                  <a:lnTo>
                    <a:pt x="858854" y="1840991"/>
                  </a:lnTo>
                  <a:lnTo>
                    <a:pt x="857571" y="1832238"/>
                  </a:lnTo>
                  <a:lnTo>
                    <a:pt x="857250" y="1828800"/>
                  </a:lnTo>
                  <a:close/>
                  <a:moveTo>
                    <a:pt x="1562100" y="1827213"/>
                  </a:moveTo>
                  <a:lnTo>
                    <a:pt x="1561780" y="1830705"/>
                  </a:lnTo>
                  <a:lnTo>
                    <a:pt x="1560497" y="1839595"/>
                  </a:lnTo>
                  <a:lnTo>
                    <a:pt x="1557931" y="1852613"/>
                  </a:lnTo>
                  <a:lnTo>
                    <a:pt x="1556328" y="1859915"/>
                  </a:lnTo>
                  <a:lnTo>
                    <a:pt x="1554403" y="1867535"/>
                  </a:lnTo>
                  <a:lnTo>
                    <a:pt x="1552158" y="1875155"/>
                  </a:lnTo>
                  <a:lnTo>
                    <a:pt x="1549272" y="1882140"/>
                  </a:lnTo>
                  <a:lnTo>
                    <a:pt x="1546065" y="1889443"/>
                  </a:lnTo>
                  <a:lnTo>
                    <a:pt x="1542537" y="1895475"/>
                  </a:lnTo>
                  <a:lnTo>
                    <a:pt x="1540613" y="1898333"/>
                  </a:lnTo>
                  <a:lnTo>
                    <a:pt x="1538047" y="1900873"/>
                  </a:lnTo>
                  <a:lnTo>
                    <a:pt x="1535802" y="1903413"/>
                  </a:lnTo>
                  <a:lnTo>
                    <a:pt x="1533237" y="1905000"/>
                  </a:lnTo>
                  <a:lnTo>
                    <a:pt x="1530992" y="1906905"/>
                  </a:lnTo>
                  <a:lnTo>
                    <a:pt x="1528426" y="1908175"/>
                  </a:lnTo>
                  <a:lnTo>
                    <a:pt x="1525219" y="1908810"/>
                  </a:lnTo>
                  <a:lnTo>
                    <a:pt x="1522333" y="1909763"/>
                  </a:lnTo>
                  <a:lnTo>
                    <a:pt x="1518805" y="1909763"/>
                  </a:lnTo>
                  <a:lnTo>
                    <a:pt x="1515277" y="1909763"/>
                  </a:lnTo>
                  <a:lnTo>
                    <a:pt x="1512391" y="1909445"/>
                  </a:lnTo>
                  <a:lnTo>
                    <a:pt x="1509825" y="1908493"/>
                  </a:lnTo>
                  <a:lnTo>
                    <a:pt x="1506939" y="1907858"/>
                  </a:lnTo>
                  <a:lnTo>
                    <a:pt x="1505014" y="1906588"/>
                  </a:lnTo>
                  <a:lnTo>
                    <a:pt x="1503411" y="1905635"/>
                  </a:lnTo>
                  <a:lnTo>
                    <a:pt x="1501487" y="1904048"/>
                  </a:lnTo>
                  <a:lnTo>
                    <a:pt x="1500204" y="1902143"/>
                  </a:lnTo>
                  <a:lnTo>
                    <a:pt x="1498600" y="1900238"/>
                  </a:lnTo>
                  <a:lnTo>
                    <a:pt x="1497959" y="1898333"/>
                  </a:lnTo>
                  <a:lnTo>
                    <a:pt x="1497317" y="1895793"/>
                  </a:lnTo>
                  <a:lnTo>
                    <a:pt x="1496035" y="1890713"/>
                  </a:lnTo>
                  <a:lnTo>
                    <a:pt x="1495714" y="1884998"/>
                  </a:lnTo>
                  <a:lnTo>
                    <a:pt x="1495714" y="1881823"/>
                  </a:lnTo>
                  <a:lnTo>
                    <a:pt x="1495393" y="1879600"/>
                  </a:lnTo>
                  <a:lnTo>
                    <a:pt x="1494752" y="1877378"/>
                  </a:lnTo>
                  <a:lnTo>
                    <a:pt x="1494110" y="1875790"/>
                  </a:lnTo>
                  <a:lnTo>
                    <a:pt x="1493469" y="1874203"/>
                  </a:lnTo>
                  <a:lnTo>
                    <a:pt x="1492507" y="1873568"/>
                  </a:lnTo>
                  <a:lnTo>
                    <a:pt x="1491865" y="1872933"/>
                  </a:lnTo>
                  <a:lnTo>
                    <a:pt x="1490583" y="1872298"/>
                  </a:lnTo>
                  <a:lnTo>
                    <a:pt x="1489941" y="1872298"/>
                  </a:lnTo>
                  <a:lnTo>
                    <a:pt x="1488979" y="1872933"/>
                  </a:lnTo>
                  <a:lnTo>
                    <a:pt x="1488017" y="1873568"/>
                  </a:lnTo>
                  <a:lnTo>
                    <a:pt x="1487376" y="1874203"/>
                  </a:lnTo>
                  <a:lnTo>
                    <a:pt x="1486413" y="1875790"/>
                  </a:lnTo>
                  <a:lnTo>
                    <a:pt x="1486093" y="1877060"/>
                  </a:lnTo>
                  <a:lnTo>
                    <a:pt x="1485772" y="1878965"/>
                  </a:lnTo>
                  <a:lnTo>
                    <a:pt x="1485772" y="1880870"/>
                  </a:lnTo>
                  <a:lnTo>
                    <a:pt x="1485451" y="1883093"/>
                  </a:lnTo>
                  <a:lnTo>
                    <a:pt x="1485131" y="1885633"/>
                  </a:lnTo>
                  <a:lnTo>
                    <a:pt x="1483848" y="1888490"/>
                  </a:lnTo>
                  <a:lnTo>
                    <a:pt x="1482244" y="1891665"/>
                  </a:lnTo>
                  <a:lnTo>
                    <a:pt x="1479358" y="1897380"/>
                  </a:lnTo>
                  <a:lnTo>
                    <a:pt x="1475509" y="1902460"/>
                  </a:lnTo>
                  <a:lnTo>
                    <a:pt x="1473585" y="1904365"/>
                  </a:lnTo>
                  <a:lnTo>
                    <a:pt x="1471661" y="1905953"/>
                  </a:lnTo>
                  <a:lnTo>
                    <a:pt x="1470378" y="1906905"/>
                  </a:lnTo>
                  <a:lnTo>
                    <a:pt x="1468774" y="1906905"/>
                  </a:lnTo>
                  <a:lnTo>
                    <a:pt x="1468454" y="1906905"/>
                  </a:lnTo>
                  <a:lnTo>
                    <a:pt x="1467492" y="1906588"/>
                  </a:lnTo>
                  <a:lnTo>
                    <a:pt x="1466850" y="1904683"/>
                  </a:lnTo>
                  <a:lnTo>
                    <a:pt x="1466850" y="1902143"/>
                  </a:lnTo>
                  <a:lnTo>
                    <a:pt x="1466850" y="1898650"/>
                  </a:lnTo>
                  <a:lnTo>
                    <a:pt x="1469095" y="1879918"/>
                  </a:lnTo>
                  <a:lnTo>
                    <a:pt x="1470699" y="1870710"/>
                  </a:lnTo>
                  <a:lnTo>
                    <a:pt x="1472944" y="1861503"/>
                  </a:lnTo>
                  <a:lnTo>
                    <a:pt x="1473906" y="1857375"/>
                  </a:lnTo>
                  <a:lnTo>
                    <a:pt x="1475189" y="1853565"/>
                  </a:lnTo>
                  <a:lnTo>
                    <a:pt x="1476792" y="1850390"/>
                  </a:lnTo>
                  <a:lnTo>
                    <a:pt x="1478716" y="1847215"/>
                  </a:lnTo>
                  <a:lnTo>
                    <a:pt x="1479999" y="1844993"/>
                  </a:lnTo>
                  <a:lnTo>
                    <a:pt x="1482244" y="1843088"/>
                  </a:lnTo>
                  <a:lnTo>
                    <a:pt x="1484810" y="1841500"/>
                  </a:lnTo>
                  <a:lnTo>
                    <a:pt x="1487055" y="1841183"/>
                  </a:lnTo>
                  <a:lnTo>
                    <a:pt x="1562100" y="1827213"/>
                  </a:lnTo>
                  <a:close/>
                  <a:moveTo>
                    <a:pt x="575376" y="1720850"/>
                  </a:moveTo>
                  <a:lnTo>
                    <a:pt x="663575" y="1850406"/>
                  </a:lnTo>
                  <a:lnTo>
                    <a:pt x="653349" y="1857375"/>
                  </a:lnTo>
                  <a:lnTo>
                    <a:pt x="565150" y="1727502"/>
                  </a:lnTo>
                  <a:lnTo>
                    <a:pt x="575376" y="1720850"/>
                  </a:lnTo>
                  <a:close/>
                  <a:moveTo>
                    <a:pt x="2438400" y="1706563"/>
                  </a:moveTo>
                  <a:lnTo>
                    <a:pt x="2444750" y="1717208"/>
                  </a:lnTo>
                  <a:lnTo>
                    <a:pt x="2368550" y="1766888"/>
                  </a:lnTo>
                  <a:lnTo>
                    <a:pt x="2362200" y="1756242"/>
                  </a:lnTo>
                  <a:lnTo>
                    <a:pt x="2438400" y="1706563"/>
                  </a:lnTo>
                  <a:close/>
                  <a:moveTo>
                    <a:pt x="2439910" y="1539875"/>
                  </a:moveTo>
                  <a:lnTo>
                    <a:pt x="2513012" y="1539875"/>
                  </a:lnTo>
                  <a:lnTo>
                    <a:pt x="2511735" y="1542137"/>
                  </a:lnTo>
                  <a:lnTo>
                    <a:pt x="2512374" y="1543430"/>
                  </a:lnTo>
                  <a:lnTo>
                    <a:pt x="2512693" y="1547632"/>
                  </a:lnTo>
                  <a:lnTo>
                    <a:pt x="2512693" y="1551510"/>
                  </a:lnTo>
                  <a:lnTo>
                    <a:pt x="2512374" y="1556035"/>
                  </a:lnTo>
                  <a:lnTo>
                    <a:pt x="2511097" y="1561853"/>
                  </a:lnTo>
                  <a:lnTo>
                    <a:pt x="2509501" y="1568963"/>
                  </a:lnTo>
                  <a:lnTo>
                    <a:pt x="2508543" y="1569286"/>
                  </a:lnTo>
                  <a:lnTo>
                    <a:pt x="2506628" y="1569933"/>
                  </a:lnTo>
                  <a:lnTo>
                    <a:pt x="2502478" y="1570256"/>
                  </a:lnTo>
                  <a:lnTo>
                    <a:pt x="2493859" y="1570579"/>
                  </a:lnTo>
                  <a:lnTo>
                    <a:pt x="2492901" y="1570256"/>
                  </a:lnTo>
                  <a:lnTo>
                    <a:pt x="2492582" y="1569286"/>
                  </a:lnTo>
                  <a:lnTo>
                    <a:pt x="2491305" y="1567347"/>
                  </a:lnTo>
                  <a:lnTo>
                    <a:pt x="2490666" y="1567024"/>
                  </a:lnTo>
                  <a:lnTo>
                    <a:pt x="2489070" y="1567024"/>
                  </a:lnTo>
                  <a:lnTo>
                    <a:pt x="2487155" y="1567994"/>
                  </a:lnTo>
                  <a:lnTo>
                    <a:pt x="2484282" y="1569933"/>
                  </a:lnTo>
                  <a:lnTo>
                    <a:pt x="2476940" y="1575104"/>
                  </a:lnTo>
                  <a:lnTo>
                    <a:pt x="2469917" y="1579629"/>
                  </a:lnTo>
                  <a:lnTo>
                    <a:pt x="2462255" y="1584477"/>
                  </a:lnTo>
                  <a:lnTo>
                    <a:pt x="2454275" y="1587709"/>
                  </a:lnTo>
                  <a:lnTo>
                    <a:pt x="2449806" y="1589325"/>
                  </a:lnTo>
                  <a:lnTo>
                    <a:pt x="2445336" y="1590941"/>
                  </a:lnTo>
                  <a:lnTo>
                    <a:pt x="2440867" y="1591911"/>
                  </a:lnTo>
                  <a:lnTo>
                    <a:pt x="2435760" y="1592880"/>
                  </a:lnTo>
                  <a:lnTo>
                    <a:pt x="2430971" y="1593527"/>
                  </a:lnTo>
                  <a:lnTo>
                    <a:pt x="2425544" y="1593850"/>
                  </a:lnTo>
                  <a:lnTo>
                    <a:pt x="2420118" y="1593850"/>
                  </a:lnTo>
                  <a:lnTo>
                    <a:pt x="2414372" y="1593527"/>
                  </a:lnTo>
                  <a:lnTo>
                    <a:pt x="2409264" y="1593203"/>
                  </a:lnTo>
                  <a:lnTo>
                    <a:pt x="2405752" y="1592234"/>
                  </a:lnTo>
                  <a:lnTo>
                    <a:pt x="2402241" y="1591264"/>
                  </a:lnTo>
                  <a:lnTo>
                    <a:pt x="2399687" y="1589971"/>
                  </a:lnTo>
                  <a:lnTo>
                    <a:pt x="2397772" y="1589002"/>
                  </a:lnTo>
                  <a:lnTo>
                    <a:pt x="2396495" y="1587063"/>
                  </a:lnTo>
                  <a:lnTo>
                    <a:pt x="2395856" y="1585447"/>
                  </a:lnTo>
                  <a:lnTo>
                    <a:pt x="2395537" y="1583507"/>
                  </a:lnTo>
                  <a:lnTo>
                    <a:pt x="2395537" y="1581568"/>
                  </a:lnTo>
                  <a:lnTo>
                    <a:pt x="2396176" y="1579306"/>
                  </a:lnTo>
                  <a:lnTo>
                    <a:pt x="2397453" y="1577043"/>
                  </a:lnTo>
                  <a:lnTo>
                    <a:pt x="2398410" y="1574781"/>
                  </a:lnTo>
                  <a:lnTo>
                    <a:pt x="2402241" y="1570256"/>
                  </a:lnTo>
                  <a:lnTo>
                    <a:pt x="2406710" y="1565085"/>
                  </a:lnTo>
                  <a:lnTo>
                    <a:pt x="2412137" y="1560237"/>
                  </a:lnTo>
                  <a:lnTo>
                    <a:pt x="2417564" y="1555712"/>
                  </a:lnTo>
                  <a:lnTo>
                    <a:pt x="2428417" y="1547632"/>
                  </a:lnTo>
                  <a:lnTo>
                    <a:pt x="2436717" y="1541814"/>
                  </a:lnTo>
                  <a:lnTo>
                    <a:pt x="2439910" y="1539875"/>
                  </a:lnTo>
                  <a:close/>
                  <a:moveTo>
                    <a:pt x="2579046" y="1497966"/>
                  </a:moveTo>
                  <a:lnTo>
                    <a:pt x="2564773" y="1498283"/>
                  </a:lnTo>
                  <a:lnTo>
                    <a:pt x="2550817" y="1498918"/>
                  </a:lnTo>
                  <a:lnTo>
                    <a:pt x="2537179" y="1499553"/>
                  </a:lnTo>
                  <a:lnTo>
                    <a:pt x="2524174" y="1500823"/>
                  </a:lnTo>
                  <a:lnTo>
                    <a:pt x="2521002" y="1525271"/>
                  </a:lnTo>
                  <a:lnTo>
                    <a:pt x="2437584" y="1526223"/>
                  </a:lnTo>
                  <a:lnTo>
                    <a:pt x="2436950" y="1515746"/>
                  </a:lnTo>
                  <a:lnTo>
                    <a:pt x="2424579" y="1519556"/>
                  </a:lnTo>
                  <a:lnTo>
                    <a:pt x="2412527" y="1523366"/>
                  </a:lnTo>
                  <a:lnTo>
                    <a:pt x="2401108" y="1527493"/>
                  </a:lnTo>
                  <a:lnTo>
                    <a:pt x="2390324" y="1531938"/>
                  </a:lnTo>
                  <a:lnTo>
                    <a:pt x="2380491" y="1536383"/>
                  </a:lnTo>
                  <a:lnTo>
                    <a:pt x="2371610" y="1541146"/>
                  </a:lnTo>
                  <a:lnTo>
                    <a:pt x="2363046" y="1546226"/>
                  </a:lnTo>
                  <a:lnTo>
                    <a:pt x="2355434" y="1551306"/>
                  </a:lnTo>
                  <a:lnTo>
                    <a:pt x="2348773" y="1556703"/>
                  </a:lnTo>
                  <a:lnTo>
                    <a:pt x="2342747" y="1562101"/>
                  </a:lnTo>
                  <a:lnTo>
                    <a:pt x="2337672" y="1567181"/>
                  </a:lnTo>
                  <a:lnTo>
                    <a:pt x="2333549" y="1572896"/>
                  </a:lnTo>
                  <a:lnTo>
                    <a:pt x="2330377" y="1578293"/>
                  </a:lnTo>
                  <a:lnTo>
                    <a:pt x="2327522" y="1583691"/>
                  </a:lnTo>
                  <a:lnTo>
                    <a:pt x="2326888" y="1586548"/>
                  </a:lnTo>
                  <a:lnTo>
                    <a:pt x="2326253" y="1589406"/>
                  </a:lnTo>
                  <a:lnTo>
                    <a:pt x="2325619" y="1591946"/>
                  </a:lnTo>
                  <a:lnTo>
                    <a:pt x="2325619" y="1594803"/>
                  </a:lnTo>
                  <a:lnTo>
                    <a:pt x="2326253" y="1599248"/>
                  </a:lnTo>
                  <a:lnTo>
                    <a:pt x="2326888" y="1603376"/>
                  </a:lnTo>
                  <a:lnTo>
                    <a:pt x="2328474" y="1607821"/>
                  </a:lnTo>
                  <a:lnTo>
                    <a:pt x="2330694" y="1611948"/>
                  </a:lnTo>
                  <a:lnTo>
                    <a:pt x="2333231" y="1616393"/>
                  </a:lnTo>
                  <a:lnTo>
                    <a:pt x="2336403" y="1620521"/>
                  </a:lnTo>
                  <a:lnTo>
                    <a:pt x="2339892" y="1625283"/>
                  </a:lnTo>
                  <a:lnTo>
                    <a:pt x="2344650" y="1629411"/>
                  </a:lnTo>
                  <a:lnTo>
                    <a:pt x="2349090" y="1633538"/>
                  </a:lnTo>
                  <a:lnTo>
                    <a:pt x="2354165" y="1637666"/>
                  </a:lnTo>
                  <a:lnTo>
                    <a:pt x="2360192" y="1641793"/>
                  </a:lnTo>
                  <a:lnTo>
                    <a:pt x="2366535" y="1645603"/>
                  </a:lnTo>
                  <a:lnTo>
                    <a:pt x="2373513" y="1649096"/>
                  </a:lnTo>
                  <a:lnTo>
                    <a:pt x="2380491" y="1652906"/>
                  </a:lnTo>
                  <a:lnTo>
                    <a:pt x="2388104" y="1656716"/>
                  </a:lnTo>
                  <a:lnTo>
                    <a:pt x="2396350" y="1660208"/>
                  </a:lnTo>
                  <a:lnTo>
                    <a:pt x="2404914" y="1663383"/>
                  </a:lnTo>
                  <a:lnTo>
                    <a:pt x="2414112" y="1666876"/>
                  </a:lnTo>
                  <a:lnTo>
                    <a:pt x="2423311" y="1670051"/>
                  </a:lnTo>
                  <a:lnTo>
                    <a:pt x="2433143" y="1672908"/>
                  </a:lnTo>
                  <a:lnTo>
                    <a:pt x="2443293" y="1675448"/>
                  </a:lnTo>
                  <a:lnTo>
                    <a:pt x="2454077" y="1678306"/>
                  </a:lnTo>
                  <a:lnTo>
                    <a:pt x="2465179" y="1680846"/>
                  </a:lnTo>
                  <a:lnTo>
                    <a:pt x="2476280" y="1682751"/>
                  </a:lnTo>
                  <a:lnTo>
                    <a:pt x="2488016" y="1684973"/>
                  </a:lnTo>
                  <a:lnTo>
                    <a:pt x="2500068" y="1686561"/>
                  </a:lnTo>
                  <a:lnTo>
                    <a:pt x="2512439" y="1687831"/>
                  </a:lnTo>
                  <a:lnTo>
                    <a:pt x="2525126" y="1689101"/>
                  </a:lnTo>
                  <a:lnTo>
                    <a:pt x="2537813" y="1690053"/>
                  </a:lnTo>
                  <a:lnTo>
                    <a:pt x="2551452" y="1691006"/>
                  </a:lnTo>
                  <a:lnTo>
                    <a:pt x="2565090" y="1691323"/>
                  </a:lnTo>
                  <a:lnTo>
                    <a:pt x="2579046" y="1691323"/>
                  </a:lnTo>
                  <a:lnTo>
                    <a:pt x="2592685" y="1691323"/>
                  </a:lnTo>
                  <a:lnTo>
                    <a:pt x="2606324" y="1691006"/>
                  </a:lnTo>
                  <a:lnTo>
                    <a:pt x="2619328" y="1690053"/>
                  </a:lnTo>
                  <a:lnTo>
                    <a:pt x="2632650" y="1689101"/>
                  </a:lnTo>
                  <a:lnTo>
                    <a:pt x="2645337" y="1687831"/>
                  </a:lnTo>
                  <a:lnTo>
                    <a:pt x="2657390" y="1686561"/>
                  </a:lnTo>
                  <a:lnTo>
                    <a:pt x="2669443" y="1684973"/>
                  </a:lnTo>
                  <a:lnTo>
                    <a:pt x="2681496" y="1682751"/>
                  </a:lnTo>
                  <a:lnTo>
                    <a:pt x="2692597" y="1680846"/>
                  </a:lnTo>
                  <a:lnTo>
                    <a:pt x="2703698" y="1678306"/>
                  </a:lnTo>
                  <a:lnTo>
                    <a:pt x="2714165" y="1675448"/>
                  </a:lnTo>
                  <a:lnTo>
                    <a:pt x="2724315" y="1672908"/>
                  </a:lnTo>
                  <a:lnTo>
                    <a:pt x="2734465" y="1670051"/>
                  </a:lnTo>
                  <a:lnTo>
                    <a:pt x="2743663" y="1666876"/>
                  </a:lnTo>
                  <a:lnTo>
                    <a:pt x="2752861" y="1663383"/>
                  </a:lnTo>
                  <a:lnTo>
                    <a:pt x="2761425" y="1660208"/>
                  </a:lnTo>
                  <a:lnTo>
                    <a:pt x="2769355" y="1656716"/>
                  </a:lnTo>
                  <a:lnTo>
                    <a:pt x="2777284" y="1652906"/>
                  </a:lnTo>
                  <a:lnTo>
                    <a:pt x="2784262" y="1649096"/>
                  </a:lnTo>
                  <a:lnTo>
                    <a:pt x="2791240" y="1645603"/>
                  </a:lnTo>
                  <a:lnTo>
                    <a:pt x="2797584" y="1641793"/>
                  </a:lnTo>
                  <a:lnTo>
                    <a:pt x="2803293" y="1637666"/>
                  </a:lnTo>
                  <a:lnTo>
                    <a:pt x="2808368" y="1633538"/>
                  </a:lnTo>
                  <a:lnTo>
                    <a:pt x="2813443" y="1629411"/>
                  </a:lnTo>
                  <a:lnTo>
                    <a:pt x="2817566" y="1625283"/>
                  </a:lnTo>
                  <a:lnTo>
                    <a:pt x="2821055" y="1620521"/>
                  </a:lnTo>
                  <a:lnTo>
                    <a:pt x="2824544" y="1616393"/>
                  </a:lnTo>
                  <a:lnTo>
                    <a:pt x="2827082" y="1611948"/>
                  </a:lnTo>
                  <a:lnTo>
                    <a:pt x="2828985" y="1607821"/>
                  </a:lnTo>
                  <a:lnTo>
                    <a:pt x="2830571" y="1603376"/>
                  </a:lnTo>
                  <a:lnTo>
                    <a:pt x="2831839" y="1599248"/>
                  </a:lnTo>
                  <a:lnTo>
                    <a:pt x="2832157" y="1594803"/>
                  </a:lnTo>
                  <a:lnTo>
                    <a:pt x="2831839" y="1591628"/>
                  </a:lnTo>
                  <a:lnTo>
                    <a:pt x="2831205" y="1588771"/>
                  </a:lnTo>
                  <a:lnTo>
                    <a:pt x="2830571" y="1585596"/>
                  </a:lnTo>
                  <a:lnTo>
                    <a:pt x="2829302" y="1582738"/>
                  </a:lnTo>
                  <a:lnTo>
                    <a:pt x="2828350" y="1579563"/>
                  </a:lnTo>
                  <a:lnTo>
                    <a:pt x="2826447" y="1576706"/>
                  </a:lnTo>
                  <a:lnTo>
                    <a:pt x="2824544" y="1573213"/>
                  </a:lnTo>
                  <a:lnTo>
                    <a:pt x="2822324" y="1570356"/>
                  </a:lnTo>
                  <a:lnTo>
                    <a:pt x="2817566" y="1564323"/>
                  </a:lnTo>
                  <a:lnTo>
                    <a:pt x="2810905" y="1558608"/>
                  </a:lnTo>
                  <a:lnTo>
                    <a:pt x="2803928" y="1552576"/>
                  </a:lnTo>
                  <a:lnTo>
                    <a:pt x="2795681" y="1546861"/>
                  </a:lnTo>
                  <a:lnTo>
                    <a:pt x="2786165" y="1541146"/>
                  </a:lnTo>
                  <a:lnTo>
                    <a:pt x="2776016" y="1536066"/>
                  </a:lnTo>
                  <a:lnTo>
                    <a:pt x="2764914" y="1531303"/>
                  </a:lnTo>
                  <a:lnTo>
                    <a:pt x="2752861" y="1526223"/>
                  </a:lnTo>
                  <a:lnTo>
                    <a:pt x="2740174" y="1521778"/>
                  </a:lnTo>
                  <a:lnTo>
                    <a:pt x="2726535" y="1517333"/>
                  </a:lnTo>
                  <a:lnTo>
                    <a:pt x="2711945" y="1513523"/>
                  </a:lnTo>
                  <a:lnTo>
                    <a:pt x="2696720" y="1510031"/>
                  </a:lnTo>
                  <a:lnTo>
                    <a:pt x="2695769" y="1526223"/>
                  </a:lnTo>
                  <a:lnTo>
                    <a:pt x="2673883" y="1526223"/>
                  </a:lnTo>
                  <a:lnTo>
                    <a:pt x="2688474" y="1540511"/>
                  </a:lnTo>
                  <a:lnTo>
                    <a:pt x="2695452" y="1540511"/>
                  </a:lnTo>
                  <a:lnTo>
                    <a:pt x="2698624" y="1542416"/>
                  </a:lnTo>
                  <a:lnTo>
                    <a:pt x="2706870" y="1548131"/>
                  </a:lnTo>
                  <a:lnTo>
                    <a:pt x="2717972" y="1556068"/>
                  </a:lnTo>
                  <a:lnTo>
                    <a:pt x="2723046" y="1560513"/>
                  </a:lnTo>
                  <a:lnTo>
                    <a:pt x="2728439" y="1565276"/>
                  </a:lnTo>
                  <a:lnTo>
                    <a:pt x="2732879" y="1570356"/>
                  </a:lnTo>
                  <a:lnTo>
                    <a:pt x="2736685" y="1574801"/>
                  </a:lnTo>
                  <a:lnTo>
                    <a:pt x="2738271" y="1577023"/>
                  </a:lnTo>
                  <a:lnTo>
                    <a:pt x="2738905" y="1579246"/>
                  </a:lnTo>
                  <a:lnTo>
                    <a:pt x="2739540" y="1581468"/>
                  </a:lnTo>
                  <a:lnTo>
                    <a:pt x="2740174" y="1583373"/>
                  </a:lnTo>
                  <a:lnTo>
                    <a:pt x="2739540" y="1585278"/>
                  </a:lnTo>
                  <a:lnTo>
                    <a:pt x="2738905" y="1586866"/>
                  </a:lnTo>
                  <a:lnTo>
                    <a:pt x="2737320" y="1588771"/>
                  </a:lnTo>
                  <a:lnTo>
                    <a:pt x="2735417" y="1589723"/>
                  </a:lnTo>
                  <a:lnTo>
                    <a:pt x="2732879" y="1590993"/>
                  </a:lnTo>
                  <a:lnTo>
                    <a:pt x="2730024" y="1591946"/>
                  </a:lnTo>
                  <a:lnTo>
                    <a:pt x="2725901" y="1592898"/>
                  </a:lnTo>
                  <a:lnTo>
                    <a:pt x="2721143" y="1593216"/>
                  </a:lnTo>
                  <a:lnTo>
                    <a:pt x="2715117" y="1593533"/>
                  </a:lnTo>
                  <a:lnTo>
                    <a:pt x="2710042" y="1593533"/>
                  </a:lnTo>
                  <a:lnTo>
                    <a:pt x="2704650" y="1593216"/>
                  </a:lnTo>
                  <a:lnTo>
                    <a:pt x="2699575" y="1592581"/>
                  </a:lnTo>
                  <a:lnTo>
                    <a:pt x="2694500" y="1591628"/>
                  </a:lnTo>
                  <a:lnTo>
                    <a:pt x="2690060" y="1590676"/>
                  </a:lnTo>
                  <a:lnTo>
                    <a:pt x="2685619" y="1589088"/>
                  </a:lnTo>
                  <a:lnTo>
                    <a:pt x="2681496" y="1587501"/>
                  </a:lnTo>
                  <a:lnTo>
                    <a:pt x="2673566" y="1584326"/>
                  </a:lnTo>
                  <a:lnTo>
                    <a:pt x="2665954" y="1579563"/>
                  </a:lnTo>
                  <a:lnTo>
                    <a:pt x="2658659" y="1575118"/>
                  </a:lnTo>
                  <a:lnTo>
                    <a:pt x="2651681" y="1570038"/>
                  </a:lnTo>
                  <a:lnTo>
                    <a:pt x="2648826" y="1568133"/>
                  </a:lnTo>
                  <a:lnTo>
                    <a:pt x="2646606" y="1567181"/>
                  </a:lnTo>
                  <a:lnTo>
                    <a:pt x="2645337" y="1567181"/>
                  </a:lnTo>
                  <a:lnTo>
                    <a:pt x="2644386" y="1567498"/>
                  </a:lnTo>
                  <a:lnTo>
                    <a:pt x="2643434" y="1569403"/>
                  </a:lnTo>
                  <a:lnTo>
                    <a:pt x="2643117" y="1570356"/>
                  </a:lnTo>
                  <a:lnTo>
                    <a:pt x="2642165" y="1570673"/>
                  </a:lnTo>
                  <a:lnTo>
                    <a:pt x="2633602" y="1570356"/>
                  </a:lnTo>
                  <a:lnTo>
                    <a:pt x="2629161" y="1570038"/>
                  </a:lnTo>
                  <a:lnTo>
                    <a:pt x="2627258" y="1569403"/>
                  </a:lnTo>
                  <a:lnTo>
                    <a:pt x="2626306" y="1569086"/>
                  </a:lnTo>
                  <a:lnTo>
                    <a:pt x="2624720" y="1562101"/>
                  </a:lnTo>
                  <a:lnTo>
                    <a:pt x="2624086" y="1556386"/>
                  </a:lnTo>
                  <a:lnTo>
                    <a:pt x="2623452" y="1551941"/>
                  </a:lnTo>
                  <a:lnTo>
                    <a:pt x="2623135" y="1548131"/>
                  </a:lnTo>
                  <a:lnTo>
                    <a:pt x="2623452" y="1544003"/>
                  </a:lnTo>
                  <a:lnTo>
                    <a:pt x="2624086" y="1542733"/>
                  </a:lnTo>
                  <a:lnTo>
                    <a:pt x="2622817" y="1540511"/>
                  </a:lnTo>
                  <a:lnTo>
                    <a:pt x="2671029" y="1540511"/>
                  </a:lnTo>
                  <a:lnTo>
                    <a:pt x="2656439" y="1526223"/>
                  </a:lnTo>
                  <a:lnTo>
                    <a:pt x="2615839" y="1526223"/>
                  </a:lnTo>
                  <a:lnTo>
                    <a:pt x="2612033" y="1499236"/>
                  </a:lnTo>
                  <a:lnTo>
                    <a:pt x="2595857" y="1498283"/>
                  </a:lnTo>
                  <a:lnTo>
                    <a:pt x="2579046" y="1497966"/>
                  </a:lnTo>
                  <a:close/>
                  <a:moveTo>
                    <a:pt x="400303" y="1460500"/>
                  </a:moveTo>
                  <a:lnTo>
                    <a:pt x="487363" y="1590373"/>
                  </a:lnTo>
                  <a:lnTo>
                    <a:pt x="477269" y="1597025"/>
                  </a:lnTo>
                  <a:lnTo>
                    <a:pt x="390525" y="1467152"/>
                  </a:lnTo>
                  <a:lnTo>
                    <a:pt x="400303" y="1460500"/>
                  </a:lnTo>
                  <a:close/>
                  <a:moveTo>
                    <a:pt x="2575557" y="1210946"/>
                  </a:moveTo>
                  <a:lnTo>
                    <a:pt x="2570165" y="1211581"/>
                  </a:lnTo>
                  <a:lnTo>
                    <a:pt x="2565408" y="1211898"/>
                  </a:lnTo>
                  <a:lnTo>
                    <a:pt x="2561919" y="1211581"/>
                  </a:lnTo>
                  <a:lnTo>
                    <a:pt x="2558747" y="1211263"/>
                  </a:lnTo>
                  <a:lnTo>
                    <a:pt x="2527663" y="1469708"/>
                  </a:lnTo>
                  <a:lnTo>
                    <a:pt x="2540350" y="1468756"/>
                  </a:lnTo>
                  <a:lnTo>
                    <a:pt x="2553038" y="1468438"/>
                  </a:lnTo>
                  <a:lnTo>
                    <a:pt x="2565725" y="1468121"/>
                  </a:lnTo>
                  <a:lnTo>
                    <a:pt x="2579046" y="1467486"/>
                  </a:lnTo>
                  <a:lnTo>
                    <a:pt x="2593637" y="1468121"/>
                  </a:lnTo>
                  <a:lnTo>
                    <a:pt x="2608227" y="1468438"/>
                  </a:lnTo>
                  <a:lnTo>
                    <a:pt x="2575557" y="1210946"/>
                  </a:lnTo>
                  <a:close/>
                  <a:moveTo>
                    <a:pt x="309562" y="1149350"/>
                  </a:moveTo>
                  <a:lnTo>
                    <a:pt x="361753" y="1149350"/>
                  </a:lnTo>
                  <a:lnTo>
                    <a:pt x="369977" y="1155018"/>
                  </a:lnTo>
                  <a:lnTo>
                    <a:pt x="377884" y="1160685"/>
                  </a:lnTo>
                  <a:lnTo>
                    <a:pt x="381680" y="1164149"/>
                  </a:lnTo>
                  <a:lnTo>
                    <a:pt x="385476" y="1167298"/>
                  </a:lnTo>
                  <a:lnTo>
                    <a:pt x="388639" y="1170761"/>
                  </a:lnTo>
                  <a:lnTo>
                    <a:pt x="391169" y="1174225"/>
                  </a:lnTo>
                  <a:lnTo>
                    <a:pt x="392751" y="1177059"/>
                  </a:lnTo>
                  <a:lnTo>
                    <a:pt x="393700" y="1178633"/>
                  </a:lnTo>
                  <a:lnTo>
                    <a:pt x="393700" y="1180208"/>
                  </a:lnTo>
                  <a:lnTo>
                    <a:pt x="393067" y="1181467"/>
                  </a:lnTo>
                  <a:lnTo>
                    <a:pt x="392751" y="1182727"/>
                  </a:lnTo>
                  <a:lnTo>
                    <a:pt x="391802" y="1183671"/>
                  </a:lnTo>
                  <a:lnTo>
                    <a:pt x="390537" y="1184616"/>
                  </a:lnTo>
                  <a:lnTo>
                    <a:pt x="388639" y="1185561"/>
                  </a:lnTo>
                  <a:lnTo>
                    <a:pt x="386425" y="1186505"/>
                  </a:lnTo>
                  <a:lnTo>
                    <a:pt x="383578" y="1186820"/>
                  </a:lnTo>
                  <a:lnTo>
                    <a:pt x="380098" y="1187135"/>
                  </a:lnTo>
                  <a:lnTo>
                    <a:pt x="375986" y="1187450"/>
                  </a:lnTo>
                  <a:lnTo>
                    <a:pt x="372191" y="1187450"/>
                  </a:lnTo>
                  <a:lnTo>
                    <a:pt x="364599" y="1186820"/>
                  </a:lnTo>
                  <a:lnTo>
                    <a:pt x="357957" y="1185246"/>
                  </a:lnTo>
                  <a:lnTo>
                    <a:pt x="351631" y="1183042"/>
                  </a:lnTo>
                  <a:lnTo>
                    <a:pt x="345937" y="1180523"/>
                  </a:lnTo>
                  <a:lnTo>
                    <a:pt x="340244" y="1177374"/>
                  </a:lnTo>
                  <a:lnTo>
                    <a:pt x="335499" y="1174225"/>
                  </a:lnTo>
                  <a:lnTo>
                    <a:pt x="330122" y="1170761"/>
                  </a:lnTo>
                  <a:lnTo>
                    <a:pt x="328540" y="1169187"/>
                  </a:lnTo>
                  <a:lnTo>
                    <a:pt x="326959" y="1168557"/>
                  </a:lnTo>
                  <a:lnTo>
                    <a:pt x="325693" y="1168557"/>
                  </a:lnTo>
                  <a:lnTo>
                    <a:pt x="325061" y="1168872"/>
                  </a:lnTo>
                  <a:lnTo>
                    <a:pt x="324745" y="1170447"/>
                  </a:lnTo>
                  <a:lnTo>
                    <a:pt x="324112" y="1170761"/>
                  </a:lnTo>
                  <a:lnTo>
                    <a:pt x="323479" y="1171076"/>
                  </a:lnTo>
                  <a:lnTo>
                    <a:pt x="317469" y="1170761"/>
                  </a:lnTo>
                  <a:lnTo>
                    <a:pt x="313990" y="1170447"/>
                  </a:lnTo>
                  <a:lnTo>
                    <a:pt x="312409" y="1170132"/>
                  </a:lnTo>
                  <a:lnTo>
                    <a:pt x="311143" y="1164779"/>
                  </a:lnTo>
                  <a:lnTo>
                    <a:pt x="310511" y="1160685"/>
                  </a:lnTo>
                  <a:lnTo>
                    <a:pt x="309878" y="1155018"/>
                  </a:lnTo>
                  <a:lnTo>
                    <a:pt x="310511" y="1152184"/>
                  </a:lnTo>
                  <a:lnTo>
                    <a:pt x="310827" y="1150924"/>
                  </a:lnTo>
                  <a:lnTo>
                    <a:pt x="309562" y="1149350"/>
                  </a:lnTo>
                  <a:close/>
                  <a:moveTo>
                    <a:pt x="178239" y="1149350"/>
                  </a:moveTo>
                  <a:lnTo>
                    <a:pt x="230188" y="1149350"/>
                  </a:lnTo>
                  <a:lnTo>
                    <a:pt x="229550" y="1150924"/>
                  </a:lnTo>
                  <a:lnTo>
                    <a:pt x="229869" y="1152184"/>
                  </a:lnTo>
                  <a:lnTo>
                    <a:pt x="229869" y="1155018"/>
                  </a:lnTo>
                  <a:lnTo>
                    <a:pt x="229550" y="1160685"/>
                  </a:lnTo>
                  <a:lnTo>
                    <a:pt x="229232" y="1164779"/>
                  </a:lnTo>
                  <a:lnTo>
                    <a:pt x="227957" y="1170132"/>
                  </a:lnTo>
                  <a:lnTo>
                    <a:pt x="225726" y="1170447"/>
                  </a:lnTo>
                  <a:lnTo>
                    <a:pt x="222858" y="1170761"/>
                  </a:lnTo>
                  <a:lnTo>
                    <a:pt x="216802" y="1171076"/>
                  </a:lnTo>
                  <a:lnTo>
                    <a:pt x="215846" y="1170761"/>
                  </a:lnTo>
                  <a:lnTo>
                    <a:pt x="215527" y="1170447"/>
                  </a:lnTo>
                  <a:lnTo>
                    <a:pt x="214890" y="1168872"/>
                  </a:lnTo>
                  <a:lnTo>
                    <a:pt x="214571" y="1168557"/>
                  </a:lnTo>
                  <a:lnTo>
                    <a:pt x="213296" y="1168557"/>
                  </a:lnTo>
                  <a:lnTo>
                    <a:pt x="211703" y="1169187"/>
                  </a:lnTo>
                  <a:lnTo>
                    <a:pt x="209472" y="1170761"/>
                  </a:lnTo>
                  <a:lnTo>
                    <a:pt x="204691" y="1174225"/>
                  </a:lnTo>
                  <a:lnTo>
                    <a:pt x="199273" y="1177374"/>
                  </a:lnTo>
                  <a:lnTo>
                    <a:pt x="194174" y="1180523"/>
                  </a:lnTo>
                  <a:lnTo>
                    <a:pt x="188119" y="1183042"/>
                  </a:lnTo>
                  <a:lnTo>
                    <a:pt x="182063" y="1185246"/>
                  </a:lnTo>
                  <a:lnTo>
                    <a:pt x="175371" y="1186820"/>
                  </a:lnTo>
                  <a:lnTo>
                    <a:pt x="167722" y="1187450"/>
                  </a:lnTo>
                  <a:lnTo>
                    <a:pt x="163579" y="1187450"/>
                  </a:lnTo>
                  <a:lnTo>
                    <a:pt x="159435" y="1187135"/>
                  </a:lnTo>
                  <a:lnTo>
                    <a:pt x="155930" y="1186820"/>
                  </a:lnTo>
                  <a:lnTo>
                    <a:pt x="153380" y="1186505"/>
                  </a:lnTo>
                  <a:lnTo>
                    <a:pt x="151149" y="1185561"/>
                  </a:lnTo>
                  <a:lnTo>
                    <a:pt x="149237" y="1184616"/>
                  </a:lnTo>
                  <a:lnTo>
                    <a:pt x="147643" y="1183671"/>
                  </a:lnTo>
                  <a:lnTo>
                    <a:pt x="147006" y="1182727"/>
                  </a:lnTo>
                  <a:lnTo>
                    <a:pt x="146050" y="1181467"/>
                  </a:lnTo>
                  <a:lnTo>
                    <a:pt x="146050" y="1180208"/>
                  </a:lnTo>
                  <a:lnTo>
                    <a:pt x="146050" y="1178633"/>
                  </a:lnTo>
                  <a:lnTo>
                    <a:pt x="146368" y="1177059"/>
                  </a:lnTo>
                  <a:lnTo>
                    <a:pt x="148281" y="1174225"/>
                  </a:lnTo>
                  <a:lnTo>
                    <a:pt x="151149" y="1170761"/>
                  </a:lnTo>
                  <a:lnTo>
                    <a:pt x="154017" y="1167298"/>
                  </a:lnTo>
                  <a:lnTo>
                    <a:pt x="157842" y="1164149"/>
                  </a:lnTo>
                  <a:lnTo>
                    <a:pt x="161985" y="1160685"/>
                  </a:lnTo>
                  <a:lnTo>
                    <a:pt x="169634" y="1155018"/>
                  </a:lnTo>
                  <a:lnTo>
                    <a:pt x="178239" y="1149350"/>
                  </a:lnTo>
                  <a:close/>
                  <a:moveTo>
                    <a:pt x="1364001" y="1136650"/>
                  </a:moveTo>
                  <a:lnTo>
                    <a:pt x="1375444" y="1136650"/>
                  </a:lnTo>
                  <a:lnTo>
                    <a:pt x="1386888" y="1137285"/>
                  </a:lnTo>
                  <a:lnTo>
                    <a:pt x="1398332" y="1138872"/>
                  </a:lnTo>
                  <a:lnTo>
                    <a:pt x="1409457" y="1140777"/>
                  </a:lnTo>
                  <a:lnTo>
                    <a:pt x="1421219" y="1143000"/>
                  </a:lnTo>
                  <a:lnTo>
                    <a:pt x="1432663" y="1146175"/>
                  </a:lnTo>
                  <a:lnTo>
                    <a:pt x="1443788" y="1149032"/>
                  </a:lnTo>
                  <a:lnTo>
                    <a:pt x="1455232" y="1152842"/>
                  </a:lnTo>
                  <a:lnTo>
                    <a:pt x="1466040" y="1156652"/>
                  </a:lnTo>
                  <a:lnTo>
                    <a:pt x="1476848" y="1161097"/>
                  </a:lnTo>
                  <a:lnTo>
                    <a:pt x="1487338" y="1165542"/>
                  </a:lnTo>
                  <a:lnTo>
                    <a:pt x="1498146" y="1169987"/>
                  </a:lnTo>
                  <a:lnTo>
                    <a:pt x="1508318" y="1175067"/>
                  </a:lnTo>
                  <a:lnTo>
                    <a:pt x="1518490" y="1180147"/>
                  </a:lnTo>
                  <a:lnTo>
                    <a:pt x="1527709" y="1185545"/>
                  </a:lnTo>
                  <a:lnTo>
                    <a:pt x="1537245" y="1190942"/>
                  </a:lnTo>
                  <a:lnTo>
                    <a:pt x="1545828" y="1196022"/>
                  </a:lnTo>
                  <a:lnTo>
                    <a:pt x="1554410" y="1201420"/>
                  </a:lnTo>
                  <a:lnTo>
                    <a:pt x="1569987" y="1211897"/>
                  </a:lnTo>
                  <a:lnTo>
                    <a:pt x="1583020" y="1222057"/>
                  </a:lnTo>
                  <a:lnTo>
                    <a:pt x="1594463" y="1231265"/>
                  </a:lnTo>
                  <a:lnTo>
                    <a:pt x="1599231" y="1235710"/>
                  </a:lnTo>
                  <a:lnTo>
                    <a:pt x="1603046" y="1239837"/>
                  </a:lnTo>
                  <a:lnTo>
                    <a:pt x="1606543" y="1243330"/>
                  </a:lnTo>
                  <a:lnTo>
                    <a:pt x="1609086" y="1246822"/>
                  </a:lnTo>
                  <a:lnTo>
                    <a:pt x="1610993" y="1249997"/>
                  </a:lnTo>
                  <a:lnTo>
                    <a:pt x="1611947" y="1252220"/>
                  </a:lnTo>
                  <a:lnTo>
                    <a:pt x="1612582" y="1256347"/>
                  </a:lnTo>
                  <a:lnTo>
                    <a:pt x="1612900" y="1261427"/>
                  </a:lnTo>
                  <a:lnTo>
                    <a:pt x="1612900" y="1276985"/>
                  </a:lnTo>
                  <a:lnTo>
                    <a:pt x="1612582" y="1297305"/>
                  </a:lnTo>
                  <a:lnTo>
                    <a:pt x="1611311" y="1322387"/>
                  </a:lnTo>
                  <a:lnTo>
                    <a:pt x="1609404" y="1351280"/>
                  </a:lnTo>
                  <a:lnTo>
                    <a:pt x="1607178" y="1383347"/>
                  </a:lnTo>
                  <a:lnTo>
                    <a:pt x="1601774" y="1455102"/>
                  </a:lnTo>
                  <a:lnTo>
                    <a:pt x="1595099" y="1531937"/>
                  </a:lnTo>
                  <a:lnTo>
                    <a:pt x="1588106" y="1608772"/>
                  </a:lnTo>
                  <a:lnTo>
                    <a:pt x="1580159" y="1680845"/>
                  </a:lnTo>
                  <a:lnTo>
                    <a:pt x="1576344" y="1713230"/>
                  </a:lnTo>
                  <a:lnTo>
                    <a:pt x="1572847" y="1742122"/>
                  </a:lnTo>
                  <a:lnTo>
                    <a:pt x="1568397" y="1774825"/>
                  </a:lnTo>
                  <a:lnTo>
                    <a:pt x="1566172" y="1787842"/>
                  </a:lnTo>
                  <a:lnTo>
                    <a:pt x="1564265" y="1798955"/>
                  </a:lnTo>
                  <a:lnTo>
                    <a:pt x="1551232" y="1804035"/>
                  </a:lnTo>
                  <a:lnTo>
                    <a:pt x="1539152" y="1808162"/>
                  </a:lnTo>
                  <a:lnTo>
                    <a:pt x="1527073" y="1811655"/>
                  </a:lnTo>
                  <a:lnTo>
                    <a:pt x="1515947" y="1813877"/>
                  </a:lnTo>
                  <a:lnTo>
                    <a:pt x="1505775" y="1815465"/>
                  </a:lnTo>
                  <a:lnTo>
                    <a:pt x="1501325" y="1815782"/>
                  </a:lnTo>
                  <a:lnTo>
                    <a:pt x="1496874" y="1815782"/>
                  </a:lnTo>
                  <a:lnTo>
                    <a:pt x="1492742" y="1815782"/>
                  </a:lnTo>
                  <a:lnTo>
                    <a:pt x="1488609" y="1814830"/>
                  </a:lnTo>
                  <a:lnTo>
                    <a:pt x="1485113" y="1814195"/>
                  </a:lnTo>
                  <a:lnTo>
                    <a:pt x="1481934" y="1813242"/>
                  </a:lnTo>
                  <a:lnTo>
                    <a:pt x="1482888" y="1798955"/>
                  </a:lnTo>
                  <a:lnTo>
                    <a:pt x="1484159" y="1778952"/>
                  </a:lnTo>
                  <a:lnTo>
                    <a:pt x="1486384" y="1724025"/>
                  </a:lnTo>
                  <a:lnTo>
                    <a:pt x="1487338" y="1671637"/>
                  </a:lnTo>
                  <a:lnTo>
                    <a:pt x="1488927" y="1614487"/>
                  </a:lnTo>
                  <a:lnTo>
                    <a:pt x="1489881" y="1556067"/>
                  </a:lnTo>
                  <a:lnTo>
                    <a:pt x="1490199" y="1498600"/>
                  </a:lnTo>
                  <a:lnTo>
                    <a:pt x="1473033" y="1530667"/>
                  </a:lnTo>
                  <a:lnTo>
                    <a:pt x="1462543" y="1524952"/>
                  </a:lnTo>
                  <a:lnTo>
                    <a:pt x="1490199" y="1472882"/>
                  </a:lnTo>
                  <a:lnTo>
                    <a:pt x="1489881" y="1423035"/>
                  </a:lnTo>
                  <a:lnTo>
                    <a:pt x="1489245" y="1402080"/>
                  </a:lnTo>
                  <a:lnTo>
                    <a:pt x="1488609" y="1384300"/>
                  </a:lnTo>
                  <a:lnTo>
                    <a:pt x="1487974" y="1370012"/>
                  </a:lnTo>
                  <a:lnTo>
                    <a:pt x="1486702" y="1360170"/>
                  </a:lnTo>
                  <a:lnTo>
                    <a:pt x="1486066" y="1356677"/>
                  </a:lnTo>
                  <a:lnTo>
                    <a:pt x="1485113" y="1354455"/>
                  </a:lnTo>
                  <a:lnTo>
                    <a:pt x="1484477" y="1353502"/>
                  </a:lnTo>
                  <a:lnTo>
                    <a:pt x="1484159" y="1353502"/>
                  </a:lnTo>
                  <a:lnTo>
                    <a:pt x="1483841" y="1354137"/>
                  </a:lnTo>
                  <a:lnTo>
                    <a:pt x="1477166" y="1362392"/>
                  </a:lnTo>
                  <a:lnTo>
                    <a:pt x="1470808" y="1371282"/>
                  </a:lnTo>
                  <a:lnTo>
                    <a:pt x="1469537" y="1373505"/>
                  </a:lnTo>
                  <a:lnTo>
                    <a:pt x="1449192" y="1674812"/>
                  </a:lnTo>
                  <a:lnTo>
                    <a:pt x="1443788" y="1731962"/>
                  </a:lnTo>
                  <a:lnTo>
                    <a:pt x="1437431" y="1803400"/>
                  </a:lnTo>
                  <a:lnTo>
                    <a:pt x="1434252" y="1830705"/>
                  </a:lnTo>
                  <a:lnTo>
                    <a:pt x="1433934" y="1834515"/>
                  </a:lnTo>
                  <a:lnTo>
                    <a:pt x="1431709" y="1841817"/>
                  </a:lnTo>
                  <a:lnTo>
                    <a:pt x="1429166" y="1848485"/>
                  </a:lnTo>
                  <a:lnTo>
                    <a:pt x="1426623" y="1855152"/>
                  </a:lnTo>
                  <a:lnTo>
                    <a:pt x="1423126" y="1861820"/>
                  </a:lnTo>
                  <a:lnTo>
                    <a:pt x="1419630" y="1868805"/>
                  </a:lnTo>
                  <a:lnTo>
                    <a:pt x="1415815" y="1875155"/>
                  </a:lnTo>
                  <a:lnTo>
                    <a:pt x="1411683" y="1881822"/>
                  </a:lnTo>
                  <a:lnTo>
                    <a:pt x="1407232" y="1888172"/>
                  </a:lnTo>
                  <a:lnTo>
                    <a:pt x="1400557" y="1978660"/>
                  </a:lnTo>
                  <a:lnTo>
                    <a:pt x="1376398" y="2298382"/>
                  </a:lnTo>
                  <a:lnTo>
                    <a:pt x="1388795" y="2301557"/>
                  </a:lnTo>
                  <a:lnTo>
                    <a:pt x="1400875" y="2305050"/>
                  </a:lnTo>
                  <a:lnTo>
                    <a:pt x="1412954" y="2308225"/>
                  </a:lnTo>
                  <a:lnTo>
                    <a:pt x="1424080" y="2312035"/>
                  </a:lnTo>
                  <a:lnTo>
                    <a:pt x="1435524" y="2315845"/>
                  </a:lnTo>
                  <a:lnTo>
                    <a:pt x="1446014" y="2319972"/>
                  </a:lnTo>
                  <a:lnTo>
                    <a:pt x="1456504" y="2324100"/>
                  </a:lnTo>
                  <a:lnTo>
                    <a:pt x="1466358" y="2328545"/>
                  </a:lnTo>
                  <a:lnTo>
                    <a:pt x="1529298" y="2288857"/>
                  </a:lnTo>
                  <a:lnTo>
                    <a:pt x="1535656" y="2299017"/>
                  </a:lnTo>
                  <a:lnTo>
                    <a:pt x="1479073" y="2334895"/>
                  </a:lnTo>
                  <a:lnTo>
                    <a:pt x="1489881" y="2340610"/>
                  </a:lnTo>
                  <a:lnTo>
                    <a:pt x="1499417" y="2346325"/>
                  </a:lnTo>
                  <a:lnTo>
                    <a:pt x="1508954" y="2352675"/>
                  </a:lnTo>
                  <a:lnTo>
                    <a:pt x="1517536" y="2358707"/>
                  </a:lnTo>
                  <a:lnTo>
                    <a:pt x="1525483" y="2365057"/>
                  </a:lnTo>
                  <a:lnTo>
                    <a:pt x="1533112" y="2371725"/>
                  </a:lnTo>
                  <a:lnTo>
                    <a:pt x="1539788" y="2378710"/>
                  </a:lnTo>
                  <a:lnTo>
                    <a:pt x="1546146" y="2385695"/>
                  </a:lnTo>
                  <a:lnTo>
                    <a:pt x="1551867" y="2392997"/>
                  </a:lnTo>
                  <a:lnTo>
                    <a:pt x="1556636" y="2400300"/>
                  </a:lnTo>
                  <a:lnTo>
                    <a:pt x="1560768" y="2407920"/>
                  </a:lnTo>
                  <a:lnTo>
                    <a:pt x="1564265" y="2415857"/>
                  </a:lnTo>
                  <a:lnTo>
                    <a:pt x="1566808" y="2423477"/>
                  </a:lnTo>
                  <a:lnTo>
                    <a:pt x="1568715" y="2431732"/>
                  </a:lnTo>
                  <a:lnTo>
                    <a:pt x="1569987" y="2439670"/>
                  </a:lnTo>
                  <a:lnTo>
                    <a:pt x="1570304" y="2447925"/>
                  </a:lnTo>
                  <a:lnTo>
                    <a:pt x="1569987" y="2455545"/>
                  </a:lnTo>
                  <a:lnTo>
                    <a:pt x="1569033" y="2463165"/>
                  </a:lnTo>
                  <a:lnTo>
                    <a:pt x="1567126" y="2470785"/>
                  </a:lnTo>
                  <a:lnTo>
                    <a:pt x="1564900" y="2477770"/>
                  </a:lnTo>
                  <a:lnTo>
                    <a:pt x="1562040" y="2485390"/>
                  </a:lnTo>
                  <a:lnTo>
                    <a:pt x="1558225" y="2492057"/>
                  </a:lnTo>
                  <a:lnTo>
                    <a:pt x="1554093" y="2499360"/>
                  </a:lnTo>
                  <a:lnTo>
                    <a:pt x="1549324" y="2506027"/>
                  </a:lnTo>
                  <a:lnTo>
                    <a:pt x="1543920" y="2512695"/>
                  </a:lnTo>
                  <a:lnTo>
                    <a:pt x="1537881" y="2519362"/>
                  </a:lnTo>
                  <a:lnTo>
                    <a:pt x="1531523" y="2525712"/>
                  </a:lnTo>
                  <a:lnTo>
                    <a:pt x="1524212" y="2531745"/>
                  </a:lnTo>
                  <a:lnTo>
                    <a:pt x="1516901" y="2537778"/>
                  </a:lnTo>
                  <a:lnTo>
                    <a:pt x="1508636" y="2543810"/>
                  </a:lnTo>
                  <a:lnTo>
                    <a:pt x="1500053" y="2549208"/>
                  </a:lnTo>
                  <a:lnTo>
                    <a:pt x="1490517" y="2554923"/>
                  </a:lnTo>
                  <a:lnTo>
                    <a:pt x="1480980" y="2560320"/>
                  </a:lnTo>
                  <a:lnTo>
                    <a:pt x="1470808" y="2565083"/>
                  </a:lnTo>
                  <a:lnTo>
                    <a:pt x="1460318" y="2569845"/>
                  </a:lnTo>
                  <a:lnTo>
                    <a:pt x="1449192" y="2574608"/>
                  </a:lnTo>
                  <a:lnTo>
                    <a:pt x="1437749" y="2579053"/>
                  </a:lnTo>
                  <a:lnTo>
                    <a:pt x="1425669" y="2583180"/>
                  </a:lnTo>
                  <a:lnTo>
                    <a:pt x="1413272" y="2587308"/>
                  </a:lnTo>
                  <a:lnTo>
                    <a:pt x="1400557" y="2591118"/>
                  </a:lnTo>
                  <a:lnTo>
                    <a:pt x="1387206" y="2594293"/>
                  </a:lnTo>
                  <a:lnTo>
                    <a:pt x="1373855" y="2597785"/>
                  </a:lnTo>
                  <a:lnTo>
                    <a:pt x="1360186" y="2600960"/>
                  </a:lnTo>
                  <a:lnTo>
                    <a:pt x="1345882" y="2603500"/>
                  </a:lnTo>
                  <a:lnTo>
                    <a:pt x="1331259" y="2606040"/>
                  </a:lnTo>
                  <a:lnTo>
                    <a:pt x="1316319" y="2608263"/>
                  </a:lnTo>
                  <a:lnTo>
                    <a:pt x="1301061" y="2610168"/>
                  </a:lnTo>
                  <a:lnTo>
                    <a:pt x="1285802" y="2612073"/>
                  </a:lnTo>
                  <a:lnTo>
                    <a:pt x="1381166" y="2755265"/>
                  </a:lnTo>
                  <a:lnTo>
                    <a:pt x="1370994" y="2762250"/>
                  </a:lnTo>
                  <a:lnTo>
                    <a:pt x="1271816" y="2613343"/>
                  </a:lnTo>
                  <a:lnTo>
                    <a:pt x="1254968" y="2614613"/>
                  </a:lnTo>
                  <a:lnTo>
                    <a:pt x="1237167" y="2615565"/>
                  </a:lnTo>
                  <a:lnTo>
                    <a:pt x="1219366" y="2615883"/>
                  </a:lnTo>
                  <a:lnTo>
                    <a:pt x="1201246" y="2616200"/>
                  </a:lnTo>
                  <a:lnTo>
                    <a:pt x="1181856" y="2615883"/>
                  </a:lnTo>
                  <a:lnTo>
                    <a:pt x="1162465" y="2615565"/>
                  </a:lnTo>
                  <a:lnTo>
                    <a:pt x="1143710" y="2614295"/>
                  </a:lnTo>
                  <a:lnTo>
                    <a:pt x="1124955" y="2612708"/>
                  </a:lnTo>
                  <a:lnTo>
                    <a:pt x="1106836" y="2611120"/>
                  </a:lnTo>
                  <a:lnTo>
                    <a:pt x="1089035" y="2609215"/>
                  </a:lnTo>
                  <a:lnTo>
                    <a:pt x="1071870" y="2606358"/>
                  </a:lnTo>
                  <a:lnTo>
                    <a:pt x="1055022" y="2603500"/>
                  </a:lnTo>
                  <a:lnTo>
                    <a:pt x="1038492" y="2600008"/>
                  </a:lnTo>
                  <a:lnTo>
                    <a:pt x="1022598" y="2596833"/>
                  </a:lnTo>
                  <a:lnTo>
                    <a:pt x="1007022" y="2592705"/>
                  </a:lnTo>
                  <a:lnTo>
                    <a:pt x="992082" y="2588260"/>
                  </a:lnTo>
                  <a:lnTo>
                    <a:pt x="977777" y="2583498"/>
                  </a:lnTo>
                  <a:lnTo>
                    <a:pt x="963791" y="2578735"/>
                  </a:lnTo>
                  <a:lnTo>
                    <a:pt x="950757" y="2573338"/>
                  </a:lnTo>
                  <a:lnTo>
                    <a:pt x="937724" y="2568258"/>
                  </a:lnTo>
                  <a:lnTo>
                    <a:pt x="925645" y="2562225"/>
                  </a:lnTo>
                  <a:lnTo>
                    <a:pt x="914519" y="2556193"/>
                  </a:lnTo>
                  <a:lnTo>
                    <a:pt x="903711" y="2550160"/>
                  </a:lnTo>
                  <a:lnTo>
                    <a:pt x="893857" y="2543175"/>
                  </a:lnTo>
                  <a:lnTo>
                    <a:pt x="884321" y="2536508"/>
                  </a:lnTo>
                  <a:lnTo>
                    <a:pt x="875738" y="2529523"/>
                  </a:lnTo>
                  <a:lnTo>
                    <a:pt x="867473" y="2522220"/>
                  </a:lnTo>
                  <a:lnTo>
                    <a:pt x="860162" y="2514600"/>
                  </a:lnTo>
                  <a:lnTo>
                    <a:pt x="853804" y="2506662"/>
                  </a:lnTo>
                  <a:lnTo>
                    <a:pt x="848400" y="2499042"/>
                  </a:lnTo>
                  <a:lnTo>
                    <a:pt x="843632" y="2491105"/>
                  </a:lnTo>
                  <a:lnTo>
                    <a:pt x="839500" y="2482850"/>
                  </a:lnTo>
                  <a:lnTo>
                    <a:pt x="836639" y="2473960"/>
                  </a:lnTo>
                  <a:lnTo>
                    <a:pt x="834414" y="2465387"/>
                  </a:lnTo>
                  <a:lnTo>
                    <a:pt x="833460" y="2461260"/>
                  </a:lnTo>
                  <a:lnTo>
                    <a:pt x="832824" y="2456815"/>
                  </a:lnTo>
                  <a:lnTo>
                    <a:pt x="832506" y="2452370"/>
                  </a:lnTo>
                  <a:lnTo>
                    <a:pt x="832506" y="2447925"/>
                  </a:lnTo>
                  <a:lnTo>
                    <a:pt x="832824" y="2440305"/>
                  </a:lnTo>
                  <a:lnTo>
                    <a:pt x="833460" y="2432685"/>
                  </a:lnTo>
                  <a:lnTo>
                    <a:pt x="835367" y="2425700"/>
                  </a:lnTo>
                  <a:lnTo>
                    <a:pt x="837592" y="2418397"/>
                  </a:lnTo>
                  <a:lnTo>
                    <a:pt x="840453" y="2411412"/>
                  </a:lnTo>
                  <a:lnTo>
                    <a:pt x="844268" y="2404110"/>
                  </a:lnTo>
                  <a:lnTo>
                    <a:pt x="847765" y="2397442"/>
                  </a:lnTo>
                  <a:lnTo>
                    <a:pt x="852851" y="2390775"/>
                  </a:lnTo>
                  <a:lnTo>
                    <a:pt x="857937" y="2384107"/>
                  </a:lnTo>
                  <a:lnTo>
                    <a:pt x="863659" y="2377757"/>
                  </a:lnTo>
                  <a:lnTo>
                    <a:pt x="870016" y="2371407"/>
                  </a:lnTo>
                  <a:lnTo>
                    <a:pt x="877009" y="2365375"/>
                  </a:lnTo>
                  <a:lnTo>
                    <a:pt x="884321" y="2359342"/>
                  </a:lnTo>
                  <a:lnTo>
                    <a:pt x="892268" y="2353945"/>
                  </a:lnTo>
                  <a:lnTo>
                    <a:pt x="900533" y="2348230"/>
                  </a:lnTo>
                  <a:lnTo>
                    <a:pt x="909115" y="2342515"/>
                  </a:lnTo>
                  <a:lnTo>
                    <a:pt x="921513" y="2335847"/>
                  </a:lnTo>
                  <a:lnTo>
                    <a:pt x="934546" y="2329497"/>
                  </a:lnTo>
                  <a:lnTo>
                    <a:pt x="947897" y="2323465"/>
                  </a:lnTo>
                  <a:lnTo>
                    <a:pt x="962201" y="2317750"/>
                  </a:lnTo>
                  <a:lnTo>
                    <a:pt x="957751" y="2310765"/>
                  </a:lnTo>
                  <a:lnTo>
                    <a:pt x="915791" y="2248217"/>
                  </a:lnTo>
                  <a:lnTo>
                    <a:pt x="925645" y="2241232"/>
                  </a:lnTo>
                  <a:lnTo>
                    <a:pt x="969194" y="2306002"/>
                  </a:lnTo>
                  <a:lnTo>
                    <a:pt x="974281" y="2313622"/>
                  </a:lnTo>
                  <a:lnTo>
                    <a:pt x="984453" y="2310130"/>
                  </a:lnTo>
                  <a:lnTo>
                    <a:pt x="994625" y="2306637"/>
                  </a:lnTo>
                  <a:lnTo>
                    <a:pt x="1005115" y="2303780"/>
                  </a:lnTo>
                  <a:lnTo>
                    <a:pt x="1016241" y="2300922"/>
                  </a:lnTo>
                  <a:lnTo>
                    <a:pt x="1035949" y="2296160"/>
                  </a:lnTo>
                  <a:lnTo>
                    <a:pt x="1004797" y="1881505"/>
                  </a:lnTo>
                  <a:lnTo>
                    <a:pt x="998439" y="1871980"/>
                  </a:lnTo>
                  <a:lnTo>
                    <a:pt x="992718" y="1862455"/>
                  </a:lnTo>
                  <a:lnTo>
                    <a:pt x="988903" y="1856105"/>
                  </a:lnTo>
                  <a:lnTo>
                    <a:pt x="985724" y="1849120"/>
                  </a:lnTo>
                  <a:lnTo>
                    <a:pt x="982545" y="1842135"/>
                  </a:lnTo>
                  <a:lnTo>
                    <a:pt x="980002" y="1835150"/>
                  </a:lnTo>
                  <a:lnTo>
                    <a:pt x="979685" y="1830705"/>
                  </a:lnTo>
                  <a:lnTo>
                    <a:pt x="976506" y="1798955"/>
                  </a:lnTo>
                  <a:lnTo>
                    <a:pt x="968559" y="1715452"/>
                  </a:lnTo>
                  <a:lnTo>
                    <a:pt x="963791" y="1658620"/>
                  </a:lnTo>
                  <a:lnTo>
                    <a:pt x="958704" y="1594485"/>
                  </a:lnTo>
                  <a:lnTo>
                    <a:pt x="943128" y="1365567"/>
                  </a:lnTo>
                  <a:lnTo>
                    <a:pt x="939950" y="1363027"/>
                  </a:lnTo>
                  <a:lnTo>
                    <a:pt x="937089" y="1360487"/>
                  </a:lnTo>
                  <a:lnTo>
                    <a:pt x="930731" y="1354137"/>
                  </a:lnTo>
                  <a:lnTo>
                    <a:pt x="930413" y="1353502"/>
                  </a:lnTo>
                  <a:lnTo>
                    <a:pt x="930095" y="1354137"/>
                  </a:lnTo>
                  <a:lnTo>
                    <a:pt x="929460" y="1355725"/>
                  </a:lnTo>
                  <a:lnTo>
                    <a:pt x="928824" y="1358900"/>
                  </a:lnTo>
                  <a:lnTo>
                    <a:pt x="928506" y="1363345"/>
                  </a:lnTo>
                  <a:lnTo>
                    <a:pt x="928188" y="1376997"/>
                  </a:lnTo>
                  <a:lnTo>
                    <a:pt x="928188" y="1395095"/>
                  </a:lnTo>
                  <a:lnTo>
                    <a:pt x="928506" y="1417320"/>
                  </a:lnTo>
                  <a:lnTo>
                    <a:pt x="928824" y="1442720"/>
                  </a:lnTo>
                  <a:lnTo>
                    <a:pt x="930731" y="1502092"/>
                  </a:lnTo>
                  <a:lnTo>
                    <a:pt x="933274" y="1568450"/>
                  </a:lnTo>
                  <a:lnTo>
                    <a:pt x="936453" y="1636077"/>
                  </a:lnTo>
                  <a:lnTo>
                    <a:pt x="939632" y="1699895"/>
                  </a:lnTo>
                  <a:lnTo>
                    <a:pt x="942811" y="1755140"/>
                  </a:lnTo>
                  <a:lnTo>
                    <a:pt x="945036" y="1791652"/>
                  </a:lnTo>
                  <a:lnTo>
                    <a:pt x="946943" y="1815465"/>
                  </a:lnTo>
                  <a:lnTo>
                    <a:pt x="938996" y="1815782"/>
                  </a:lnTo>
                  <a:lnTo>
                    <a:pt x="929142" y="1815782"/>
                  </a:lnTo>
                  <a:lnTo>
                    <a:pt x="918016" y="1815782"/>
                  </a:lnTo>
                  <a:lnTo>
                    <a:pt x="904983" y="1814512"/>
                  </a:lnTo>
                  <a:lnTo>
                    <a:pt x="898625" y="1813877"/>
                  </a:lnTo>
                  <a:lnTo>
                    <a:pt x="891950" y="1812607"/>
                  </a:lnTo>
                  <a:lnTo>
                    <a:pt x="884639" y="1811337"/>
                  </a:lnTo>
                  <a:lnTo>
                    <a:pt x="877963" y="1809115"/>
                  </a:lnTo>
                  <a:lnTo>
                    <a:pt x="870970" y="1806575"/>
                  </a:lnTo>
                  <a:lnTo>
                    <a:pt x="863659" y="1804035"/>
                  </a:lnTo>
                  <a:lnTo>
                    <a:pt x="856983" y="1800542"/>
                  </a:lnTo>
                  <a:lnTo>
                    <a:pt x="849990" y="1797050"/>
                  </a:lnTo>
                  <a:lnTo>
                    <a:pt x="847765" y="1783397"/>
                  </a:lnTo>
                  <a:lnTo>
                    <a:pt x="845222" y="1766887"/>
                  </a:lnTo>
                  <a:lnTo>
                    <a:pt x="842996" y="1747520"/>
                  </a:lnTo>
                  <a:lnTo>
                    <a:pt x="840453" y="1725930"/>
                  </a:lnTo>
                  <a:lnTo>
                    <a:pt x="837592" y="1697672"/>
                  </a:lnTo>
                  <a:lnTo>
                    <a:pt x="834732" y="1666875"/>
                  </a:lnTo>
                  <a:lnTo>
                    <a:pt x="829010" y="1599565"/>
                  </a:lnTo>
                  <a:lnTo>
                    <a:pt x="824242" y="1529080"/>
                  </a:lnTo>
                  <a:lnTo>
                    <a:pt x="820109" y="1460182"/>
                  </a:lnTo>
                  <a:lnTo>
                    <a:pt x="816612" y="1395730"/>
                  </a:lnTo>
                  <a:lnTo>
                    <a:pt x="815659" y="1367155"/>
                  </a:lnTo>
                  <a:lnTo>
                    <a:pt x="814705" y="1341120"/>
                  </a:lnTo>
                  <a:lnTo>
                    <a:pt x="814387" y="1318895"/>
                  </a:lnTo>
                  <a:lnTo>
                    <a:pt x="814387" y="1300480"/>
                  </a:lnTo>
                  <a:lnTo>
                    <a:pt x="814705" y="1286827"/>
                  </a:lnTo>
                  <a:lnTo>
                    <a:pt x="815023" y="1281747"/>
                  </a:lnTo>
                  <a:lnTo>
                    <a:pt x="815659" y="1277937"/>
                  </a:lnTo>
                  <a:lnTo>
                    <a:pt x="816295" y="1270635"/>
                  </a:lnTo>
                  <a:lnTo>
                    <a:pt x="818202" y="1263332"/>
                  </a:lnTo>
                  <a:lnTo>
                    <a:pt x="820427" y="1256347"/>
                  </a:lnTo>
                  <a:lnTo>
                    <a:pt x="823288" y="1249362"/>
                  </a:lnTo>
                  <a:lnTo>
                    <a:pt x="827102" y="1242695"/>
                  </a:lnTo>
                  <a:lnTo>
                    <a:pt x="831553" y="1236345"/>
                  </a:lnTo>
                  <a:lnTo>
                    <a:pt x="836957" y="1229995"/>
                  </a:lnTo>
                  <a:lnTo>
                    <a:pt x="842679" y="1223962"/>
                  </a:lnTo>
                  <a:lnTo>
                    <a:pt x="849036" y="1218247"/>
                  </a:lnTo>
                  <a:lnTo>
                    <a:pt x="856029" y="1212532"/>
                  </a:lnTo>
                  <a:lnTo>
                    <a:pt x="863659" y="1207452"/>
                  </a:lnTo>
                  <a:lnTo>
                    <a:pt x="871606" y="1202055"/>
                  </a:lnTo>
                  <a:lnTo>
                    <a:pt x="879870" y="1197292"/>
                  </a:lnTo>
                  <a:lnTo>
                    <a:pt x="888771" y="1192847"/>
                  </a:lnTo>
                  <a:lnTo>
                    <a:pt x="897990" y="1188085"/>
                  </a:lnTo>
                  <a:lnTo>
                    <a:pt x="907844" y="1183640"/>
                  </a:lnTo>
                  <a:lnTo>
                    <a:pt x="917380" y="1179512"/>
                  </a:lnTo>
                  <a:lnTo>
                    <a:pt x="928188" y="1175385"/>
                  </a:lnTo>
                  <a:lnTo>
                    <a:pt x="938360" y="1171575"/>
                  </a:lnTo>
                  <a:lnTo>
                    <a:pt x="949168" y="1168400"/>
                  </a:lnTo>
                  <a:lnTo>
                    <a:pt x="971420" y="1161415"/>
                  </a:lnTo>
                  <a:lnTo>
                    <a:pt x="993989" y="1155382"/>
                  </a:lnTo>
                  <a:lnTo>
                    <a:pt x="1016876" y="1150302"/>
                  </a:lnTo>
                  <a:lnTo>
                    <a:pt x="1040399" y="1145540"/>
                  </a:lnTo>
                  <a:lnTo>
                    <a:pt x="1063287" y="1141412"/>
                  </a:lnTo>
                  <a:lnTo>
                    <a:pt x="1085856" y="1138237"/>
                  </a:lnTo>
                  <a:lnTo>
                    <a:pt x="1090942" y="1137920"/>
                  </a:lnTo>
                  <a:lnTo>
                    <a:pt x="1096346" y="1138237"/>
                  </a:lnTo>
                  <a:lnTo>
                    <a:pt x="1169776" y="1409700"/>
                  </a:lnTo>
                  <a:lnTo>
                    <a:pt x="1171366" y="1398587"/>
                  </a:lnTo>
                  <a:lnTo>
                    <a:pt x="1196796" y="1212532"/>
                  </a:lnTo>
                  <a:lnTo>
                    <a:pt x="1189803" y="1194117"/>
                  </a:lnTo>
                  <a:lnTo>
                    <a:pt x="1203472" y="1169670"/>
                  </a:lnTo>
                  <a:lnTo>
                    <a:pt x="1235895" y="1169670"/>
                  </a:lnTo>
                  <a:lnTo>
                    <a:pt x="1249246" y="1194117"/>
                  </a:lnTo>
                  <a:lnTo>
                    <a:pt x="1242889" y="1216025"/>
                  </a:lnTo>
                  <a:lnTo>
                    <a:pt x="1265776" y="1412557"/>
                  </a:lnTo>
                  <a:lnTo>
                    <a:pt x="1325855" y="1146810"/>
                  </a:lnTo>
                  <a:lnTo>
                    <a:pt x="1332849" y="1143317"/>
                  </a:lnTo>
                  <a:lnTo>
                    <a:pt x="1337935" y="1141095"/>
                  </a:lnTo>
                  <a:lnTo>
                    <a:pt x="1341113" y="1139190"/>
                  </a:lnTo>
                  <a:lnTo>
                    <a:pt x="1341749" y="1138555"/>
                  </a:lnTo>
                  <a:lnTo>
                    <a:pt x="1341749" y="1138237"/>
                  </a:lnTo>
                  <a:lnTo>
                    <a:pt x="1352557" y="1136967"/>
                  </a:lnTo>
                  <a:lnTo>
                    <a:pt x="1364001" y="1136650"/>
                  </a:lnTo>
                  <a:close/>
                  <a:moveTo>
                    <a:pt x="276860" y="1112205"/>
                  </a:moveTo>
                  <a:lnTo>
                    <a:pt x="257810" y="1112523"/>
                  </a:lnTo>
                  <a:lnTo>
                    <a:pt x="239395" y="1114113"/>
                  </a:lnTo>
                  <a:lnTo>
                    <a:pt x="236537" y="1138913"/>
                  </a:lnTo>
                  <a:lnTo>
                    <a:pt x="176212" y="1139866"/>
                  </a:lnTo>
                  <a:lnTo>
                    <a:pt x="175260" y="1124923"/>
                  </a:lnTo>
                  <a:lnTo>
                    <a:pt x="166687" y="1127784"/>
                  </a:lnTo>
                  <a:lnTo>
                    <a:pt x="158432" y="1130328"/>
                  </a:lnTo>
                  <a:lnTo>
                    <a:pt x="151130" y="1132872"/>
                  </a:lnTo>
                  <a:lnTo>
                    <a:pt x="143827" y="1136051"/>
                  </a:lnTo>
                  <a:lnTo>
                    <a:pt x="137160" y="1138913"/>
                  </a:lnTo>
                  <a:lnTo>
                    <a:pt x="130810" y="1142410"/>
                  </a:lnTo>
                  <a:lnTo>
                    <a:pt x="125095" y="1145271"/>
                  </a:lnTo>
                  <a:lnTo>
                    <a:pt x="119697" y="1148769"/>
                  </a:lnTo>
                  <a:lnTo>
                    <a:pt x="115252" y="1152584"/>
                  </a:lnTo>
                  <a:lnTo>
                    <a:pt x="111125" y="1155763"/>
                  </a:lnTo>
                  <a:lnTo>
                    <a:pt x="107315" y="1159261"/>
                  </a:lnTo>
                  <a:lnTo>
                    <a:pt x="104457" y="1163076"/>
                  </a:lnTo>
                  <a:lnTo>
                    <a:pt x="102235" y="1166891"/>
                  </a:lnTo>
                  <a:lnTo>
                    <a:pt x="100647" y="1170071"/>
                  </a:lnTo>
                  <a:lnTo>
                    <a:pt x="99377" y="1173886"/>
                  </a:lnTo>
                  <a:lnTo>
                    <a:pt x="99060" y="1177384"/>
                  </a:lnTo>
                  <a:lnTo>
                    <a:pt x="99377" y="1180245"/>
                  </a:lnTo>
                  <a:lnTo>
                    <a:pt x="100330" y="1183425"/>
                  </a:lnTo>
                  <a:lnTo>
                    <a:pt x="101282" y="1186286"/>
                  </a:lnTo>
                  <a:lnTo>
                    <a:pt x="102870" y="1189148"/>
                  </a:lnTo>
                  <a:lnTo>
                    <a:pt x="104775" y="1192009"/>
                  </a:lnTo>
                  <a:lnTo>
                    <a:pt x="106997" y="1195188"/>
                  </a:lnTo>
                  <a:lnTo>
                    <a:pt x="109537" y="1197732"/>
                  </a:lnTo>
                  <a:lnTo>
                    <a:pt x="112712" y="1200593"/>
                  </a:lnTo>
                  <a:lnTo>
                    <a:pt x="116205" y="1203455"/>
                  </a:lnTo>
                  <a:lnTo>
                    <a:pt x="119697" y="1206316"/>
                  </a:lnTo>
                  <a:lnTo>
                    <a:pt x="124460" y="1208860"/>
                  </a:lnTo>
                  <a:lnTo>
                    <a:pt x="128905" y="1211721"/>
                  </a:lnTo>
                  <a:lnTo>
                    <a:pt x="138747" y="1216809"/>
                  </a:lnTo>
                  <a:lnTo>
                    <a:pt x="149860" y="1221896"/>
                  </a:lnTo>
                  <a:lnTo>
                    <a:pt x="162242" y="1226347"/>
                  </a:lnTo>
                  <a:lnTo>
                    <a:pt x="175895" y="1230162"/>
                  </a:lnTo>
                  <a:lnTo>
                    <a:pt x="190500" y="1233977"/>
                  </a:lnTo>
                  <a:lnTo>
                    <a:pt x="206375" y="1236839"/>
                  </a:lnTo>
                  <a:lnTo>
                    <a:pt x="222885" y="1239383"/>
                  </a:lnTo>
                  <a:lnTo>
                    <a:pt x="240030" y="1241290"/>
                  </a:lnTo>
                  <a:lnTo>
                    <a:pt x="258127" y="1242562"/>
                  </a:lnTo>
                  <a:lnTo>
                    <a:pt x="276860" y="1242880"/>
                  </a:lnTo>
                  <a:lnTo>
                    <a:pt x="295910" y="1242562"/>
                  </a:lnTo>
                  <a:lnTo>
                    <a:pt x="313690" y="1241290"/>
                  </a:lnTo>
                  <a:lnTo>
                    <a:pt x="331153" y="1239383"/>
                  </a:lnTo>
                  <a:lnTo>
                    <a:pt x="347663" y="1236839"/>
                  </a:lnTo>
                  <a:lnTo>
                    <a:pt x="363220" y="1233977"/>
                  </a:lnTo>
                  <a:lnTo>
                    <a:pt x="377825" y="1230162"/>
                  </a:lnTo>
                  <a:lnTo>
                    <a:pt x="391160" y="1226347"/>
                  </a:lnTo>
                  <a:lnTo>
                    <a:pt x="403860" y="1221896"/>
                  </a:lnTo>
                  <a:lnTo>
                    <a:pt x="414973" y="1216809"/>
                  </a:lnTo>
                  <a:lnTo>
                    <a:pt x="425133" y="1211721"/>
                  </a:lnTo>
                  <a:lnTo>
                    <a:pt x="429578" y="1208860"/>
                  </a:lnTo>
                  <a:lnTo>
                    <a:pt x="433705" y="1206316"/>
                  </a:lnTo>
                  <a:lnTo>
                    <a:pt x="437515" y="1203455"/>
                  </a:lnTo>
                  <a:lnTo>
                    <a:pt x="441008" y="1200593"/>
                  </a:lnTo>
                  <a:lnTo>
                    <a:pt x="444183" y="1197732"/>
                  </a:lnTo>
                  <a:lnTo>
                    <a:pt x="447040" y="1195188"/>
                  </a:lnTo>
                  <a:lnTo>
                    <a:pt x="449263" y="1192009"/>
                  </a:lnTo>
                  <a:lnTo>
                    <a:pt x="451168" y="1189148"/>
                  </a:lnTo>
                  <a:lnTo>
                    <a:pt x="452438" y="1186286"/>
                  </a:lnTo>
                  <a:lnTo>
                    <a:pt x="453708" y="1183425"/>
                  </a:lnTo>
                  <a:lnTo>
                    <a:pt x="454343" y="1180245"/>
                  </a:lnTo>
                  <a:lnTo>
                    <a:pt x="454343" y="1177384"/>
                  </a:lnTo>
                  <a:lnTo>
                    <a:pt x="454025" y="1173568"/>
                  </a:lnTo>
                  <a:lnTo>
                    <a:pt x="453073" y="1169435"/>
                  </a:lnTo>
                  <a:lnTo>
                    <a:pt x="450850" y="1165620"/>
                  </a:lnTo>
                  <a:lnTo>
                    <a:pt x="447993" y="1161486"/>
                  </a:lnTo>
                  <a:lnTo>
                    <a:pt x="444183" y="1157671"/>
                  </a:lnTo>
                  <a:lnTo>
                    <a:pt x="440055" y="1153538"/>
                  </a:lnTo>
                  <a:lnTo>
                    <a:pt x="435293" y="1149723"/>
                  </a:lnTo>
                  <a:lnTo>
                    <a:pt x="429578" y="1146225"/>
                  </a:lnTo>
                  <a:lnTo>
                    <a:pt x="423228" y="1142728"/>
                  </a:lnTo>
                  <a:lnTo>
                    <a:pt x="416560" y="1138913"/>
                  </a:lnTo>
                  <a:lnTo>
                    <a:pt x="408940" y="1135415"/>
                  </a:lnTo>
                  <a:lnTo>
                    <a:pt x="400685" y="1132554"/>
                  </a:lnTo>
                  <a:lnTo>
                    <a:pt x="392113" y="1129692"/>
                  </a:lnTo>
                  <a:lnTo>
                    <a:pt x="382905" y="1126513"/>
                  </a:lnTo>
                  <a:lnTo>
                    <a:pt x="373380" y="1123969"/>
                  </a:lnTo>
                  <a:lnTo>
                    <a:pt x="363220" y="1121744"/>
                  </a:lnTo>
                  <a:lnTo>
                    <a:pt x="361633" y="1139866"/>
                  </a:lnTo>
                  <a:lnTo>
                    <a:pt x="304165" y="1139866"/>
                  </a:lnTo>
                  <a:lnTo>
                    <a:pt x="300673" y="1113477"/>
                  </a:lnTo>
                  <a:lnTo>
                    <a:pt x="288925" y="1112523"/>
                  </a:lnTo>
                  <a:lnTo>
                    <a:pt x="276860" y="1112205"/>
                  </a:lnTo>
                  <a:close/>
                  <a:moveTo>
                    <a:pt x="1696009" y="1087438"/>
                  </a:moveTo>
                  <a:lnTo>
                    <a:pt x="1706562" y="1093141"/>
                  </a:lnTo>
                  <a:lnTo>
                    <a:pt x="1628215" y="1238251"/>
                  </a:lnTo>
                  <a:lnTo>
                    <a:pt x="1617662" y="1232865"/>
                  </a:lnTo>
                  <a:lnTo>
                    <a:pt x="1696009" y="1087438"/>
                  </a:lnTo>
                  <a:close/>
                  <a:moveTo>
                    <a:pt x="2290762" y="1082675"/>
                  </a:moveTo>
                  <a:lnTo>
                    <a:pt x="2349183" y="1093734"/>
                  </a:lnTo>
                  <a:lnTo>
                    <a:pt x="2351088" y="1094049"/>
                  </a:lnTo>
                  <a:lnTo>
                    <a:pt x="2352993" y="1095313"/>
                  </a:lnTo>
                  <a:lnTo>
                    <a:pt x="2354580" y="1096893"/>
                  </a:lnTo>
                  <a:lnTo>
                    <a:pt x="2356168" y="1098473"/>
                  </a:lnTo>
                  <a:lnTo>
                    <a:pt x="2357438" y="1101001"/>
                  </a:lnTo>
                  <a:lnTo>
                    <a:pt x="2358708" y="1103528"/>
                  </a:lnTo>
                  <a:lnTo>
                    <a:pt x="2360613" y="1109848"/>
                  </a:lnTo>
                  <a:lnTo>
                    <a:pt x="2362200" y="1116483"/>
                  </a:lnTo>
                  <a:lnTo>
                    <a:pt x="2363470" y="1124066"/>
                  </a:lnTo>
                  <a:lnTo>
                    <a:pt x="2365058" y="1138600"/>
                  </a:lnTo>
                  <a:lnTo>
                    <a:pt x="2365375" y="1141760"/>
                  </a:lnTo>
                  <a:lnTo>
                    <a:pt x="2365058" y="1143971"/>
                  </a:lnTo>
                  <a:lnTo>
                    <a:pt x="2364740" y="1144919"/>
                  </a:lnTo>
                  <a:lnTo>
                    <a:pt x="2363470" y="1145867"/>
                  </a:lnTo>
                  <a:lnTo>
                    <a:pt x="2362835" y="1145235"/>
                  </a:lnTo>
                  <a:lnTo>
                    <a:pt x="2361248" y="1144603"/>
                  </a:lnTo>
                  <a:lnTo>
                    <a:pt x="2359660" y="1143655"/>
                  </a:lnTo>
                  <a:lnTo>
                    <a:pt x="2358708" y="1142076"/>
                  </a:lnTo>
                  <a:lnTo>
                    <a:pt x="2355533" y="1137968"/>
                  </a:lnTo>
                  <a:lnTo>
                    <a:pt x="2352993" y="1133545"/>
                  </a:lnTo>
                  <a:lnTo>
                    <a:pt x="2351088" y="1128489"/>
                  </a:lnTo>
                  <a:lnTo>
                    <a:pt x="2350453" y="1126593"/>
                  </a:lnTo>
                  <a:lnTo>
                    <a:pt x="2350453" y="1124698"/>
                  </a:lnTo>
                  <a:lnTo>
                    <a:pt x="2350135" y="1121854"/>
                  </a:lnTo>
                  <a:lnTo>
                    <a:pt x="2349183" y="1119958"/>
                  </a:lnTo>
                  <a:lnTo>
                    <a:pt x="2347913" y="1118694"/>
                  </a:lnTo>
                  <a:lnTo>
                    <a:pt x="2346960" y="1118378"/>
                  </a:lnTo>
                  <a:lnTo>
                    <a:pt x="2346643" y="1118378"/>
                  </a:lnTo>
                  <a:lnTo>
                    <a:pt x="2346008" y="1118378"/>
                  </a:lnTo>
                  <a:lnTo>
                    <a:pt x="2345055" y="1119326"/>
                  </a:lnTo>
                  <a:lnTo>
                    <a:pt x="2344420" y="1119958"/>
                  </a:lnTo>
                  <a:lnTo>
                    <a:pt x="2343785" y="1120906"/>
                  </a:lnTo>
                  <a:lnTo>
                    <a:pt x="2342833" y="1124066"/>
                  </a:lnTo>
                  <a:lnTo>
                    <a:pt x="2342515" y="1128173"/>
                  </a:lnTo>
                  <a:lnTo>
                    <a:pt x="2342198" y="1132597"/>
                  </a:lnTo>
                  <a:lnTo>
                    <a:pt x="2341245" y="1136704"/>
                  </a:lnTo>
                  <a:lnTo>
                    <a:pt x="2340293" y="1140180"/>
                  </a:lnTo>
                  <a:lnTo>
                    <a:pt x="2339023" y="1141760"/>
                  </a:lnTo>
                  <a:lnTo>
                    <a:pt x="2338070" y="1143023"/>
                  </a:lnTo>
                  <a:lnTo>
                    <a:pt x="2336800" y="1144287"/>
                  </a:lnTo>
                  <a:lnTo>
                    <a:pt x="2335530" y="1145235"/>
                  </a:lnTo>
                  <a:lnTo>
                    <a:pt x="2333625" y="1146183"/>
                  </a:lnTo>
                  <a:lnTo>
                    <a:pt x="2331720" y="1146815"/>
                  </a:lnTo>
                  <a:lnTo>
                    <a:pt x="2329815" y="1147131"/>
                  </a:lnTo>
                  <a:lnTo>
                    <a:pt x="2326957" y="1147763"/>
                  </a:lnTo>
                  <a:lnTo>
                    <a:pt x="2321877" y="1147763"/>
                  </a:lnTo>
                  <a:lnTo>
                    <a:pt x="2319655" y="1147131"/>
                  </a:lnTo>
                  <a:lnTo>
                    <a:pt x="2317432" y="1146499"/>
                  </a:lnTo>
                  <a:lnTo>
                    <a:pt x="2315210" y="1145235"/>
                  </a:lnTo>
                  <a:lnTo>
                    <a:pt x="2313305" y="1144287"/>
                  </a:lnTo>
                  <a:lnTo>
                    <a:pt x="2311400" y="1142392"/>
                  </a:lnTo>
                  <a:lnTo>
                    <a:pt x="2309495" y="1140812"/>
                  </a:lnTo>
                  <a:lnTo>
                    <a:pt x="2306002" y="1136388"/>
                  </a:lnTo>
                  <a:lnTo>
                    <a:pt x="2303145" y="1131649"/>
                  </a:lnTo>
                  <a:lnTo>
                    <a:pt x="2300922" y="1125962"/>
                  </a:lnTo>
                  <a:lnTo>
                    <a:pt x="2298382" y="1120274"/>
                  </a:lnTo>
                  <a:lnTo>
                    <a:pt x="2296795" y="1114271"/>
                  </a:lnTo>
                  <a:lnTo>
                    <a:pt x="2295207" y="1108268"/>
                  </a:lnTo>
                  <a:lnTo>
                    <a:pt x="2293620" y="1102580"/>
                  </a:lnTo>
                  <a:lnTo>
                    <a:pt x="2291715" y="1092470"/>
                  </a:lnTo>
                  <a:lnTo>
                    <a:pt x="2291080" y="1085519"/>
                  </a:lnTo>
                  <a:lnTo>
                    <a:pt x="2290762" y="1082675"/>
                  </a:lnTo>
                  <a:close/>
                  <a:moveTo>
                    <a:pt x="2847975" y="1081088"/>
                  </a:moveTo>
                  <a:lnTo>
                    <a:pt x="2847658" y="1083616"/>
                  </a:lnTo>
                  <a:lnTo>
                    <a:pt x="2846705" y="1090883"/>
                  </a:lnTo>
                  <a:lnTo>
                    <a:pt x="2844800" y="1100993"/>
                  </a:lnTo>
                  <a:lnTo>
                    <a:pt x="2843530" y="1106997"/>
                  </a:lnTo>
                  <a:lnTo>
                    <a:pt x="2842260" y="1113000"/>
                  </a:lnTo>
                  <a:lnTo>
                    <a:pt x="2840355" y="1119003"/>
                  </a:lnTo>
                  <a:lnTo>
                    <a:pt x="2838133" y="1124375"/>
                  </a:lnTo>
                  <a:lnTo>
                    <a:pt x="2835275" y="1130062"/>
                  </a:lnTo>
                  <a:lnTo>
                    <a:pt x="2832735" y="1134801"/>
                  </a:lnTo>
                  <a:lnTo>
                    <a:pt x="2829243" y="1139225"/>
                  </a:lnTo>
                  <a:lnTo>
                    <a:pt x="2827338" y="1140805"/>
                  </a:lnTo>
                  <a:lnTo>
                    <a:pt x="2825433" y="1142384"/>
                  </a:lnTo>
                  <a:lnTo>
                    <a:pt x="2823845" y="1143964"/>
                  </a:lnTo>
                  <a:lnTo>
                    <a:pt x="2821305" y="1144596"/>
                  </a:lnTo>
                  <a:lnTo>
                    <a:pt x="2819083" y="1145544"/>
                  </a:lnTo>
                  <a:lnTo>
                    <a:pt x="2816860" y="1145860"/>
                  </a:lnTo>
                  <a:lnTo>
                    <a:pt x="2811145" y="1146176"/>
                  </a:lnTo>
                  <a:lnTo>
                    <a:pt x="2808922" y="1145860"/>
                  </a:lnTo>
                  <a:lnTo>
                    <a:pt x="2807017" y="1145544"/>
                  </a:lnTo>
                  <a:lnTo>
                    <a:pt x="2804795" y="1144596"/>
                  </a:lnTo>
                  <a:lnTo>
                    <a:pt x="2803525" y="1143964"/>
                  </a:lnTo>
                  <a:lnTo>
                    <a:pt x="2801937" y="1142700"/>
                  </a:lnTo>
                  <a:lnTo>
                    <a:pt x="2800667" y="1141752"/>
                  </a:lnTo>
                  <a:lnTo>
                    <a:pt x="2799715" y="1140173"/>
                  </a:lnTo>
                  <a:lnTo>
                    <a:pt x="2798445" y="1138593"/>
                  </a:lnTo>
                  <a:lnTo>
                    <a:pt x="2796857" y="1135433"/>
                  </a:lnTo>
                  <a:lnTo>
                    <a:pt x="2796222" y="1131326"/>
                  </a:lnTo>
                  <a:lnTo>
                    <a:pt x="2796222" y="1126586"/>
                  </a:lnTo>
                  <a:lnTo>
                    <a:pt x="2795905" y="1122163"/>
                  </a:lnTo>
                  <a:lnTo>
                    <a:pt x="2794635" y="1119319"/>
                  </a:lnTo>
                  <a:lnTo>
                    <a:pt x="2794317" y="1118371"/>
                  </a:lnTo>
                  <a:lnTo>
                    <a:pt x="2793682" y="1117423"/>
                  </a:lnTo>
                  <a:lnTo>
                    <a:pt x="2792730" y="1117107"/>
                  </a:lnTo>
                  <a:lnTo>
                    <a:pt x="2792095" y="1117107"/>
                  </a:lnTo>
                  <a:lnTo>
                    <a:pt x="2791460" y="1117107"/>
                  </a:lnTo>
                  <a:lnTo>
                    <a:pt x="2790507" y="1117107"/>
                  </a:lnTo>
                  <a:lnTo>
                    <a:pt x="2789555" y="1118371"/>
                  </a:lnTo>
                  <a:lnTo>
                    <a:pt x="2788602" y="1120267"/>
                  </a:lnTo>
                  <a:lnTo>
                    <a:pt x="2788285" y="1123427"/>
                  </a:lnTo>
                  <a:lnTo>
                    <a:pt x="2787967" y="1125322"/>
                  </a:lnTo>
                  <a:lnTo>
                    <a:pt x="2787650" y="1127218"/>
                  </a:lnTo>
                  <a:lnTo>
                    <a:pt x="2785745" y="1131642"/>
                  </a:lnTo>
                  <a:lnTo>
                    <a:pt x="2783205" y="1136381"/>
                  </a:lnTo>
                  <a:lnTo>
                    <a:pt x="2780030" y="1140489"/>
                  </a:lnTo>
                  <a:lnTo>
                    <a:pt x="2778442" y="1142068"/>
                  </a:lnTo>
                  <a:lnTo>
                    <a:pt x="2777490" y="1143332"/>
                  </a:lnTo>
                  <a:lnTo>
                    <a:pt x="2775902" y="1143964"/>
                  </a:lnTo>
                  <a:lnTo>
                    <a:pt x="2774950" y="1143964"/>
                  </a:lnTo>
                  <a:lnTo>
                    <a:pt x="2773997" y="1143648"/>
                  </a:lnTo>
                  <a:lnTo>
                    <a:pt x="2773680" y="1142384"/>
                  </a:lnTo>
                  <a:lnTo>
                    <a:pt x="2773362" y="1140173"/>
                  </a:lnTo>
                  <a:lnTo>
                    <a:pt x="2773362" y="1137329"/>
                  </a:lnTo>
                  <a:lnTo>
                    <a:pt x="2775267" y="1122479"/>
                  </a:lnTo>
                  <a:lnTo>
                    <a:pt x="2776220" y="1115212"/>
                  </a:lnTo>
                  <a:lnTo>
                    <a:pt x="2777807" y="1108261"/>
                  </a:lnTo>
                  <a:lnTo>
                    <a:pt x="2780030" y="1101941"/>
                  </a:lnTo>
                  <a:lnTo>
                    <a:pt x="2781300" y="1099414"/>
                  </a:lnTo>
                  <a:lnTo>
                    <a:pt x="2782252" y="1097202"/>
                  </a:lnTo>
                  <a:lnTo>
                    <a:pt x="2783840" y="1095306"/>
                  </a:lnTo>
                  <a:lnTo>
                    <a:pt x="2785427" y="1093410"/>
                  </a:lnTo>
                  <a:lnTo>
                    <a:pt x="2787332" y="1092778"/>
                  </a:lnTo>
                  <a:lnTo>
                    <a:pt x="2789237" y="1092147"/>
                  </a:lnTo>
                  <a:lnTo>
                    <a:pt x="2847975" y="1081088"/>
                  </a:lnTo>
                  <a:close/>
                  <a:moveTo>
                    <a:pt x="2154535" y="1031875"/>
                  </a:moveTo>
                  <a:lnTo>
                    <a:pt x="2276475" y="1148694"/>
                  </a:lnTo>
                  <a:lnTo>
                    <a:pt x="2268240" y="1157288"/>
                  </a:lnTo>
                  <a:lnTo>
                    <a:pt x="2146300" y="1040469"/>
                  </a:lnTo>
                  <a:lnTo>
                    <a:pt x="2154535" y="1031875"/>
                  </a:lnTo>
                  <a:close/>
                  <a:moveTo>
                    <a:pt x="951225" y="992188"/>
                  </a:moveTo>
                  <a:lnTo>
                    <a:pt x="954087" y="1004130"/>
                  </a:lnTo>
                  <a:lnTo>
                    <a:pt x="747081" y="1054101"/>
                  </a:lnTo>
                  <a:lnTo>
                    <a:pt x="744537" y="1042158"/>
                  </a:lnTo>
                  <a:lnTo>
                    <a:pt x="951225" y="992188"/>
                  </a:lnTo>
                  <a:close/>
                  <a:moveTo>
                    <a:pt x="263208" y="913173"/>
                  </a:moveTo>
                  <a:lnTo>
                    <a:pt x="242887" y="1082955"/>
                  </a:lnTo>
                  <a:lnTo>
                    <a:pt x="259715" y="1082001"/>
                  </a:lnTo>
                  <a:lnTo>
                    <a:pt x="276860" y="1081683"/>
                  </a:lnTo>
                  <a:lnTo>
                    <a:pt x="296863" y="1082001"/>
                  </a:lnTo>
                  <a:lnTo>
                    <a:pt x="275590" y="913173"/>
                  </a:lnTo>
                  <a:lnTo>
                    <a:pt x="271780" y="913491"/>
                  </a:lnTo>
                  <a:lnTo>
                    <a:pt x="267970" y="913491"/>
                  </a:lnTo>
                  <a:lnTo>
                    <a:pt x="265748" y="913491"/>
                  </a:lnTo>
                  <a:lnTo>
                    <a:pt x="263208" y="913173"/>
                  </a:lnTo>
                  <a:close/>
                  <a:moveTo>
                    <a:pt x="1967124" y="852488"/>
                  </a:moveTo>
                  <a:lnTo>
                    <a:pt x="2032000" y="915353"/>
                  </a:lnTo>
                  <a:lnTo>
                    <a:pt x="2023538" y="923926"/>
                  </a:lnTo>
                  <a:lnTo>
                    <a:pt x="1958975" y="861378"/>
                  </a:lnTo>
                  <a:lnTo>
                    <a:pt x="1967124" y="852488"/>
                  </a:lnTo>
                  <a:close/>
                  <a:moveTo>
                    <a:pt x="71437" y="820738"/>
                  </a:moveTo>
                  <a:lnTo>
                    <a:pt x="113846" y="828515"/>
                  </a:lnTo>
                  <a:lnTo>
                    <a:pt x="115452" y="828826"/>
                  </a:lnTo>
                  <a:lnTo>
                    <a:pt x="116737" y="829759"/>
                  </a:lnTo>
                  <a:lnTo>
                    <a:pt x="117701" y="830692"/>
                  </a:lnTo>
                  <a:lnTo>
                    <a:pt x="118986" y="832247"/>
                  </a:lnTo>
                  <a:lnTo>
                    <a:pt x="120914" y="835669"/>
                  </a:lnTo>
                  <a:lnTo>
                    <a:pt x="121878" y="840024"/>
                  </a:lnTo>
                  <a:lnTo>
                    <a:pt x="123163" y="844690"/>
                  </a:lnTo>
                  <a:lnTo>
                    <a:pt x="124127" y="850289"/>
                  </a:lnTo>
                  <a:lnTo>
                    <a:pt x="125412" y="860555"/>
                  </a:lnTo>
                  <a:lnTo>
                    <a:pt x="125412" y="862732"/>
                  </a:lnTo>
                  <a:lnTo>
                    <a:pt x="125412" y="863976"/>
                  </a:lnTo>
                  <a:lnTo>
                    <a:pt x="125090" y="864909"/>
                  </a:lnTo>
                  <a:lnTo>
                    <a:pt x="124127" y="865532"/>
                  </a:lnTo>
                  <a:lnTo>
                    <a:pt x="123484" y="865532"/>
                  </a:lnTo>
                  <a:lnTo>
                    <a:pt x="122842" y="864598"/>
                  </a:lnTo>
                  <a:lnTo>
                    <a:pt x="120271" y="862732"/>
                  </a:lnTo>
                  <a:lnTo>
                    <a:pt x="118344" y="859932"/>
                  </a:lnTo>
                  <a:lnTo>
                    <a:pt x="116737" y="856511"/>
                  </a:lnTo>
                  <a:lnTo>
                    <a:pt x="115131" y="853089"/>
                  </a:lnTo>
                  <a:lnTo>
                    <a:pt x="114810" y="850600"/>
                  </a:lnTo>
                  <a:lnTo>
                    <a:pt x="114167" y="848423"/>
                  </a:lnTo>
                  <a:lnTo>
                    <a:pt x="113846" y="846868"/>
                  </a:lnTo>
                  <a:lnTo>
                    <a:pt x="112882" y="846245"/>
                  </a:lnTo>
                  <a:lnTo>
                    <a:pt x="111597" y="846245"/>
                  </a:lnTo>
                  <a:lnTo>
                    <a:pt x="110954" y="846556"/>
                  </a:lnTo>
                  <a:lnTo>
                    <a:pt x="109669" y="847801"/>
                  </a:lnTo>
                  <a:lnTo>
                    <a:pt x="109348" y="849978"/>
                  </a:lnTo>
                  <a:lnTo>
                    <a:pt x="109026" y="852778"/>
                  </a:lnTo>
                  <a:lnTo>
                    <a:pt x="108705" y="856200"/>
                  </a:lnTo>
                  <a:lnTo>
                    <a:pt x="108384" y="858999"/>
                  </a:lnTo>
                  <a:lnTo>
                    <a:pt x="107099" y="861799"/>
                  </a:lnTo>
                  <a:lnTo>
                    <a:pt x="105492" y="863665"/>
                  </a:lnTo>
                  <a:lnTo>
                    <a:pt x="103565" y="864909"/>
                  </a:lnTo>
                  <a:lnTo>
                    <a:pt x="100994" y="866154"/>
                  </a:lnTo>
                  <a:lnTo>
                    <a:pt x="98103" y="866776"/>
                  </a:lnTo>
                  <a:lnTo>
                    <a:pt x="93926" y="866465"/>
                  </a:lnTo>
                  <a:lnTo>
                    <a:pt x="92320" y="866465"/>
                  </a:lnTo>
                  <a:lnTo>
                    <a:pt x="90392" y="865843"/>
                  </a:lnTo>
                  <a:lnTo>
                    <a:pt x="87822" y="864287"/>
                  </a:lnTo>
                  <a:lnTo>
                    <a:pt x="84931" y="861799"/>
                  </a:lnTo>
                  <a:lnTo>
                    <a:pt x="82360" y="858688"/>
                  </a:lnTo>
                  <a:lnTo>
                    <a:pt x="80433" y="855577"/>
                  </a:lnTo>
                  <a:lnTo>
                    <a:pt x="78505" y="851534"/>
                  </a:lnTo>
                  <a:lnTo>
                    <a:pt x="76899" y="847490"/>
                  </a:lnTo>
                  <a:lnTo>
                    <a:pt x="75613" y="843446"/>
                  </a:lnTo>
                  <a:lnTo>
                    <a:pt x="73686" y="834736"/>
                  </a:lnTo>
                  <a:lnTo>
                    <a:pt x="72079" y="827892"/>
                  </a:lnTo>
                  <a:lnTo>
                    <a:pt x="71437" y="820738"/>
                  </a:lnTo>
                  <a:close/>
                  <a:moveTo>
                    <a:pt x="471487" y="819150"/>
                  </a:moveTo>
                  <a:lnTo>
                    <a:pt x="470534" y="826277"/>
                  </a:lnTo>
                  <a:lnTo>
                    <a:pt x="468947" y="833729"/>
                  </a:lnTo>
                  <a:lnTo>
                    <a:pt x="467042" y="842152"/>
                  </a:lnTo>
                  <a:lnTo>
                    <a:pt x="465772" y="846688"/>
                  </a:lnTo>
                  <a:lnTo>
                    <a:pt x="464184" y="850900"/>
                  </a:lnTo>
                  <a:lnTo>
                    <a:pt x="462279" y="854788"/>
                  </a:lnTo>
                  <a:lnTo>
                    <a:pt x="460374" y="858675"/>
                  </a:lnTo>
                  <a:lnTo>
                    <a:pt x="457834" y="861591"/>
                  </a:lnTo>
                  <a:lnTo>
                    <a:pt x="455294" y="864507"/>
                  </a:lnTo>
                  <a:lnTo>
                    <a:pt x="452119" y="865803"/>
                  </a:lnTo>
                  <a:lnTo>
                    <a:pt x="450532" y="866451"/>
                  </a:lnTo>
                  <a:lnTo>
                    <a:pt x="449262" y="866775"/>
                  </a:lnTo>
                  <a:lnTo>
                    <a:pt x="445134" y="866775"/>
                  </a:lnTo>
                  <a:lnTo>
                    <a:pt x="441959" y="866451"/>
                  </a:lnTo>
                  <a:lnTo>
                    <a:pt x="439419" y="865155"/>
                  </a:lnTo>
                  <a:lnTo>
                    <a:pt x="437514" y="863535"/>
                  </a:lnTo>
                  <a:lnTo>
                    <a:pt x="435927" y="861267"/>
                  </a:lnTo>
                  <a:lnTo>
                    <a:pt x="434974" y="858999"/>
                  </a:lnTo>
                  <a:lnTo>
                    <a:pt x="434022" y="856084"/>
                  </a:lnTo>
                  <a:lnTo>
                    <a:pt x="434022" y="852520"/>
                  </a:lnTo>
                  <a:lnTo>
                    <a:pt x="433704" y="849280"/>
                  </a:lnTo>
                  <a:lnTo>
                    <a:pt x="433387" y="847012"/>
                  </a:lnTo>
                  <a:lnTo>
                    <a:pt x="432117" y="846040"/>
                  </a:lnTo>
                  <a:lnTo>
                    <a:pt x="431482" y="845068"/>
                  </a:lnTo>
                  <a:lnTo>
                    <a:pt x="430212" y="845716"/>
                  </a:lnTo>
                  <a:lnTo>
                    <a:pt x="429259" y="846364"/>
                  </a:lnTo>
                  <a:lnTo>
                    <a:pt x="428942" y="847984"/>
                  </a:lnTo>
                  <a:lnTo>
                    <a:pt x="428624" y="850252"/>
                  </a:lnTo>
                  <a:lnTo>
                    <a:pt x="427989" y="852844"/>
                  </a:lnTo>
                  <a:lnTo>
                    <a:pt x="426719" y="856408"/>
                  </a:lnTo>
                  <a:lnTo>
                    <a:pt x="424814" y="859647"/>
                  </a:lnTo>
                  <a:lnTo>
                    <a:pt x="422592" y="862563"/>
                  </a:lnTo>
                  <a:lnTo>
                    <a:pt x="420687" y="864831"/>
                  </a:lnTo>
                  <a:lnTo>
                    <a:pt x="419734" y="865155"/>
                  </a:lnTo>
                  <a:lnTo>
                    <a:pt x="419099" y="865479"/>
                  </a:lnTo>
                  <a:lnTo>
                    <a:pt x="418464" y="865155"/>
                  </a:lnTo>
                  <a:lnTo>
                    <a:pt x="417829" y="863859"/>
                  </a:lnTo>
                  <a:lnTo>
                    <a:pt x="417512" y="862563"/>
                  </a:lnTo>
                  <a:lnTo>
                    <a:pt x="417829" y="860619"/>
                  </a:lnTo>
                  <a:lnTo>
                    <a:pt x="419099" y="849280"/>
                  </a:lnTo>
                  <a:lnTo>
                    <a:pt x="419734" y="844096"/>
                  </a:lnTo>
                  <a:lnTo>
                    <a:pt x="421004" y="838913"/>
                  </a:lnTo>
                  <a:lnTo>
                    <a:pt x="422592" y="834377"/>
                  </a:lnTo>
                  <a:lnTo>
                    <a:pt x="424179" y="830489"/>
                  </a:lnTo>
                  <a:lnTo>
                    <a:pt x="425449" y="829193"/>
                  </a:lnTo>
                  <a:lnTo>
                    <a:pt x="426719" y="828221"/>
                  </a:lnTo>
                  <a:lnTo>
                    <a:pt x="427672" y="827573"/>
                  </a:lnTo>
                  <a:lnTo>
                    <a:pt x="429259" y="827249"/>
                  </a:lnTo>
                  <a:lnTo>
                    <a:pt x="471487" y="819150"/>
                  </a:lnTo>
                  <a:close/>
                  <a:moveTo>
                    <a:pt x="1825625" y="773113"/>
                  </a:moveTo>
                  <a:lnTo>
                    <a:pt x="1867021" y="773113"/>
                  </a:lnTo>
                  <a:lnTo>
                    <a:pt x="1873657" y="778074"/>
                  </a:lnTo>
                  <a:lnTo>
                    <a:pt x="1879660" y="782704"/>
                  </a:lnTo>
                  <a:lnTo>
                    <a:pt x="1885664" y="787996"/>
                  </a:lnTo>
                  <a:lnTo>
                    <a:pt x="1888192" y="790972"/>
                  </a:lnTo>
                  <a:lnTo>
                    <a:pt x="1890404" y="793618"/>
                  </a:lnTo>
                  <a:lnTo>
                    <a:pt x="1891668" y="796264"/>
                  </a:lnTo>
                  <a:lnTo>
                    <a:pt x="1891984" y="797587"/>
                  </a:lnTo>
                  <a:lnTo>
                    <a:pt x="1892300" y="798579"/>
                  </a:lnTo>
                  <a:lnTo>
                    <a:pt x="1891984" y="799902"/>
                  </a:lnTo>
                  <a:lnTo>
                    <a:pt x="1891668" y="801225"/>
                  </a:lnTo>
                  <a:lnTo>
                    <a:pt x="1891036" y="801886"/>
                  </a:lnTo>
                  <a:lnTo>
                    <a:pt x="1889772" y="802548"/>
                  </a:lnTo>
                  <a:lnTo>
                    <a:pt x="1888192" y="803540"/>
                  </a:lnTo>
                  <a:lnTo>
                    <a:pt x="1886296" y="804201"/>
                  </a:lnTo>
                  <a:lnTo>
                    <a:pt x="1881556" y="804863"/>
                  </a:lnTo>
                  <a:lnTo>
                    <a:pt x="1875237" y="804863"/>
                  </a:lnTo>
                  <a:lnTo>
                    <a:pt x="1869233" y="804201"/>
                  </a:lnTo>
                  <a:lnTo>
                    <a:pt x="1863861" y="802878"/>
                  </a:lnTo>
                  <a:lnTo>
                    <a:pt x="1859121" y="801556"/>
                  </a:lnTo>
                  <a:lnTo>
                    <a:pt x="1854697" y="799240"/>
                  </a:lnTo>
                  <a:lnTo>
                    <a:pt x="1849957" y="796595"/>
                  </a:lnTo>
                  <a:lnTo>
                    <a:pt x="1846481" y="793949"/>
                  </a:lnTo>
                  <a:lnTo>
                    <a:pt x="1842373" y="790972"/>
                  </a:lnTo>
                  <a:lnTo>
                    <a:pt x="1840477" y="789649"/>
                  </a:lnTo>
                  <a:lnTo>
                    <a:pt x="1839213" y="789319"/>
                  </a:lnTo>
                  <a:lnTo>
                    <a:pt x="1838581" y="789319"/>
                  </a:lnTo>
                  <a:lnTo>
                    <a:pt x="1838265" y="789649"/>
                  </a:lnTo>
                  <a:lnTo>
                    <a:pt x="1837317" y="790972"/>
                  </a:lnTo>
                  <a:lnTo>
                    <a:pt x="1837317" y="791303"/>
                  </a:lnTo>
                  <a:lnTo>
                    <a:pt x="1836685" y="791303"/>
                  </a:lnTo>
                  <a:lnTo>
                    <a:pt x="1832261" y="791303"/>
                  </a:lnTo>
                  <a:lnTo>
                    <a:pt x="1829417" y="790972"/>
                  </a:lnTo>
                  <a:lnTo>
                    <a:pt x="1827521" y="790642"/>
                  </a:lnTo>
                  <a:lnTo>
                    <a:pt x="1826573" y="782704"/>
                  </a:lnTo>
                  <a:lnTo>
                    <a:pt x="1826257" y="778074"/>
                  </a:lnTo>
                  <a:lnTo>
                    <a:pt x="1826573" y="775759"/>
                  </a:lnTo>
                  <a:lnTo>
                    <a:pt x="1826573" y="774767"/>
                  </a:lnTo>
                  <a:lnTo>
                    <a:pt x="1825625" y="773113"/>
                  </a:lnTo>
                  <a:close/>
                  <a:moveTo>
                    <a:pt x="1722120" y="773113"/>
                  </a:moveTo>
                  <a:lnTo>
                    <a:pt x="1763712" y="773113"/>
                  </a:lnTo>
                  <a:lnTo>
                    <a:pt x="1762760" y="774767"/>
                  </a:lnTo>
                  <a:lnTo>
                    <a:pt x="1763077" y="775759"/>
                  </a:lnTo>
                  <a:lnTo>
                    <a:pt x="1763077" y="778074"/>
                  </a:lnTo>
                  <a:lnTo>
                    <a:pt x="1762760" y="782704"/>
                  </a:lnTo>
                  <a:lnTo>
                    <a:pt x="1761807" y="790642"/>
                  </a:lnTo>
                  <a:lnTo>
                    <a:pt x="1759902" y="790972"/>
                  </a:lnTo>
                  <a:lnTo>
                    <a:pt x="1757680" y="791303"/>
                  </a:lnTo>
                  <a:lnTo>
                    <a:pt x="1752600" y="791303"/>
                  </a:lnTo>
                  <a:lnTo>
                    <a:pt x="1752282" y="791303"/>
                  </a:lnTo>
                  <a:lnTo>
                    <a:pt x="1751965" y="790972"/>
                  </a:lnTo>
                  <a:lnTo>
                    <a:pt x="1751330" y="789649"/>
                  </a:lnTo>
                  <a:lnTo>
                    <a:pt x="1750695" y="789319"/>
                  </a:lnTo>
                  <a:lnTo>
                    <a:pt x="1750060" y="789319"/>
                  </a:lnTo>
                  <a:lnTo>
                    <a:pt x="1748790" y="789649"/>
                  </a:lnTo>
                  <a:lnTo>
                    <a:pt x="1747202" y="790972"/>
                  </a:lnTo>
                  <a:lnTo>
                    <a:pt x="1743392" y="793949"/>
                  </a:lnTo>
                  <a:lnTo>
                    <a:pt x="1739265" y="796595"/>
                  </a:lnTo>
                  <a:lnTo>
                    <a:pt x="1734502" y="799240"/>
                  </a:lnTo>
                  <a:lnTo>
                    <a:pt x="1730057" y="801556"/>
                  </a:lnTo>
                  <a:lnTo>
                    <a:pt x="1725295" y="802878"/>
                  </a:lnTo>
                  <a:lnTo>
                    <a:pt x="1719897" y="804201"/>
                  </a:lnTo>
                  <a:lnTo>
                    <a:pt x="1713865" y="804863"/>
                  </a:lnTo>
                  <a:lnTo>
                    <a:pt x="1707515" y="804863"/>
                  </a:lnTo>
                  <a:lnTo>
                    <a:pt x="1702752" y="804201"/>
                  </a:lnTo>
                  <a:lnTo>
                    <a:pt x="1700847" y="803540"/>
                  </a:lnTo>
                  <a:lnTo>
                    <a:pt x="1699260" y="802548"/>
                  </a:lnTo>
                  <a:lnTo>
                    <a:pt x="1698307" y="801886"/>
                  </a:lnTo>
                  <a:lnTo>
                    <a:pt x="1697355" y="801225"/>
                  </a:lnTo>
                  <a:lnTo>
                    <a:pt x="1697037" y="799902"/>
                  </a:lnTo>
                  <a:lnTo>
                    <a:pt x="1697037" y="798579"/>
                  </a:lnTo>
                  <a:lnTo>
                    <a:pt x="1697037" y="797587"/>
                  </a:lnTo>
                  <a:lnTo>
                    <a:pt x="1697355" y="796264"/>
                  </a:lnTo>
                  <a:lnTo>
                    <a:pt x="1698625" y="793618"/>
                  </a:lnTo>
                  <a:lnTo>
                    <a:pt x="1700847" y="790972"/>
                  </a:lnTo>
                  <a:lnTo>
                    <a:pt x="1703387" y="787996"/>
                  </a:lnTo>
                  <a:lnTo>
                    <a:pt x="1709420" y="782704"/>
                  </a:lnTo>
                  <a:lnTo>
                    <a:pt x="1715452" y="778074"/>
                  </a:lnTo>
                  <a:lnTo>
                    <a:pt x="1722120" y="773113"/>
                  </a:lnTo>
                  <a:close/>
                  <a:moveTo>
                    <a:pt x="1800322" y="754463"/>
                  </a:moveTo>
                  <a:lnTo>
                    <a:pt x="1784168" y="754780"/>
                  </a:lnTo>
                  <a:lnTo>
                    <a:pt x="1768964" y="756049"/>
                  </a:lnTo>
                  <a:lnTo>
                    <a:pt x="1767697" y="764936"/>
                  </a:lnTo>
                  <a:lnTo>
                    <a:pt x="1720500" y="765888"/>
                  </a:lnTo>
                  <a:lnTo>
                    <a:pt x="1720183" y="764618"/>
                  </a:lnTo>
                  <a:lnTo>
                    <a:pt x="1713215" y="766522"/>
                  </a:lnTo>
                  <a:lnTo>
                    <a:pt x="1706880" y="768744"/>
                  </a:lnTo>
                  <a:lnTo>
                    <a:pt x="1700861" y="770966"/>
                  </a:lnTo>
                  <a:lnTo>
                    <a:pt x="1695476" y="773187"/>
                  </a:lnTo>
                  <a:lnTo>
                    <a:pt x="1690092" y="776043"/>
                  </a:lnTo>
                  <a:lnTo>
                    <a:pt x="1685340" y="778265"/>
                  </a:lnTo>
                  <a:lnTo>
                    <a:pt x="1680589" y="780804"/>
                  </a:lnTo>
                  <a:lnTo>
                    <a:pt x="1676471" y="783343"/>
                  </a:lnTo>
                  <a:lnTo>
                    <a:pt x="1673304" y="786199"/>
                  </a:lnTo>
                  <a:lnTo>
                    <a:pt x="1670136" y="789055"/>
                  </a:lnTo>
                  <a:lnTo>
                    <a:pt x="1667602" y="791594"/>
                  </a:lnTo>
                  <a:lnTo>
                    <a:pt x="1665385" y="794451"/>
                  </a:lnTo>
                  <a:lnTo>
                    <a:pt x="1663484" y="796989"/>
                  </a:lnTo>
                  <a:lnTo>
                    <a:pt x="1662217" y="799528"/>
                  </a:lnTo>
                  <a:lnTo>
                    <a:pt x="1661584" y="802067"/>
                  </a:lnTo>
                  <a:lnTo>
                    <a:pt x="1661267" y="804924"/>
                  </a:lnTo>
                  <a:lnTo>
                    <a:pt x="1661584" y="806828"/>
                  </a:lnTo>
                  <a:lnTo>
                    <a:pt x="1661900" y="808732"/>
                  </a:lnTo>
                  <a:lnTo>
                    <a:pt x="1662534" y="810954"/>
                  </a:lnTo>
                  <a:lnTo>
                    <a:pt x="1663801" y="813175"/>
                  </a:lnTo>
                  <a:lnTo>
                    <a:pt x="1665068" y="815079"/>
                  </a:lnTo>
                  <a:lnTo>
                    <a:pt x="1666969" y="817301"/>
                  </a:lnTo>
                  <a:lnTo>
                    <a:pt x="1671086" y="821427"/>
                  </a:lnTo>
                  <a:lnTo>
                    <a:pt x="1676154" y="825870"/>
                  </a:lnTo>
                  <a:lnTo>
                    <a:pt x="1682490" y="829995"/>
                  </a:lnTo>
                  <a:lnTo>
                    <a:pt x="1690092" y="833804"/>
                  </a:lnTo>
                  <a:lnTo>
                    <a:pt x="1698644" y="837930"/>
                  </a:lnTo>
                  <a:lnTo>
                    <a:pt x="1708147" y="841421"/>
                  </a:lnTo>
                  <a:lnTo>
                    <a:pt x="1718600" y="844594"/>
                  </a:lnTo>
                  <a:lnTo>
                    <a:pt x="1729686" y="847768"/>
                  </a:lnTo>
                  <a:lnTo>
                    <a:pt x="1742356" y="849989"/>
                  </a:lnTo>
                  <a:lnTo>
                    <a:pt x="1755660" y="852211"/>
                  </a:lnTo>
                  <a:lnTo>
                    <a:pt x="1769597" y="853798"/>
                  </a:lnTo>
                  <a:lnTo>
                    <a:pt x="1784485" y="854750"/>
                  </a:lnTo>
                  <a:lnTo>
                    <a:pt x="1800322" y="854750"/>
                  </a:lnTo>
                  <a:lnTo>
                    <a:pt x="1816477" y="854750"/>
                  </a:lnTo>
                  <a:lnTo>
                    <a:pt x="1831048" y="853798"/>
                  </a:lnTo>
                  <a:lnTo>
                    <a:pt x="1845302" y="852211"/>
                  </a:lnTo>
                  <a:lnTo>
                    <a:pt x="1858605" y="849989"/>
                  </a:lnTo>
                  <a:lnTo>
                    <a:pt x="1870959" y="847768"/>
                  </a:lnTo>
                  <a:lnTo>
                    <a:pt x="1882362" y="844594"/>
                  </a:lnTo>
                  <a:lnTo>
                    <a:pt x="1893132" y="841421"/>
                  </a:lnTo>
                  <a:lnTo>
                    <a:pt x="1902318" y="837930"/>
                  </a:lnTo>
                  <a:lnTo>
                    <a:pt x="1910870" y="833804"/>
                  </a:lnTo>
                  <a:lnTo>
                    <a:pt x="1918472" y="829995"/>
                  </a:lnTo>
                  <a:lnTo>
                    <a:pt x="1924807" y="825870"/>
                  </a:lnTo>
                  <a:lnTo>
                    <a:pt x="1930192" y="821427"/>
                  </a:lnTo>
                  <a:lnTo>
                    <a:pt x="1934310" y="817301"/>
                  </a:lnTo>
                  <a:lnTo>
                    <a:pt x="1935894" y="815079"/>
                  </a:lnTo>
                  <a:lnTo>
                    <a:pt x="1937161" y="813175"/>
                  </a:lnTo>
                  <a:lnTo>
                    <a:pt x="1938428" y="810954"/>
                  </a:lnTo>
                  <a:lnTo>
                    <a:pt x="1939061" y="808732"/>
                  </a:lnTo>
                  <a:lnTo>
                    <a:pt x="1939378" y="806828"/>
                  </a:lnTo>
                  <a:lnTo>
                    <a:pt x="1939378" y="804924"/>
                  </a:lnTo>
                  <a:lnTo>
                    <a:pt x="1939378" y="801750"/>
                  </a:lnTo>
                  <a:lnTo>
                    <a:pt x="1938428" y="799211"/>
                  </a:lnTo>
                  <a:lnTo>
                    <a:pt x="1936844" y="796037"/>
                  </a:lnTo>
                  <a:lnTo>
                    <a:pt x="1934627" y="793181"/>
                  </a:lnTo>
                  <a:lnTo>
                    <a:pt x="1932093" y="790325"/>
                  </a:lnTo>
                  <a:lnTo>
                    <a:pt x="1928925" y="787151"/>
                  </a:lnTo>
                  <a:lnTo>
                    <a:pt x="1924807" y="784295"/>
                  </a:lnTo>
                  <a:lnTo>
                    <a:pt x="1920689" y="781121"/>
                  </a:lnTo>
                  <a:lnTo>
                    <a:pt x="1915938" y="778265"/>
                  </a:lnTo>
                  <a:lnTo>
                    <a:pt x="1910236" y="775409"/>
                  </a:lnTo>
                  <a:lnTo>
                    <a:pt x="1904218" y="772870"/>
                  </a:lnTo>
                  <a:lnTo>
                    <a:pt x="1897883" y="770331"/>
                  </a:lnTo>
                  <a:lnTo>
                    <a:pt x="1890914" y="767475"/>
                  </a:lnTo>
                  <a:lnTo>
                    <a:pt x="1883629" y="765253"/>
                  </a:lnTo>
                  <a:lnTo>
                    <a:pt x="1875710" y="763349"/>
                  </a:lnTo>
                  <a:lnTo>
                    <a:pt x="1867158" y="761127"/>
                  </a:lnTo>
                  <a:lnTo>
                    <a:pt x="1867158" y="765888"/>
                  </a:lnTo>
                  <a:lnTo>
                    <a:pt x="1821228" y="765888"/>
                  </a:lnTo>
                  <a:lnTo>
                    <a:pt x="1820278" y="755097"/>
                  </a:lnTo>
                  <a:lnTo>
                    <a:pt x="1810459" y="754780"/>
                  </a:lnTo>
                  <a:lnTo>
                    <a:pt x="1800322" y="754463"/>
                  </a:lnTo>
                  <a:close/>
                  <a:moveTo>
                    <a:pt x="2034836" y="711200"/>
                  </a:moveTo>
                  <a:lnTo>
                    <a:pt x="2039938" y="721912"/>
                  </a:lnTo>
                  <a:lnTo>
                    <a:pt x="1973603" y="752475"/>
                  </a:lnTo>
                  <a:lnTo>
                    <a:pt x="1968500" y="741762"/>
                  </a:lnTo>
                  <a:lnTo>
                    <a:pt x="2034836" y="711200"/>
                  </a:lnTo>
                  <a:close/>
                  <a:moveTo>
                    <a:pt x="1625600" y="692150"/>
                  </a:moveTo>
                  <a:lnTo>
                    <a:pt x="1697038" y="735585"/>
                  </a:lnTo>
                  <a:lnTo>
                    <a:pt x="1690688" y="746125"/>
                  </a:lnTo>
                  <a:lnTo>
                    <a:pt x="1619250" y="702689"/>
                  </a:lnTo>
                  <a:lnTo>
                    <a:pt x="1625600" y="692150"/>
                  </a:lnTo>
                  <a:close/>
                  <a:moveTo>
                    <a:pt x="1231408" y="690563"/>
                  </a:moveTo>
                  <a:lnTo>
                    <a:pt x="1244414" y="691513"/>
                  </a:lnTo>
                  <a:lnTo>
                    <a:pt x="1256468" y="692463"/>
                  </a:lnTo>
                  <a:lnTo>
                    <a:pt x="1267888" y="694046"/>
                  </a:lnTo>
                  <a:lnTo>
                    <a:pt x="1279308" y="696262"/>
                  </a:lnTo>
                  <a:lnTo>
                    <a:pt x="1289776" y="698795"/>
                  </a:lnTo>
                  <a:lnTo>
                    <a:pt x="1299927" y="702277"/>
                  </a:lnTo>
                  <a:lnTo>
                    <a:pt x="1309761" y="705760"/>
                  </a:lnTo>
                  <a:lnTo>
                    <a:pt x="1318643" y="708926"/>
                  </a:lnTo>
                  <a:lnTo>
                    <a:pt x="1327208" y="713042"/>
                  </a:lnTo>
                  <a:lnTo>
                    <a:pt x="1335773" y="716841"/>
                  </a:lnTo>
                  <a:lnTo>
                    <a:pt x="1343069" y="720957"/>
                  </a:lnTo>
                  <a:lnTo>
                    <a:pt x="1350047" y="725073"/>
                  </a:lnTo>
                  <a:lnTo>
                    <a:pt x="1356392" y="729189"/>
                  </a:lnTo>
                  <a:lnTo>
                    <a:pt x="1367494" y="737104"/>
                  </a:lnTo>
                  <a:lnTo>
                    <a:pt x="1376059" y="744386"/>
                  </a:lnTo>
                  <a:lnTo>
                    <a:pt x="1382721" y="749769"/>
                  </a:lnTo>
                  <a:lnTo>
                    <a:pt x="1387479" y="754834"/>
                  </a:lnTo>
                  <a:lnTo>
                    <a:pt x="1385893" y="758634"/>
                  </a:lnTo>
                  <a:lnTo>
                    <a:pt x="1383672" y="762750"/>
                  </a:lnTo>
                  <a:lnTo>
                    <a:pt x="1380183" y="768132"/>
                  </a:lnTo>
                  <a:lnTo>
                    <a:pt x="1376694" y="774147"/>
                  </a:lnTo>
                  <a:lnTo>
                    <a:pt x="1371301" y="780796"/>
                  </a:lnTo>
                  <a:lnTo>
                    <a:pt x="1365274" y="787445"/>
                  </a:lnTo>
                  <a:lnTo>
                    <a:pt x="1361784" y="790928"/>
                  </a:lnTo>
                  <a:lnTo>
                    <a:pt x="1358295" y="793777"/>
                  </a:lnTo>
                  <a:lnTo>
                    <a:pt x="1354488" y="796627"/>
                  </a:lnTo>
                  <a:lnTo>
                    <a:pt x="1350047" y="799793"/>
                  </a:lnTo>
                  <a:lnTo>
                    <a:pt x="1345924" y="802326"/>
                  </a:lnTo>
                  <a:lnTo>
                    <a:pt x="1340848" y="804542"/>
                  </a:lnTo>
                  <a:lnTo>
                    <a:pt x="1336090" y="806758"/>
                  </a:lnTo>
                  <a:lnTo>
                    <a:pt x="1330380" y="808658"/>
                  </a:lnTo>
                  <a:lnTo>
                    <a:pt x="1324987" y="809924"/>
                  </a:lnTo>
                  <a:lnTo>
                    <a:pt x="1318960" y="810874"/>
                  </a:lnTo>
                  <a:lnTo>
                    <a:pt x="1312616" y="811507"/>
                  </a:lnTo>
                  <a:lnTo>
                    <a:pt x="1306271" y="811507"/>
                  </a:lnTo>
                  <a:lnTo>
                    <a:pt x="1299610" y="810557"/>
                  </a:lnTo>
                  <a:lnTo>
                    <a:pt x="1292948" y="809608"/>
                  </a:lnTo>
                  <a:lnTo>
                    <a:pt x="1285335" y="807708"/>
                  </a:lnTo>
                  <a:lnTo>
                    <a:pt x="1277405" y="805492"/>
                  </a:lnTo>
                  <a:lnTo>
                    <a:pt x="1269474" y="802009"/>
                  </a:lnTo>
                  <a:lnTo>
                    <a:pt x="1261227" y="798210"/>
                  </a:lnTo>
                  <a:lnTo>
                    <a:pt x="1251710" y="793777"/>
                  </a:lnTo>
                  <a:lnTo>
                    <a:pt x="1242194" y="789345"/>
                  </a:lnTo>
                  <a:lnTo>
                    <a:pt x="1281529" y="808341"/>
                  </a:lnTo>
                  <a:lnTo>
                    <a:pt x="1300244" y="816890"/>
                  </a:lnTo>
                  <a:lnTo>
                    <a:pt x="1309444" y="820689"/>
                  </a:lnTo>
                  <a:lnTo>
                    <a:pt x="1318009" y="823855"/>
                  </a:lnTo>
                  <a:lnTo>
                    <a:pt x="1326256" y="826388"/>
                  </a:lnTo>
                  <a:lnTo>
                    <a:pt x="1334187" y="828287"/>
                  </a:lnTo>
                  <a:lnTo>
                    <a:pt x="1341483" y="829870"/>
                  </a:lnTo>
                  <a:lnTo>
                    <a:pt x="1348779" y="830187"/>
                  </a:lnTo>
                  <a:lnTo>
                    <a:pt x="1352268" y="830187"/>
                  </a:lnTo>
                  <a:lnTo>
                    <a:pt x="1355440" y="829870"/>
                  </a:lnTo>
                  <a:lnTo>
                    <a:pt x="1358929" y="828921"/>
                  </a:lnTo>
                  <a:lnTo>
                    <a:pt x="1361784" y="828287"/>
                  </a:lnTo>
                  <a:lnTo>
                    <a:pt x="1364957" y="827021"/>
                  </a:lnTo>
                  <a:lnTo>
                    <a:pt x="1367494" y="826071"/>
                  </a:lnTo>
                  <a:lnTo>
                    <a:pt x="1370032" y="824488"/>
                  </a:lnTo>
                  <a:lnTo>
                    <a:pt x="1372887" y="822272"/>
                  </a:lnTo>
                  <a:lnTo>
                    <a:pt x="1373521" y="829554"/>
                  </a:lnTo>
                  <a:lnTo>
                    <a:pt x="1374473" y="835886"/>
                  </a:lnTo>
                  <a:lnTo>
                    <a:pt x="1374790" y="848234"/>
                  </a:lnTo>
                  <a:lnTo>
                    <a:pt x="1374790" y="860265"/>
                  </a:lnTo>
                  <a:lnTo>
                    <a:pt x="1373839" y="871346"/>
                  </a:lnTo>
                  <a:lnTo>
                    <a:pt x="1376059" y="869130"/>
                  </a:lnTo>
                  <a:lnTo>
                    <a:pt x="1377328" y="868813"/>
                  </a:lnTo>
                  <a:lnTo>
                    <a:pt x="1377962" y="868497"/>
                  </a:lnTo>
                  <a:lnTo>
                    <a:pt x="1379549" y="868813"/>
                  </a:lnTo>
                  <a:lnTo>
                    <a:pt x="1381135" y="869446"/>
                  </a:lnTo>
                  <a:lnTo>
                    <a:pt x="1382721" y="871030"/>
                  </a:lnTo>
                  <a:lnTo>
                    <a:pt x="1383672" y="872929"/>
                  </a:lnTo>
                  <a:lnTo>
                    <a:pt x="1384941" y="875462"/>
                  </a:lnTo>
                  <a:lnTo>
                    <a:pt x="1385893" y="878628"/>
                  </a:lnTo>
                  <a:lnTo>
                    <a:pt x="1388113" y="885277"/>
                  </a:lnTo>
                  <a:lnTo>
                    <a:pt x="1390017" y="893825"/>
                  </a:lnTo>
                  <a:lnTo>
                    <a:pt x="1391286" y="903640"/>
                  </a:lnTo>
                  <a:lnTo>
                    <a:pt x="1391920" y="914405"/>
                  </a:lnTo>
                  <a:lnTo>
                    <a:pt x="1392237" y="926119"/>
                  </a:lnTo>
                  <a:lnTo>
                    <a:pt x="1391920" y="937834"/>
                  </a:lnTo>
                  <a:lnTo>
                    <a:pt x="1391286" y="948599"/>
                  </a:lnTo>
                  <a:lnTo>
                    <a:pt x="1390017" y="958413"/>
                  </a:lnTo>
                  <a:lnTo>
                    <a:pt x="1388113" y="966645"/>
                  </a:lnTo>
                  <a:lnTo>
                    <a:pt x="1385893" y="973611"/>
                  </a:lnTo>
                  <a:lnTo>
                    <a:pt x="1384941" y="976777"/>
                  </a:lnTo>
                  <a:lnTo>
                    <a:pt x="1383672" y="978993"/>
                  </a:lnTo>
                  <a:lnTo>
                    <a:pt x="1382721" y="980893"/>
                  </a:lnTo>
                  <a:lnTo>
                    <a:pt x="1381135" y="982476"/>
                  </a:lnTo>
                  <a:lnTo>
                    <a:pt x="1379549" y="983425"/>
                  </a:lnTo>
                  <a:lnTo>
                    <a:pt x="1377962" y="983425"/>
                  </a:lnTo>
                  <a:lnTo>
                    <a:pt x="1376694" y="983425"/>
                  </a:lnTo>
                  <a:lnTo>
                    <a:pt x="1375425" y="982476"/>
                  </a:lnTo>
                  <a:lnTo>
                    <a:pt x="1373839" y="980893"/>
                  </a:lnTo>
                  <a:lnTo>
                    <a:pt x="1372570" y="978676"/>
                  </a:lnTo>
                  <a:lnTo>
                    <a:pt x="1371301" y="976143"/>
                  </a:lnTo>
                  <a:lnTo>
                    <a:pt x="1370032" y="972977"/>
                  </a:lnTo>
                  <a:lnTo>
                    <a:pt x="1367812" y="965379"/>
                  </a:lnTo>
                  <a:lnTo>
                    <a:pt x="1366860" y="975194"/>
                  </a:lnTo>
                  <a:lnTo>
                    <a:pt x="1364957" y="985325"/>
                  </a:lnTo>
                  <a:lnTo>
                    <a:pt x="1363053" y="994823"/>
                  </a:lnTo>
                  <a:lnTo>
                    <a:pt x="1360516" y="1004005"/>
                  </a:lnTo>
                  <a:lnTo>
                    <a:pt x="1357661" y="1013187"/>
                  </a:lnTo>
                  <a:lnTo>
                    <a:pt x="1354806" y="1021735"/>
                  </a:lnTo>
                  <a:lnTo>
                    <a:pt x="1351316" y="1030283"/>
                  </a:lnTo>
                  <a:lnTo>
                    <a:pt x="1347510" y="1038515"/>
                  </a:lnTo>
                  <a:lnTo>
                    <a:pt x="1343386" y="1046430"/>
                  </a:lnTo>
                  <a:lnTo>
                    <a:pt x="1339262" y="1054346"/>
                  </a:lnTo>
                  <a:lnTo>
                    <a:pt x="1334821" y="1061628"/>
                  </a:lnTo>
                  <a:lnTo>
                    <a:pt x="1330380" y="1068593"/>
                  </a:lnTo>
                  <a:lnTo>
                    <a:pt x="1325622" y="1075242"/>
                  </a:lnTo>
                  <a:lnTo>
                    <a:pt x="1320546" y="1081891"/>
                  </a:lnTo>
                  <a:lnTo>
                    <a:pt x="1315471" y="1088223"/>
                  </a:lnTo>
                  <a:lnTo>
                    <a:pt x="1309761" y="1094238"/>
                  </a:lnTo>
                  <a:lnTo>
                    <a:pt x="1304368" y="1099304"/>
                  </a:lnTo>
                  <a:lnTo>
                    <a:pt x="1298658" y="1104686"/>
                  </a:lnTo>
                  <a:lnTo>
                    <a:pt x="1293266" y="1109435"/>
                  </a:lnTo>
                  <a:lnTo>
                    <a:pt x="1287238" y="1113868"/>
                  </a:lnTo>
                  <a:lnTo>
                    <a:pt x="1281211" y="1118617"/>
                  </a:lnTo>
                  <a:lnTo>
                    <a:pt x="1275501" y="1122100"/>
                  </a:lnTo>
                  <a:lnTo>
                    <a:pt x="1269474" y="1125899"/>
                  </a:lnTo>
                  <a:lnTo>
                    <a:pt x="1263447" y="1129065"/>
                  </a:lnTo>
                  <a:lnTo>
                    <a:pt x="1257420" y="1131915"/>
                  </a:lnTo>
                  <a:lnTo>
                    <a:pt x="1251393" y="1134131"/>
                  </a:lnTo>
                  <a:lnTo>
                    <a:pt x="1245366" y="1136347"/>
                  </a:lnTo>
                  <a:lnTo>
                    <a:pt x="1239339" y="1137930"/>
                  </a:lnTo>
                  <a:lnTo>
                    <a:pt x="1233312" y="1139513"/>
                  </a:lnTo>
                  <a:lnTo>
                    <a:pt x="1227919" y="1140463"/>
                  </a:lnTo>
                  <a:lnTo>
                    <a:pt x="1222209" y="1141096"/>
                  </a:lnTo>
                  <a:lnTo>
                    <a:pt x="1216499" y="1141413"/>
                  </a:lnTo>
                  <a:lnTo>
                    <a:pt x="1212058" y="1141096"/>
                  </a:lnTo>
                  <a:lnTo>
                    <a:pt x="1207617" y="1140146"/>
                  </a:lnTo>
                  <a:lnTo>
                    <a:pt x="1202542" y="1139513"/>
                  </a:lnTo>
                  <a:lnTo>
                    <a:pt x="1197466" y="1137930"/>
                  </a:lnTo>
                  <a:lnTo>
                    <a:pt x="1192073" y="1136031"/>
                  </a:lnTo>
                  <a:lnTo>
                    <a:pt x="1186998" y="1133814"/>
                  </a:lnTo>
                  <a:lnTo>
                    <a:pt x="1181288" y="1131281"/>
                  </a:lnTo>
                  <a:lnTo>
                    <a:pt x="1175895" y="1128749"/>
                  </a:lnTo>
                  <a:lnTo>
                    <a:pt x="1170186" y="1125266"/>
                  </a:lnTo>
                  <a:lnTo>
                    <a:pt x="1164476" y="1121467"/>
                  </a:lnTo>
                  <a:lnTo>
                    <a:pt x="1158766" y="1117667"/>
                  </a:lnTo>
                  <a:lnTo>
                    <a:pt x="1153056" y="1113235"/>
                  </a:lnTo>
                  <a:lnTo>
                    <a:pt x="1147029" y="1108802"/>
                  </a:lnTo>
                  <a:lnTo>
                    <a:pt x="1141319" y="1103736"/>
                  </a:lnTo>
                  <a:lnTo>
                    <a:pt x="1135926" y="1098671"/>
                  </a:lnTo>
                  <a:lnTo>
                    <a:pt x="1130216" y="1092972"/>
                  </a:lnTo>
                  <a:lnTo>
                    <a:pt x="1124506" y="1087273"/>
                  </a:lnTo>
                  <a:lnTo>
                    <a:pt x="1118796" y="1080941"/>
                  </a:lnTo>
                  <a:lnTo>
                    <a:pt x="1113721" y="1074925"/>
                  </a:lnTo>
                  <a:lnTo>
                    <a:pt x="1108011" y="1068276"/>
                  </a:lnTo>
                  <a:lnTo>
                    <a:pt x="1102936" y="1061628"/>
                  </a:lnTo>
                  <a:lnTo>
                    <a:pt x="1097860" y="1054346"/>
                  </a:lnTo>
                  <a:lnTo>
                    <a:pt x="1092785" y="1046747"/>
                  </a:lnTo>
                  <a:lnTo>
                    <a:pt x="1088344" y="1039465"/>
                  </a:lnTo>
                  <a:lnTo>
                    <a:pt x="1083903" y="1031550"/>
                  </a:lnTo>
                  <a:lnTo>
                    <a:pt x="1079779" y="1023635"/>
                  </a:lnTo>
                  <a:lnTo>
                    <a:pt x="1075655" y="1015403"/>
                  </a:lnTo>
                  <a:lnTo>
                    <a:pt x="1071848" y="1007171"/>
                  </a:lnTo>
                  <a:lnTo>
                    <a:pt x="1068676" y="998623"/>
                  </a:lnTo>
                  <a:lnTo>
                    <a:pt x="1065187" y="989758"/>
                  </a:lnTo>
                  <a:lnTo>
                    <a:pt x="1062649" y="980893"/>
                  </a:lnTo>
                  <a:lnTo>
                    <a:pt x="1059794" y="972028"/>
                  </a:lnTo>
                  <a:lnTo>
                    <a:pt x="1057891" y="977726"/>
                  </a:lnTo>
                  <a:lnTo>
                    <a:pt x="1055670" y="982476"/>
                  </a:lnTo>
                  <a:lnTo>
                    <a:pt x="1054719" y="984375"/>
                  </a:lnTo>
                  <a:lnTo>
                    <a:pt x="1053133" y="985325"/>
                  </a:lnTo>
                  <a:lnTo>
                    <a:pt x="1051864" y="986275"/>
                  </a:lnTo>
                  <a:lnTo>
                    <a:pt x="1050595" y="986591"/>
                  </a:lnTo>
                  <a:lnTo>
                    <a:pt x="1049326" y="986275"/>
                  </a:lnTo>
                  <a:lnTo>
                    <a:pt x="1047740" y="985325"/>
                  </a:lnTo>
                  <a:lnTo>
                    <a:pt x="1046471" y="983742"/>
                  </a:lnTo>
                  <a:lnTo>
                    <a:pt x="1045202" y="982159"/>
                  </a:lnTo>
                  <a:lnTo>
                    <a:pt x="1044250" y="979309"/>
                  </a:lnTo>
                  <a:lnTo>
                    <a:pt x="1042664" y="976460"/>
                  </a:lnTo>
                  <a:lnTo>
                    <a:pt x="1040761" y="969495"/>
                  </a:lnTo>
                  <a:lnTo>
                    <a:pt x="1038858" y="960946"/>
                  </a:lnTo>
                  <a:lnTo>
                    <a:pt x="1037589" y="951131"/>
                  </a:lnTo>
                  <a:lnTo>
                    <a:pt x="1036954" y="940367"/>
                  </a:lnTo>
                  <a:lnTo>
                    <a:pt x="1036637" y="928652"/>
                  </a:lnTo>
                  <a:lnTo>
                    <a:pt x="1036954" y="917254"/>
                  </a:lnTo>
                  <a:lnTo>
                    <a:pt x="1037589" y="906173"/>
                  </a:lnTo>
                  <a:lnTo>
                    <a:pt x="1038858" y="896358"/>
                  </a:lnTo>
                  <a:lnTo>
                    <a:pt x="1040761" y="888126"/>
                  </a:lnTo>
                  <a:lnTo>
                    <a:pt x="1042664" y="881161"/>
                  </a:lnTo>
                  <a:lnTo>
                    <a:pt x="1044250" y="877995"/>
                  </a:lnTo>
                  <a:lnTo>
                    <a:pt x="1045202" y="875779"/>
                  </a:lnTo>
                  <a:lnTo>
                    <a:pt x="1046471" y="873879"/>
                  </a:lnTo>
                  <a:lnTo>
                    <a:pt x="1047740" y="872613"/>
                  </a:lnTo>
                  <a:lnTo>
                    <a:pt x="1049326" y="871346"/>
                  </a:lnTo>
                  <a:lnTo>
                    <a:pt x="1050595" y="871346"/>
                  </a:lnTo>
                  <a:lnTo>
                    <a:pt x="1051546" y="871346"/>
                  </a:lnTo>
                  <a:lnTo>
                    <a:pt x="1052498" y="871663"/>
                  </a:lnTo>
                  <a:lnTo>
                    <a:pt x="1052815" y="864381"/>
                  </a:lnTo>
                  <a:lnTo>
                    <a:pt x="1053133" y="856782"/>
                  </a:lnTo>
                  <a:lnTo>
                    <a:pt x="1053767" y="850133"/>
                  </a:lnTo>
                  <a:lnTo>
                    <a:pt x="1055036" y="843801"/>
                  </a:lnTo>
                  <a:lnTo>
                    <a:pt x="1054719" y="835886"/>
                  </a:lnTo>
                  <a:lnTo>
                    <a:pt x="1054401" y="827971"/>
                  </a:lnTo>
                  <a:lnTo>
                    <a:pt x="1054401" y="820689"/>
                  </a:lnTo>
                  <a:lnTo>
                    <a:pt x="1054401" y="814040"/>
                  </a:lnTo>
                  <a:lnTo>
                    <a:pt x="1055036" y="807708"/>
                  </a:lnTo>
                  <a:lnTo>
                    <a:pt x="1055670" y="801692"/>
                  </a:lnTo>
                  <a:lnTo>
                    <a:pt x="1057256" y="796310"/>
                  </a:lnTo>
                  <a:lnTo>
                    <a:pt x="1058842" y="791244"/>
                  </a:lnTo>
                  <a:lnTo>
                    <a:pt x="1060746" y="786179"/>
                  </a:lnTo>
                  <a:lnTo>
                    <a:pt x="1062649" y="781746"/>
                  </a:lnTo>
                  <a:lnTo>
                    <a:pt x="1064870" y="777630"/>
                  </a:lnTo>
                  <a:lnTo>
                    <a:pt x="1067407" y="773831"/>
                  </a:lnTo>
                  <a:lnTo>
                    <a:pt x="1070262" y="770665"/>
                  </a:lnTo>
                  <a:lnTo>
                    <a:pt x="1073434" y="767499"/>
                  </a:lnTo>
                  <a:lnTo>
                    <a:pt x="1076924" y="764649"/>
                  </a:lnTo>
                  <a:lnTo>
                    <a:pt x="1080096" y="762433"/>
                  </a:lnTo>
                  <a:lnTo>
                    <a:pt x="1064235" y="762433"/>
                  </a:lnTo>
                  <a:lnTo>
                    <a:pt x="1052498" y="762750"/>
                  </a:lnTo>
                  <a:lnTo>
                    <a:pt x="1041713" y="763383"/>
                  </a:lnTo>
                  <a:lnTo>
                    <a:pt x="1049009" y="759583"/>
                  </a:lnTo>
                  <a:lnTo>
                    <a:pt x="1056622" y="754834"/>
                  </a:lnTo>
                  <a:lnTo>
                    <a:pt x="1063918" y="749452"/>
                  </a:lnTo>
                  <a:lnTo>
                    <a:pt x="1071531" y="743753"/>
                  </a:lnTo>
                  <a:lnTo>
                    <a:pt x="1085806" y="733305"/>
                  </a:lnTo>
                  <a:lnTo>
                    <a:pt x="1092150" y="728872"/>
                  </a:lnTo>
                  <a:lnTo>
                    <a:pt x="1098495" y="725073"/>
                  </a:lnTo>
                  <a:lnTo>
                    <a:pt x="1106742" y="720957"/>
                  </a:lnTo>
                  <a:lnTo>
                    <a:pt x="1114990" y="717158"/>
                  </a:lnTo>
                  <a:lnTo>
                    <a:pt x="1122920" y="713675"/>
                  </a:lnTo>
                  <a:lnTo>
                    <a:pt x="1130851" y="710193"/>
                  </a:lnTo>
                  <a:lnTo>
                    <a:pt x="1138781" y="707660"/>
                  </a:lnTo>
                  <a:lnTo>
                    <a:pt x="1146711" y="704494"/>
                  </a:lnTo>
                  <a:lnTo>
                    <a:pt x="1161938" y="700061"/>
                  </a:lnTo>
                  <a:lnTo>
                    <a:pt x="1176847" y="696262"/>
                  </a:lnTo>
                  <a:lnTo>
                    <a:pt x="1191439" y="693729"/>
                  </a:lnTo>
                  <a:lnTo>
                    <a:pt x="1205397" y="692146"/>
                  </a:lnTo>
                  <a:lnTo>
                    <a:pt x="1218720" y="691196"/>
                  </a:lnTo>
                  <a:lnTo>
                    <a:pt x="1231408" y="690563"/>
                  </a:lnTo>
                  <a:close/>
                  <a:moveTo>
                    <a:pt x="1798422" y="585942"/>
                  </a:moveTo>
                  <a:lnTo>
                    <a:pt x="1795888" y="586577"/>
                  </a:lnTo>
                  <a:lnTo>
                    <a:pt x="1792720" y="586577"/>
                  </a:lnTo>
                  <a:lnTo>
                    <a:pt x="1789236" y="586577"/>
                  </a:lnTo>
                  <a:lnTo>
                    <a:pt x="1771814" y="728756"/>
                  </a:lnTo>
                  <a:lnTo>
                    <a:pt x="1786068" y="727804"/>
                  </a:lnTo>
                  <a:lnTo>
                    <a:pt x="1800322" y="727487"/>
                  </a:lnTo>
                  <a:lnTo>
                    <a:pt x="1808558" y="727804"/>
                  </a:lnTo>
                  <a:lnTo>
                    <a:pt x="1816477" y="728121"/>
                  </a:lnTo>
                  <a:lnTo>
                    <a:pt x="1798422" y="585942"/>
                  </a:lnTo>
                  <a:close/>
                  <a:moveTo>
                    <a:pt x="2691328" y="534988"/>
                  </a:moveTo>
                  <a:lnTo>
                    <a:pt x="2700209" y="535623"/>
                  </a:lnTo>
                  <a:lnTo>
                    <a:pt x="2709091" y="535940"/>
                  </a:lnTo>
                  <a:lnTo>
                    <a:pt x="2718289" y="536893"/>
                  </a:lnTo>
                  <a:lnTo>
                    <a:pt x="2727170" y="538480"/>
                  </a:lnTo>
                  <a:lnTo>
                    <a:pt x="2736368" y="540385"/>
                  </a:lnTo>
                  <a:lnTo>
                    <a:pt x="2745249" y="542608"/>
                  </a:lnTo>
                  <a:lnTo>
                    <a:pt x="2753813" y="544830"/>
                  </a:lnTo>
                  <a:lnTo>
                    <a:pt x="2763011" y="548005"/>
                  </a:lnTo>
                  <a:lnTo>
                    <a:pt x="2771575" y="550863"/>
                  </a:lnTo>
                  <a:lnTo>
                    <a:pt x="2780139" y="554355"/>
                  </a:lnTo>
                  <a:lnTo>
                    <a:pt x="2789020" y="558165"/>
                  </a:lnTo>
                  <a:lnTo>
                    <a:pt x="2797267" y="561658"/>
                  </a:lnTo>
                  <a:lnTo>
                    <a:pt x="2812809" y="569595"/>
                  </a:lnTo>
                  <a:lnTo>
                    <a:pt x="2827716" y="577850"/>
                  </a:lnTo>
                  <a:lnTo>
                    <a:pt x="2841355" y="586105"/>
                  </a:lnTo>
                  <a:lnTo>
                    <a:pt x="2853408" y="594678"/>
                  </a:lnTo>
                  <a:lnTo>
                    <a:pt x="2864509" y="602933"/>
                  </a:lnTo>
                  <a:lnTo>
                    <a:pt x="2873073" y="609918"/>
                  </a:lnTo>
                  <a:lnTo>
                    <a:pt x="2879734" y="616585"/>
                  </a:lnTo>
                  <a:lnTo>
                    <a:pt x="2882271" y="619760"/>
                  </a:lnTo>
                  <a:lnTo>
                    <a:pt x="2884809" y="622300"/>
                  </a:lnTo>
                  <a:lnTo>
                    <a:pt x="2886077" y="624523"/>
                  </a:lnTo>
                  <a:lnTo>
                    <a:pt x="2887029" y="626428"/>
                  </a:lnTo>
                  <a:lnTo>
                    <a:pt x="2887346" y="630238"/>
                  </a:lnTo>
                  <a:lnTo>
                    <a:pt x="2887663" y="635635"/>
                  </a:lnTo>
                  <a:lnTo>
                    <a:pt x="2887663" y="650875"/>
                  </a:lnTo>
                  <a:lnTo>
                    <a:pt x="2887029" y="671513"/>
                  </a:lnTo>
                  <a:lnTo>
                    <a:pt x="2885443" y="697230"/>
                  </a:lnTo>
                  <a:lnTo>
                    <a:pt x="2883540" y="726123"/>
                  </a:lnTo>
                  <a:lnTo>
                    <a:pt x="2881320" y="758190"/>
                  </a:lnTo>
                  <a:lnTo>
                    <a:pt x="2875610" y="827723"/>
                  </a:lnTo>
                  <a:lnTo>
                    <a:pt x="2868950" y="899161"/>
                  </a:lnTo>
                  <a:lnTo>
                    <a:pt x="2861654" y="965518"/>
                  </a:lnTo>
                  <a:lnTo>
                    <a:pt x="2858483" y="995363"/>
                  </a:lnTo>
                  <a:lnTo>
                    <a:pt x="2854994" y="1021398"/>
                  </a:lnTo>
                  <a:lnTo>
                    <a:pt x="2852139" y="1042671"/>
                  </a:lnTo>
                  <a:lnTo>
                    <a:pt x="2848967" y="1059181"/>
                  </a:lnTo>
                  <a:lnTo>
                    <a:pt x="2838817" y="1062991"/>
                  </a:lnTo>
                  <a:lnTo>
                    <a:pt x="2828985" y="1066483"/>
                  </a:lnTo>
                  <a:lnTo>
                    <a:pt x="2820104" y="1069023"/>
                  </a:lnTo>
                  <a:lnTo>
                    <a:pt x="2810905" y="1070928"/>
                  </a:lnTo>
                  <a:lnTo>
                    <a:pt x="2803293" y="1072198"/>
                  </a:lnTo>
                  <a:lnTo>
                    <a:pt x="2795998" y="1072516"/>
                  </a:lnTo>
                  <a:lnTo>
                    <a:pt x="2792509" y="1072198"/>
                  </a:lnTo>
                  <a:lnTo>
                    <a:pt x="2789654" y="1071563"/>
                  </a:lnTo>
                  <a:lnTo>
                    <a:pt x="2786483" y="1070928"/>
                  </a:lnTo>
                  <a:lnTo>
                    <a:pt x="2784262" y="1070293"/>
                  </a:lnTo>
                  <a:lnTo>
                    <a:pt x="2785214" y="1057911"/>
                  </a:lnTo>
                  <a:lnTo>
                    <a:pt x="2786165" y="1039813"/>
                  </a:lnTo>
                  <a:lnTo>
                    <a:pt x="2787751" y="990918"/>
                  </a:lnTo>
                  <a:lnTo>
                    <a:pt x="2789337" y="930276"/>
                  </a:lnTo>
                  <a:lnTo>
                    <a:pt x="2790289" y="865188"/>
                  </a:lnTo>
                  <a:lnTo>
                    <a:pt x="2790606" y="803593"/>
                  </a:lnTo>
                  <a:lnTo>
                    <a:pt x="2790606" y="775653"/>
                  </a:lnTo>
                  <a:lnTo>
                    <a:pt x="2790289" y="751840"/>
                  </a:lnTo>
                  <a:lnTo>
                    <a:pt x="2789654" y="731838"/>
                  </a:lnTo>
                  <a:lnTo>
                    <a:pt x="2788386" y="717233"/>
                  </a:lnTo>
                  <a:lnTo>
                    <a:pt x="2788068" y="711835"/>
                  </a:lnTo>
                  <a:lnTo>
                    <a:pt x="2787434" y="708343"/>
                  </a:lnTo>
                  <a:lnTo>
                    <a:pt x="2786483" y="707073"/>
                  </a:lnTo>
                  <a:lnTo>
                    <a:pt x="2785848" y="706438"/>
                  </a:lnTo>
                  <a:lnTo>
                    <a:pt x="2785531" y="707073"/>
                  </a:lnTo>
                  <a:lnTo>
                    <a:pt x="2780773" y="713740"/>
                  </a:lnTo>
                  <a:lnTo>
                    <a:pt x="2775381" y="720725"/>
                  </a:lnTo>
                  <a:lnTo>
                    <a:pt x="2774113" y="722630"/>
                  </a:lnTo>
                  <a:lnTo>
                    <a:pt x="2757936" y="960756"/>
                  </a:lnTo>
                  <a:lnTo>
                    <a:pt x="2753813" y="1010921"/>
                  </a:lnTo>
                  <a:lnTo>
                    <a:pt x="2750324" y="1049338"/>
                  </a:lnTo>
                  <a:lnTo>
                    <a:pt x="2746835" y="1083946"/>
                  </a:lnTo>
                  <a:lnTo>
                    <a:pt x="2746518" y="1087438"/>
                  </a:lnTo>
                  <a:lnTo>
                    <a:pt x="2744932" y="1092836"/>
                  </a:lnTo>
                  <a:lnTo>
                    <a:pt x="2742712" y="1097916"/>
                  </a:lnTo>
                  <a:lnTo>
                    <a:pt x="2740491" y="1103631"/>
                  </a:lnTo>
                  <a:lnTo>
                    <a:pt x="2737637" y="1109028"/>
                  </a:lnTo>
                  <a:lnTo>
                    <a:pt x="2732245" y="1119506"/>
                  </a:lnTo>
                  <a:lnTo>
                    <a:pt x="2725267" y="1129666"/>
                  </a:lnTo>
                  <a:lnTo>
                    <a:pt x="2699258" y="1479233"/>
                  </a:lnTo>
                  <a:lnTo>
                    <a:pt x="2716386" y="1483361"/>
                  </a:lnTo>
                  <a:lnTo>
                    <a:pt x="2732879" y="1487488"/>
                  </a:lnTo>
                  <a:lnTo>
                    <a:pt x="2870853" y="1410971"/>
                  </a:lnTo>
                  <a:lnTo>
                    <a:pt x="2876879" y="1421766"/>
                  </a:lnTo>
                  <a:lnTo>
                    <a:pt x="2749055" y="1492886"/>
                  </a:lnTo>
                  <a:lnTo>
                    <a:pt x="2761743" y="1497013"/>
                  </a:lnTo>
                  <a:lnTo>
                    <a:pt x="2773795" y="1501776"/>
                  </a:lnTo>
                  <a:lnTo>
                    <a:pt x="2785214" y="1507173"/>
                  </a:lnTo>
                  <a:lnTo>
                    <a:pt x="2795998" y="1512253"/>
                  </a:lnTo>
                  <a:lnTo>
                    <a:pt x="2805831" y="1517968"/>
                  </a:lnTo>
                  <a:lnTo>
                    <a:pt x="2815029" y="1524001"/>
                  </a:lnTo>
                  <a:lnTo>
                    <a:pt x="2823910" y="1530033"/>
                  </a:lnTo>
                  <a:lnTo>
                    <a:pt x="2831839" y="1536383"/>
                  </a:lnTo>
                  <a:lnTo>
                    <a:pt x="2838500" y="1543051"/>
                  </a:lnTo>
                  <a:lnTo>
                    <a:pt x="2844844" y="1550036"/>
                  </a:lnTo>
                  <a:lnTo>
                    <a:pt x="2850236" y="1557021"/>
                  </a:lnTo>
                  <a:lnTo>
                    <a:pt x="2854359" y="1564323"/>
                  </a:lnTo>
                  <a:lnTo>
                    <a:pt x="2856262" y="1568133"/>
                  </a:lnTo>
                  <a:lnTo>
                    <a:pt x="2857848" y="1571626"/>
                  </a:lnTo>
                  <a:lnTo>
                    <a:pt x="2859117" y="1575436"/>
                  </a:lnTo>
                  <a:lnTo>
                    <a:pt x="2860386" y="1579246"/>
                  </a:lnTo>
                  <a:lnTo>
                    <a:pt x="2861337" y="1583056"/>
                  </a:lnTo>
                  <a:lnTo>
                    <a:pt x="2861654" y="1586866"/>
                  </a:lnTo>
                  <a:lnTo>
                    <a:pt x="2861972" y="1590993"/>
                  </a:lnTo>
                  <a:lnTo>
                    <a:pt x="2862606" y="1594803"/>
                  </a:lnTo>
                  <a:lnTo>
                    <a:pt x="2861972" y="1598931"/>
                  </a:lnTo>
                  <a:lnTo>
                    <a:pt x="2861654" y="1603058"/>
                  </a:lnTo>
                  <a:lnTo>
                    <a:pt x="2861020" y="1607186"/>
                  </a:lnTo>
                  <a:lnTo>
                    <a:pt x="2860386" y="1611313"/>
                  </a:lnTo>
                  <a:lnTo>
                    <a:pt x="2858800" y="1615123"/>
                  </a:lnTo>
                  <a:lnTo>
                    <a:pt x="2857214" y="1619251"/>
                  </a:lnTo>
                  <a:lnTo>
                    <a:pt x="2855628" y="1622743"/>
                  </a:lnTo>
                  <a:lnTo>
                    <a:pt x="2853408" y="1626553"/>
                  </a:lnTo>
                  <a:lnTo>
                    <a:pt x="2851187" y="1630681"/>
                  </a:lnTo>
                  <a:lnTo>
                    <a:pt x="2848967" y="1634491"/>
                  </a:lnTo>
                  <a:lnTo>
                    <a:pt x="2842941" y="1641793"/>
                  </a:lnTo>
                  <a:lnTo>
                    <a:pt x="2836597" y="1648778"/>
                  </a:lnTo>
                  <a:lnTo>
                    <a:pt x="2828668" y="1655763"/>
                  </a:lnTo>
                  <a:lnTo>
                    <a:pt x="2820421" y="1662431"/>
                  </a:lnTo>
                  <a:lnTo>
                    <a:pt x="2810905" y="1668781"/>
                  </a:lnTo>
                  <a:lnTo>
                    <a:pt x="2800756" y="1674813"/>
                  </a:lnTo>
                  <a:lnTo>
                    <a:pt x="2789972" y="1680528"/>
                  </a:lnTo>
                  <a:lnTo>
                    <a:pt x="2778236" y="1685926"/>
                  </a:lnTo>
                  <a:lnTo>
                    <a:pt x="2765866" y="1691006"/>
                  </a:lnTo>
                  <a:lnTo>
                    <a:pt x="2752861" y="1695768"/>
                  </a:lnTo>
                  <a:lnTo>
                    <a:pt x="2739223" y="1700213"/>
                  </a:lnTo>
                  <a:lnTo>
                    <a:pt x="2869267" y="1786891"/>
                  </a:lnTo>
                  <a:lnTo>
                    <a:pt x="2862606" y="1797051"/>
                  </a:lnTo>
                  <a:lnTo>
                    <a:pt x="2723998" y="1704341"/>
                  </a:lnTo>
                  <a:lnTo>
                    <a:pt x="2707822" y="1708151"/>
                  </a:lnTo>
                  <a:lnTo>
                    <a:pt x="2690694" y="1711961"/>
                  </a:lnTo>
                  <a:lnTo>
                    <a:pt x="2673566" y="1715136"/>
                  </a:lnTo>
                  <a:lnTo>
                    <a:pt x="2655487" y="1717358"/>
                  </a:lnTo>
                  <a:lnTo>
                    <a:pt x="2637091" y="1719581"/>
                  </a:lnTo>
                  <a:lnTo>
                    <a:pt x="2618060" y="1720533"/>
                  </a:lnTo>
                  <a:lnTo>
                    <a:pt x="2598712" y="1721803"/>
                  </a:lnTo>
                  <a:lnTo>
                    <a:pt x="2579046" y="1721803"/>
                  </a:lnTo>
                  <a:lnTo>
                    <a:pt x="2563822" y="1721803"/>
                  </a:lnTo>
                  <a:lnTo>
                    <a:pt x="2549549" y="1721486"/>
                  </a:lnTo>
                  <a:lnTo>
                    <a:pt x="2534958" y="1720533"/>
                  </a:lnTo>
                  <a:lnTo>
                    <a:pt x="2521002" y="1719581"/>
                  </a:lnTo>
                  <a:lnTo>
                    <a:pt x="2507046" y="1717993"/>
                  </a:lnTo>
                  <a:lnTo>
                    <a:pt x="2493725" y="1716088"/>
                  </a:lnTo>
                  <a:lnTo>
                    <a:pt x="2480403" y="1714183"/>
                  </a:lnTo>
                  <a:lnTo>
                    <a:pt x="2467399" y="1711961"/>
                  </a:lnTo>
                  <a:lnTo>
                    <a:pt x="2455029" y="1709738"/>
                  </a:lnTo>
                  <a:lnTo>
                    <a:pt x="2442659" y="1706881"/>
                  </a:lnTo>
                  <a:lnTo>
                    <a:pt x="2430923" y="1703706"/>
                  </a:lnTo>
                  <a:lnTo>
                    <a:pt x="2419187" y="1700213"/>
                  </a:lnTo>
                  <a:lnTo>
                    <a:pt x="2408086" y="1697038"/>
                  </a:lnTo>
                  <a:lnTo>
                    <a:pt x="2397619" y="1693228"/>
                  </a:lnTo>
                  <a:lnTo>
                    <a:pt x="2387469" y="1689418"/>
                  </a:lnTo>
                  <a:lnTo>
                    <a:pt x="2377637" y="1684973"/>
                  </a:lnTo>
                  <a:lnTo>
                    <a:pt x="2368121" y="1680846"/>
                  </a:lnTo>
                  <a:lnTo>
                    <a:pt x="2359240" y="1676401"/>
                  </a:lnTo>
                  <a:lnTo>
                    <a:pt x="2350994" y="1671321"/>
                  </a:lnTo>
                  <a:lnTo>
                    <a:pt x="2343064" y="1666558"/>
                  </a:lnTo>
                  <a:lnTo>
                    <a:pt x="2335769" y="1661161"/>
                  </a:lnTo>
                  <a:lnTo>
                    <a:pt x="2329108" y="1656081"/>
                  </a:lnTo>
                  <a:lnTo>
                    <a:pt x="2322764" y="1650366"/>
                  </a:lnTo>
                  <a:lnTo>
                    <a:pt x="2317055" y="1644651"/>
                  </a:lnTo>
                  <a:lnTo>
                    <a:pt x="2312298" y="1638936"/>
                  </a:lnTo>
                  <a:lnTo>
                    <a:pt x="2307857" y="1632903"/>
                  </a:lnTo>
                  <a:lnTo>
                    <a:pt x="2304051" y="1627188"/>
                  </a:lnTo>
                  <a:lnTo>
                    <a:pt x="2300879" y="1620521"/>
                  </a:lnTo>
                  <a:lnTo>
                    <a:pt x="2298659" y="1614171"/>
                  </a:lnTo>
                  <a:lnTo>
                    <a:pt x="2296756" y="1607821"/>
                  </a:lnTo>
                  <a:lnTo>
                    <a:pt x="2295804" y="1601471"/>
                  </a:lnTo>
                  <a:lnTo>
                    <a:pt x="2295170" y="1594803"/>
                  </a:lnTo>
                  <a:lnTo>
                    <a:pt x="2295170" y="1590676"/>
                  </a:lnTo>
                  <a:lnTo>
                    <a:pt x="2296121" y="1585913"/>
                  </a:lnTo>
                  <a:lnTo>
                    <a:pt x="2296756" y="1581468"/>
                  </a:lnTo>
                  <a:lnTo>
                    <a:pt x="2298024" y="1577341"/>
                  </a:lnTo>
                  <a:lnTo>
                    <a:pt x="2299293" y="1573213"/>
                  </a:lnTo>
                  <a:lnTo>
                    <a:pt x="2300879" y="1568768"/>
                  </a:lnTo>
                  <a:lnTo>
                    <a:pt x="2302782" y="1564641"/>
                  </a:lnTo>
                  <a:lnTo>
                    <a:pt x="2305320" y="1560831"/>
                  </a:lnTo>
                  <a:lnTo>
                    <a:pt x="2307857" y="1556703"/>
                  </a:lnTo>
                  <a:lnTo>
                    <a:pt x="2310712" y="1552576"/>
                  </a:lnTo>
                  <a:lnTo>
                    <a:pt x="2313566" y="1548766"/>
                  </a:lnTo>
                  <a:lnTo>
                    <a:pt x="2317372" y="1544956"/>
                  </a:lnTo>
                  <a:lnTo>
                    <a:pt x="2320861" y="1541146"/>
                  </a:lnTo>
                  <a:lnTo>
                    <a:pt x="2324985" y="1537653"/>
                  </a:lnTo>
                  <a:lnTo>
                    <a:pt x="2333549" y="1530351"/>
                  </a:lnTo>
                  <a:lnTo>
                    <a:pt x="2343064" y="1523366"/>
                  </a:lnTo>
                  <a:lnTo>
                    <a:pt x="2353848" y="1517016"/>
                  </a:lnTo>
                  <a:lnTo>
                    <a:pt x="2365267" y="1510348"/>
                  </a:lnTo>
                  <a:lnTo>
                    <a:pt x="2377637" y="1504316"/>
                  </a:lnTo>
                  <a:lnTo>
                    <a:pt x="2390641" y="1499236"/>
                  </a:lnTo>
                  <a:lnTo>
                    <a:pt x="2404597" y="1493838"/>
                  </a:lnTo>
                  <a:lnTo>
                    <a:pt x="2419187" y="1489393"/>
                  </a:lnTo>
                  <a:lnTo>
                    <a:pt x="2434729" y="1484948"/>
                  </a:lnTo>
                  <a:lnTo>
                    <a:pt x="2421090" y="1301751"/>
                  </a:lnTo>
                  <a:lnTo>
                    <a:pt x="2390958" y="1273493"/>
                  </a:lnTo>
                  <a:lnTo>
                    <a:pt x="2399205" y="1264603"/>
                  </a:lnTo>
                  <a:lnTo>
                    <a:pt x="2419505" y="1283653"/>
                  </a:lnTo>
                  <a:lnTo>
                    <a:pt x="2407769" y="1124268"/>
                  </a:lnTo>
                  <a:lnTo>
                    <a:pt x="2401742" y="1115378"/>
                  </a:lnTo>
                  <a:lnTo>
                    <a:pt x="2396350" y="1106171"/>
                  </a:lnTo>
                  <a:lnTo>
                    <a:pt x="2391910" y="1097281"/>
                  </a:lnTo>
                  <a:lnTo>
                    <a:pt x="2390007" y="1092201"/>
                  </a:lnTo>
                  <a:lnTo>
                    <a:pt x="2388104" y="1087756"/>
                  </a:lnTo>
                  <a:lnTo>
                    <a:pt x="2387787" y="1083946"/>
                  </a:lnTo>
                  <a:lnTo>
                    <a:pt x="2382712" y="1029971"/>
                  </a:lnTo>
                  <a:lnTo>
                    <a:pt x="2377320" y="970916"/>
                  </a:lnTo>
                  <a:lnTo>
                    <a:pt x="2371293" y="897573"/>
                  </a:lnTo>
                  <a:lnTo>
                    <a:pt x="2359240" y="716280"/>
                  </a:lnTo>
                  <a:lnTo>
                    <a:pt x="2354165" y="712153"/>
                  </a:lnTo>
                  <a:lnTo>
                    <a:pt x="2349090" y="707073"/>
                  </a:lnTo>
                  <a:lnTo>
                    <a:pt x="2348773" y="707073"/>
                  </a:lnTo>
                  <a:lnTo>
                    <a:pt x="2348773" y="707390"/>
                  </a:lnTo>
                  <a:lnTo>
                    <a:pt x="2347822" y="709295"/>
                  </a:lnTo>
                  <a:lnTo>
                    <a:pt x="2347505" y="713105"/>
                  </a:lnTo>
                  <a:lnTo>
                    <a:pt x="2347187" y="718503"/>
                  </a:lnTo>
                  <a:lnTo>
                    <a:pt x="2347187" y="733743"/>
                  </a:lnTo>
                  <a:lnTo>
                    <a:pt x="2347187" y="754063"/>
                  </a:lnTo>
                  <a:lnTo>
                    <a:pt x="2348773" y="806133"/>
                  </a:lnTo>
                  <a:lnTo>
                    <a:pt x="2350994" y="868363"/>
                  </a:lnTo>
                  <a:lnTo>
                    <a:pt x="2353848" y="932498"/>
                  </a:lnTo>
                  <a:lnTo>
                    <a:pt x="2357020" y="993141"/>
                  </a:lnTo>
                  <a:lnTo>
                    <a:pt x="2359875" y="1041718"/>
                  </a:lnTo>
                  <a:lnTo>
                    <a:pt x="2362095" y="1072198"/>
                  </a:lnTo>
                  <a:lnTo>
                    <a:pt x="2348139" y="1072516"/>
                  </a:lnTo>
                  <a:lnTo>
                    <a:pt x="2339258" y="1072198"/>
                  </a:lnTo>
                  <a:lnTo>
                    <a:pt x="2329108" y="1071246"/>
                  </a:lnTo>
                  <a:lnTo>
                    <a:pt x="2323716" y="1070611"/>
                  </a:lnTo>
                  <a:lnTo>
                    <a:pt x="2318641" y="1069658"/>
                  </a:lnTo>
                  <a:lnTo>
                    <a:pt x="2312932" y="1068706"/>
                  </a:lnTo>
                  <a:lnTo>
                    <a:pt x="2307223" y="1067118"/>
                  </a:lnTo>
                  <a:lnTo>
                    <a:pt x="2302148" y="1065213"/>
                  </a:lnTo>
                  <a:lnTo>
                    <a:pt x="2296438" y="1062991"/>
                  </a:lnTo>
                  <a:lnTo>
                    <a:pt x="2290729" y="1060451"/>
                  </a:lnTo>
                  <a:lnTo>
                    <a:pt x="2285654" y="1057276"/>
                  </a:lnTo>
                  <a:lnTo>
                    <a:pt x="2282800" y="1041718"/>
                  </a:lnTo>
                  <a:lnTo>
                    <a:pt x="2280262" y="1020446"/>
                  </a:lnTo>
                  <a:lnTo>
                    <a:pt x="2277408" y="995681"/>
                  </a:lnTo>
                  <a:lnTo>
                    <a:pt x="2274553" y="967423"/>
                  </a:lnTo>
                  <a:lnTo>
                    <a:pt x="2272016" y="936626"/>
                  </a:lnTo>
                  <a:lnTo>
                    <a:pt x="2269478" y="904241"/>
                  </a:lnTo>
                  <a:lnTo>
                    <a:pt x="2264403" y="836930"/>
                  </a:lnTo>
                  <a:lnTo>
                    <a:pt x="2260597" y="771525"/>
                  </a:lnTo>
                  <a:lnTo>
                    <a:pt x="2259328" y="741680"/>
                  </a:lnTo>
                  <a:lnTo>
                    <a:pt x="2258060" y="714058"/>
                  </a:lnTo>
                  <a:lnTo>
                    <a:pt x="2257425" y="689928"/>
                  </a:lnTo>
                  <a:lnTo>
                    <a:pt x="2257425" y="670560"/>
                  </a:lnTo>
                  <a:lnTo>
                    <a:pt x="2257425" y="655955"/>
                  </a:lnTo>
                  <a:lnTo>
                    <a:pt x="2257742" y="650875"/>
                  </a:lnTo>
                  <a:lnTo>
                    <a:pt x="2258377" y="647065"/>
                  </a:lnTo>
                  <a:lnTo>
                    <a:pt x="2259011" y="641033"/>
                  </a:lnTo>
                  <a:lnTo>
                    <a:pt x="2260280" y="635635"/>
                  </a:lnTo>
                  <a:lnTo>
                    <a:pt x="2262183" y="629920"/>
                  </a:lnTo>
                  <a:lnTo>
                    <a:pt x="2264403" y="624205"/>
                  </a:lnTo>
                  <a:lnTo>
                    <a:pt x="2267575" y="619125"/>
                  </a:lnTo>
                  <a:lnTo>
                    <a:pt x="2271381" y="614045"/>
                  </a:lnTo>
                  <a:lnTo>
                    <a:pt x="2275505" y="609283"/>
                  </a:lnTo>
                  <a:lnTo>
                    <a:pt x="2279945" y="604203"/>
                  </a:lnTo>
                  <a:lnTo>
                    <a:pt x="2284703" y="599758"/>
                  </a:lnTo>
                  <a:lnTo>
                    <a:pt x="2290412" y="595313"/>
                  </a:lnTo>
                  <a:lnTo>
                    <a:pt x="2296121" y="591185"/>
                  </a:lnTo>
                  <a:lnTo>
                    <a:pt x="2302465" y="587058"/>
                  </a:lnTo>
                  <a:lnTo>
                    <a:pt x="2309126" y="583248"/>
                  </a:lnTo>
                  <a:lnTo>
                    <a:pt x="2316104" y="579438"/>
                  </a:lnTo>
                  <a:lnTo>
                    <a:pt x="2323399" y="575628"/>
                  </a:lnTo>
                  <a:lnTo>
                    <a:pt x="2331011" y="572453"/>
                  </a:lnTo>
                  <a:lnTo>
                    <a:pt x="2338941" y="568960"/>
                  </a:lnTo>
                  <a:lnTo>
                    <a:pt x="2347187" y="566103"/>
                  </a:lnTo>
                  <a:lnTo>
                    <a:pt x="2363681" y="560070"/>
                  </a:lnTo>
                  <a:lnTo>
                    <a:pt x="2381443" y="554673"/>
                  </a:lnTo>
                  <a:lnTo>
                    <a:pt x="2399205" y="550228"/>
                  </a:lnTo>
                  <a:lnTo>
                    <a:pt x="2417284" y="546100"/>
                  </a:lnTo>
                  <a:lnTo>
                    <a:pt x="2435681" y="542290"/>
                  </a:lnTo>
                  <a:lnTo>
                    <a:pt x="2453760" y="539115"/>
                  </a:lnTo>
                  <a:lnTo>
                    <a:pt x="2471522" y="536575"/>
                  </a:lnTo>
                  <a:lnTo>
                    <a:pt x="2475646" y="536258"/>
                  </a:lnTo>
                  <a:lnTo>
                    <a:pt x="2479769" y="536258"/>
                  </a:lnTo>
                  <a:lnTo>
                    <a:pt x="2537813" y="750888"/>
                  </a:lnTo>
                  <a:lnTo>
                    <a:pt x="2539082" y="742315"/>
                  </a:lnTo>
                  <a:lnTo>
                    <a:pt x="2559064" y="595313"/>
                  </a:lnTo>
                  <a:lnTo>
                    <a:pt x="2553355" y="580708"/>
                  </a:lnTo>
                  <a:lnTo>
                    <a:pt x="2564773" y="561340"/>
                  </a:lnTo>
                  <a:lnTo>
                    <a:pt x="2590148" y="561340"/>
                  </a:lnTo>
                  <a:lnTo>
                    <a:pt x="2600615" y="580708"/>
                  </a:lnTo>
                  <a:lnTo>
                    <a:pt x="2595857" y="597853"/>
                  </a:lnTo>
                  <a:lnTo>
                    <a:pt x="2613619" y="753110"/>
                  </a:lnTo>
                  <a:lnTo>
                    <a:pt x="2661196" y="542925"/>
                  </a:lnTo>
                  <a:lnTo>
                    <a:pt x="2666271" y="540703"/>
                  </a:lnTo>
                  <a:lnTo>
                    <a:pt x="2670712" y="538480"/>
                  </a:lnTo>
                  <a:lnTo>
                    <a:pt x="2673249" y="536893"/>
                  </a:lnTo>
                  <a:lnTo>
                    <a:pt x="2673566" y="536575"/>
                  </a:lnTo>
                  <a:lnTo>
                    <a:pt x="2682130" y="535623"/>
                  </a:lnTo>
                  <a:lnTo>
                    <a:pt x="2691328" y="534988"/>
                  </a:lnTo>
                  <a:close/>
                  <a:moveTo>
                    <a:pt x="1954213" y="512763"/>
                  </a:moveTo>
                  <a:lnTo>
                    <a:pt x="1953574" y="518429"/>
                  </a:lnTo>
                  <a:lnTo>
                    <a:pt x="1952294" y="524094"/>
                  </a:lnTo>
                  <a:lnTo>
                    <a:pt x="1951015" y="530705"/>
                  </a:lnTo>
                  <a:lnTo>
                    <a:pt x="1948775" y="537629"/>
                  </a:lnTo>
                  <a:lnTo>
                    <a:pt x="1947176" y="540462"/>
                  </a:lnTo>
                  <a:lnTo>
                    <a:pt x="1945577" y="542981"/>
                  </a:lnTo>
                  <a:lnTo>
                    <a:pt x="1943657" y="545813"/>
                  </a:lnTo>
                  <a:lnTo>
                    <a:pt x="1941418" y="547387"/>
                  </a:lnTo>
                  <a:lnTo>
                    <a:pt x="1939179" y="548961"/>
                  </a:lnTo>
                  <a:lnTo>
                    <a:pt x="1936620" y="549276"/>
                  </a:lnTo>
                  <a:lnTo>
                    <a:pt x="1933421" y="549276"/>
                  </a:lnTo>
                  <a:lnTo>
                    <a:pt x="1930863" y="548961"/>
                  </a:lnTo>
                  <a:lnTo>
                    <a:pt x="1928943" y="548332"/>
                  </a:lnTo>
                  <a:lnTo>
                    <a:pt x="1927024" y="547073"/>
                  </a:lnTo>
                  <a:lnTo>
                    <a:pt x="1925745" y="545184"/>
                  </a:lnTo>
                  <a:lnTo>
                    <a:pt x="1925105" y="543295"/>
                  </a:lnTo>
                  <a:lnTo>
                    <a:pt x="1924785" y="541092"/>
                  </a:lnTo>
                  <a:lnTo>
                    <a:pt x="1924785" y="538574"/>
                  </a:lnTo>
                  <a:lnTo>
                    <a:pt x="1924465" y="536056"/>
                  </a:lnTo>
                  <a:lnTo>
                    <a:pt x="1924145" y="534482"/>
                  </a:lnTo>
                  <a:lnTo>
                    <a:pt x="1923186" y="533223"/>
                  </a:lnTo>
                  <a:lnTo>
                    <a:pt x="1922546" y="532908"/>
                  </a:lnTo>
                  <a:lnTo>
                    <a:pt x="1921266" y="532908"/>
                  </a:lnTo>
                  <a:lnTo>
                    <a:pt x="1920627" y="533852"/>
                  </a:lnTo>
                  <a:lnTo>
                    <a:pt x="1920307" y="534797"/>
                  </a:lnTo>
                  <a:lnTo>
                    <a:pt x="1920307" y="536685"/>
                  </a:lnTo>
                  <a:lnTo>
                    <a:pt x="1919987" y="538889"/>
                  </a:lnTo>
                  <a:lnTo>
                    <a:pt x="1918707" y="541721"/>
                  </a:lnTo>
                  <a:lnTo>
                    <a:pt x="1917108" y="544240"/>
                  </a:lnTo>
                  <a:lnTo>
                    <a:pt x="1915189" y="546443"/>
                  </a:lnTo>
                  <a:lnTo>
                    <a:pt x="1913909" y="548017"/>
                  </a:lnTo>
                  <a:lnTo>
                    <a:pt x="1912950" y="548332"/>
                  </a:lnTo>
                  <a:lnTo>
                    <a:pt x="1912310" y="548332"/>
                  </a:lnTo>
                  <a:lnTo>
                    <a:pt x="1911990" y="548332"/>
                  </a:lnTo>
                  <a:lnTo>
                    <a:pt x="1911350" y="547387"/>
                  </a:lnTo>
                  <a:lnTo>
                    <a:pt x="1911350" y="546443"/>
                  </a:lnTo>
                  <a:lnTo>
                    <a:pt x="1911350" y="544554"/>
                  </a:lnTo>
                  <a:lnTo>
                    <a:pt x="1912630" y="536370"/>
                  </a:lnTo>
                  <a:lnTo>
                    <a:pt x="1913269" y="532278"/>
                  </a:lnTo>
                  <a:lnTo>
                    <a:pt x="1914229" y="528186"/>
                  </a:lnTo>
                  <a:lnTo>
                    <a:pt x="1915189" y="524409"/>
                  </a:lnTo>
                  <a:lnTo>
                    <a:pt x="1916788" y="521891"/>
                  </a:lnTo>
                  <a:lnTo>
                    <a:pt x="1917428" y="520632"/>
                  </a:lnTo>
                  <a:lnTo>
                    <a:pt x="1918387" y="520003"/>
                  </a:lnTo>
                  <a:lnTo>
                    <a:pt x="1919347" y="519058"/>
                  </a:lnTo>
                  <a:lnTo>
                    <a:pt x="1920627" y="518743"/>
                  </a:lnTo>
                  <a:lnTo>
                    <a:pt x="1954213" y="512763"/>
                  </a:lnTo>
                  <a:close/>
                  <a:moveTo>
                    <a:pt x="1636712" y="512763"/>
                  </a:moveTo>
                  <a:lnTo>
                    <a:pt x="1670299" y="519003"/>
                  </a:lnTo>
                  <a:lnTo>
                    <a:pt x="1671578" y="519332"/>
                  </a:lnTo>
                  <a:lnTo>
                    <a:pt x="1672218" y="519660"/>
                  </a:lnTo>
                  <a:lnTo>
                    <a:pt x="1673498" y="520974"/>
                  </a:lnTo>
                  <a:lnTo>
                    <a:pt x="1674137" y="521959"/>
                  </a:lnTo>
                  <a:lnTo>
                    <a:pt x="1675737" y="524587"/>
                  </a:lnTo>
                  <a:lnTo>
                    <a:pt x="1676696" y="528528"/>
                  </a:lnTo>
                  <a:lnTo>
                    <a:pt x="1677656" y="532470"/>
                  </a:lnTo>
                  <a:lnTo>
                    <a:pt x="1678296" y="537068"/>
                  </a:lnTo>
                  <a:lnTo>
                    <a:pt x="1679575" y="545608"/>
                  </a:lnTo>
                  <a:lnTo>
                    <a:pt x="1679575" y="547578"/>
                  </a:lnTo>
                  <a:lnTo>
                    <a:pt x="1679575" y="548892"/>
                  </a:lnTo>
                  <a:lnTo>
                    <a:pt x="1679255" y="549549"/>
                  </a:lnTo>
                  <a:lnTo>
                    <a:pt x="1678616" y="549549"/>
                  </a:lnTo>
                  <a:lnTo>
                    <a:pt x="1677976" y="549549"/>
                  </a:lnTo>
                  <a:lnTo>
                    <a:pt x="1677336" y="549221"/>
                  </a:lnTo>
                  <a:lnTo>
                    <a:pt x="1675737" y="547578"/>
                  </a:lnTo>
                  <a:lnTo>
                    <a:pt x="1673818" y="545279"/>
                  </a:lnTo>
                  <a:lnTo>
                    <a:pt x="1672218" y="542323"/>
                  </a:lnTo>
                  <a:lnTo>
                    <a:pt x="1671259" y="539367"/>
                  </a:lnTo>
                  <a:lnTo>
                    <a:pt x="1670939" y="537725"/>
                  </a:lnTo>
                  <a:lnTo>
                    <a:pt x="1670939" y="535754"/>
                  </a:lnTo>
                  <a:lnTo>
                    <a:pt x="1670299" y="534440"/>
                  </a:lnTo>
                  <a:lnTo>
                    <a:pt x="1669659" y="533784"/>
                  </a:lnTo>
                  <a:lnTo>
                    <a:pt x="1668380" y="533784"/>
                  </a:lnTo>
                  <a:lnTo>
                    <a:pt x="1667740" y="534112"/>
                  </a:lnTo>
                  <a:lnTo>
                    <a:pt x="1667100" y="535097"/>
                  </a:lnTo>
                  <a:lnTo>
                    <a:pt x="1666780" y="536740"/>
                  </a:lnTo>
                  <a:lnTo>
                    <a:pt x="1666141" y="539367"/>
                  </a:lnTo>
                  <a:lnTo>
                    <a:pt x="1666141" y="542323"/>
                  </a:lnTo>
                  <a:lnTo>
                    <a:pt x="1665821" y="544622"/>
                  </a:lnTo>
                  <a:lnTo>
                    <a:pt x="1665181" y="546593"/>
                  </a:lnTo>
                  <a:lnTo>
                    <a:pt x="1663901" y="548564"/>
                  </a:lnTo>
                  <a:lnTo>
                    <a:pt x="1661982" y="549549"/>
                  </a:lnTo>
                  <a:lnTo>
                    <a:pt x="1660063" y="550534"/>
                  </a:lnTo>
                  <a:lnTo>
                    <a:pt x="1657504" y="550863"/>
                  </a:lnTo>
                  <a:lnTo>
                    <a:pt x="1654625" y="550863"/>
                  </a:lnTo>
                  <a:lnTo>
                    <a:pt x="1651746" y="549878"/>
                  </a:lnTo>
                  <a:lnTo>
                    <a:pt x="1649507" y="548892"/>
                  </a:lnTo>
                  <a:lnTo>
                    <a:pt x="1647268" y="546921"/>
                  </a:lnTo>
                  <a:lnTo>
                    <a:pt x="1645349" y="544294"/>
                  </a:lnTo>
                  <a:lnTo>
                    <a:pt x="1643749" y="541338"/>
                  </a:lnTo>
                  <a:lnTo>
                    <a:pt x="1642470" y="538053"/>
                  </a:lnTo>
                  <a:lnTo>
                    <a:pt x="1640231" y="531484"/>
                  </a:lnTo>
                  <a:lnTo>
                    <a:pt x="1638631" y="524259"/>
                  </a:lnTo>
                  <a:lnTo>
                    <a:pt x="1637352" y="518018"/>
                  </a:lnTo>
                  <a:lnTo>
                    <a:pt x="1636712" y="512763"/>
                  </a:lnTo>
                  <a:close/>
                  <a:moveTo>
                    <a:pt x="358458" y="427038"/>
                  </a:moveTo>
                  <a:lnTo>
                    <a:pt x="365125" y="427038"/>
                  </a:lnTo>
                  <a:lnTo>
                    <a:pt x="371475" y="427356"/>
                  </a:lnTo>
                  <a:lnTo>
                    <a:pt x="377825" y="427992"/>
                  </a:lnTo>
                  <a:lnTo>
                    <a:pt x="384493" y="429263"/>
                  </a:lnTo>
                  <a:lnTo>
                    <a:pt x="390843" y="430853"/>
                  </a:lnTo>
                  <a:lnTo>
                    <a:pt x="397193" y="432125"/>
                  </a:lnTo>
                  <a:lnTo>
                    <a:pt x="403860" y="434033"/>
                  </a:lnTo>
                  <a:lnTo>
                    <a:pt x="410210" y="435940"/>
                  </a:lnTo>
                  <a:lnTo>
                    <a:pt x="422593" y="441027"/>
                  </a:lnTo>
                  <a:lnTo>
                    <a:pt x="434658" y="446114"/>
                  </a:lnTo>
                  <a:lnTo>
                    <a:pt x="445770" y="451837"/>
                  </a:lnTo>
                  <a:lnTo>
                    <a:pt x="456883" y="457878"/>
                  </a:lnTo>
                  <a:lnTo>
                    <a:pt x="466408" y="463919"/>
                  </a:lnTo>
                  <a:lnTo>
                    <a:pt x="475298" y="469960"/>
                  </a:lnTo>
                  <a:lnTo>
                    <a:pt x="482918" y="475365"/>
                  </a:lnTo>
                  <a:lnTo>
                    <a:pt x="489585" y="480770"/>
                  </a:lnTo>
                  <a:lnTo>
                    <a:pt x="494348" y="485539"/>
                  </a:lnTo>
                  <a:lnTo>
                    <a:pt x="497840" y="489355"/>
                  </a:lnTo>
                  <a:lnTo>
                    <a:pt x="498475" y="491262"/>
                  </a:lnTo>
                  <a:lnTo>
                    <a:pt x="499110" y="492534"/>
                  </a:lnTo>
                  <a:lnTo>
                    <a:pt x="499745" y="495396"/>
                  </a:lnTo>
                  <a:lnTo>
                    <a:pt x="499745" y="499211"/>
                  </a:lnTo>
                  <a:lnTo>
                    <a:pt x="499745" y="510021"/>
                  </a:lnTo>
                  <a:lnTo>
                    <a:pt x="499110" y="525282"/>
                  </a:lnTo>
                  <a:lnTo>
                    <a:pt x="498158" y="543405"/>
                  </a:lnTo>
                  <a:lnTo>
                    <a:pt x="494983" y="587281"/>
                  </a:lnTo>
                  <a:lnTo>
                    <a:pt x="490855" y="637198"/>
                  </a:lnTo>
                  <a:lnTo>
                    <a:pt x="486093" y="688705"/>
                  </a:lnTo>
                  <a:lnTo>
                    <a:pt x="481013" y="736397"/>
                  </a:lnTo>
                  <a:lnTo>
                    <a:pt x="476250" y="776457"/>
                  </a:lnTo>
                  <a:lnTo>
                    <a:pt x="474028" y="792037"/>
                  </a:lnTo>
                  <a:lnTo>
                    <a:pt x="472123" y="803800"/>
                  </a:lnTo>
                  <a:lnTo>
                    <a:pt x="464503" y="806344"/>
                  </a:lnTo>
                  <a:lnTo>
                    <a:pt x="457835" y="808888"/>
                  </a:lnTo>
                  <a:lnTo>
                    <a:pt x="451168" y="810477"/>
                  </a:lnTo>
                  <a:lnTo>
                    <a:pt x="444818" y="812067"/>
                  </a:lnTo>
                  <a:lnTo>
                    <a:pt x="439103" y="813021"/>
                  </a:lnTo>
                  <a:lnTo>
                    <a:pt x="433705" y="813339"/>
                  </a:lnTo>
                  <a:lnTo>
                    <a:pt x="429260" y="813021"/>
                  </a:lnTo>
                  <a:lnTo>
                    <a:pt x="425450" y="811749"/>
                  </a:lnTo>
                  <a:lnTo>
                    <a:pt x="425768" y="802847"/>
                  </a:lnTo>
                  <a:lnTo>
                    <a:pt x="426720" y="789811"/>
                  </a:lnTo>
                  <a:lnTo>
                    <a:pt x="428308" y="754519"/>
                  </a:lnTo>
                  <a:lnTo>
                    <a:pt x="429260" y="710961"/>
                  </a:lnTo>
                  <a:lnTo>
                    <a:pt x="429895" y="664541"/>
                  </a:lnTo>
                  <a:lnTo>
                    <a:pt x="429895" y="619711"/>
                  </a:lnTo>
                  <a:lnTo>
                    <a:pt x="429578" y="582512"/>
                  </a:lnTo>
                  <a:lnTo>
                    <a:pt x="429260" y="568205"/>
                  </a:lnTo>
                  <a:lnTo>
                    <a:pt x="428625" y="557712"/>
                  </a:lnTo>
                  <a:lnTo>
                    <a:pt x="428308" y="554215"/>
                  </a:lnTo>
                  <a:lnTo>
                    <a:pt x="427673" y="551672"/>
                  </a:lnTo>
                  <a:lnTo>
                    <a:pt x="427038" y="550400"/>
                  </a:lnTo>
                  <a:lnTo>
                    <a:pt x="426720" y="550400"/>
                  </a:lnTo>
                  <a:lnTo>
                    <a:pt x="426403" y="550400"/>
                  </a:lnTo>
                  <a:lnTo>
                    <a:pt x="422910" y="555487"/>
                  </a:lnTo>
                  <a:lnTo>
                    <a:pt x="419100" y="560256"/>
                  </a:lnTo>
                  <a:lnTo>
                    <a:pt x="418465" y="561846"/>
                  </a:lnTo>
                  <a:lnTo>
                    <a:pt x="406718" y="733217"/>
                  </a:lnTo>
                  <a:lnTo>
                    <a:pt x="401003" y="796806"/>
                  </a:lnTo>
                  <a:lnTo>
                    <a:pt x="398463" y="821605"/>
                  </a:lnTo>
                  <a:lnTo>
                    <a:pt x="398463" y="823831"/>
                  </a:lnTo>
                  <a:lnTo>
                    <a:pt x="395288" y="831779"/>
                  </a:lnTo>
                  <a:lnTo>
                    <a:pt x="392113" y="839728"/>
                  </a:lnTo>
                  <a:lnTo>
                    <a:pt x="387985" y="847041"/>
                  </a:lnTo>
                  <a:lnTo>
                    <a:pt x="382905" y="854353"/>
                  </a:lnTo>
                  <a:lnTo>
                    <a:pt x="365443" y="1090267"/>
                  </a:lnTo>
                  <a:lnTo>
                    <a:pt x="378778" y="1093447"/>
                  </a:lnTo>
                  <a:lnTo>
                    <a:pt x="391160" y="1096944"/>
                  </a:lnTo>
                  <a:lnTo>
                    <a:pt x="403860" y="1100441"/>
                  </a:lnTo>
                  <a:lnTo>
                    <a:pt x="414973" y="1104575"/>
                  </a:lnTo>
                  <a:lnTo>
                    <a:pt x="425450" y="1109344"/>
                  </a:lnTo>
                  <a:lnTo>
                    <a:pt x="435293" y="1114113"/>
                  </a:lnTo>
                  <a:lnTo>
                    <a:pt x="444818" y="1119518"/>
                  </a:lnTo>
                  <a:lnTo>
                    <a:pt x="453073" y="1124923"/>
                  </a:lnTo>
                  <a:lnTo>
                    <a:pt x="450215" y="1114749"/>
                  </a:lnTo>
                  <a:lnTo>
                    <a:pt x="538480" y="1093447"/>
                  </a:lnTo>
                  <a:lnTo>
                    <a:pt x="541338" y="1105211"/>
                  </a:lnTo>
                  <a:lnTo>
                    <a:pt x="454343" y="1126513"/>
                  </a:lnTo>
                  <a:lnTo>
                    <a:pt x="461645" y="1132236"/>
                  </a:lnTo>
                  <a:lnTo>
                    <a:pt x="467678" y="1137959"/>
                  </a:lnTo>
                  <a:lnTo>
                    <a:pt x="472758" y="1144000"/>
                  </a:lnTo>
                  <a:lnTo>
                    <a:pt x="476885" y="1150358"/>
                  </a:lnTo>
                  <a:lnTo>
                    <a:pt x="478790" y="1153538"/>
                  </a:lnTo>
                  <a:lnTo>
                    <a:pt x="480378" y="1156717"/>
                  </a:lnTo>
                  <a:lnTo>
                    <a:pt x="481965" y="1159897"/>
                  </a:lnTo>
                  <a:lnTo>
                    <a:pt x="482918" y="1163394"/>
                  </a:lnTo>
                  <a:lnTo>
                    <a:pt x="483870" y="1166891"/>
                  </a:lnTo>
                  <a:lnTo>
                    <a:pt x="484505" y="1170707"/>
                  </a:lnTo>
                  <a:lnTo>
                    <a:pt x="484823" y="1173886"/>
                  </a:lnTo>
                  <a:lnTo>
                    <a:pt x="484823" y="1177384"/>
                  </a:lnTo>
                  <a:lnTo>
                    <a:pt x="484823" y="1182789"/>
                  </a:lnTo>
                  <a:lnTo>
                    <a:pt x="484188" y="1187558"/>
                  </a:lnTo>
                  <a:lnTo>
                    <a:pt x="482600" y="1192327"/>
                  </a:lnTo>
                  <a:lnTo>
                    <a:pt x="480695" y="1197414"/>
                  </a:lnTo>
                  <a:lnTo>
                    <a:pt x="478790" y="1201865"/>
                  </a:lnTo>
                  <a:lnTo>
                    <a:pt x="475933" y="1206634"/>
                  </a:lnTo>
                  <a:lnTo>
                    <a:pt x="472758" y="1211404"/>
                  </a:lnTo>
                  <a:lnTo>
                    <a:pt x="469265" y="1215537"/>
                  </a:lnTo>
                  <a:lnTo>
                    <a:pt x="465138" y="1219988"/>
                  </a:lnTo>
                  <a:lnTo>
                    <a:pt x="460375" y="1224121"/>
                  </a:lnTo>
                  <a:lnTo>
                    <a:pt x="455613" y="1227937"/>
                  </a:lnTo>
                  <a:lnTo>
                    <a:pt x="450215" y="1232070"/>
                  </a:lnTo>
                  <a:lnTo>
                    <a:pt x="444818" y="1235249"/>
                  </a:lnTo>
                  <a:lnTo>
                    <a:pt x="438785" y="1239065"/>
                  </a:lnTo>
                  <a:lnTo>
                    <a:pt x="432435" y="1242562"/>
                  </a:lnTo>
                  <a:lnTo>
                    <a:pt x="425450" y="1245741"/>
                  </a:lnTo>
                  <a:lnTo>
                    <a:pt x="418465" y="1248921"/>
                  </a:lnTo>
                  <a:lnTo>
                    <a:pt x="410845" y="1251782"/>
                  </a:lnTo>
                  <a:lnTo>
                    <a:pt x="402908" y="1254644"/>
                  </a:lnTo>
                  <a:lnTo>
                    <a:pt x="394970" y="1257187"/>
                  </a:lnTo>
                  <a:lnTo>
                    <a:pt x="386398" y="1259731"/>
                  </a:lnTo>
                  <a:lnTo>
                    <a:pt x="377825" y="1261956"/>
                  </a:lnTo>
                  <a:lnTo>
                    <a:pt x="368618" y="1263864"/>
                  </a:lnTo>
                  <a:lnTo>
                    <a:pt x="359410" y="1265772"/>
                  </a:lnTo>
                  <a:lnTo>
                    <a:pt x="349885" y="1267679"/>
                  </a:lnTo>
                  <a:lnTo>
                    <a:pt x="340043" y="1269269"/>
                  </a:lnTo>
                  <a:lnTo>
                    <a:pt x="329883" y="1270223"/>
                  </a:lnTo>
                  <a:lnTo>
                    <a:pt x="319723" y="1271495"/>
                  </a:lnTo>
                  <a:lnTo>
                    <a:pt x="309245" y="1272131"/>
                  </a:lnTo>
                  <a:lnTo>
                    <a:pt x="298768" y="1272767"/>
                  </a:lnTo>
                  <a:lnTo>
                    <a:pt x="287973" y="1273085"/>
                  </a:lnTo>
                  <a:lnTo>
                    <a:pt x="276860" y="1273402"/>
                  </a:lnTo>
                  <a:lnTo>
                    <a:pt x="273685" y="1273085"/>
                  </a:lnTo>
                  <a:lnTo>
                    <a:pt x="313055" y="1331268"/>
                  </a:lnTo>
                  <a:lnTo>
                    <a:pt x="302895" y="1338263"/>
                  </a:lnTo>
                  <a:lnTo>
                    <a:pt x="259080" y="1273085"/>
                  </a:lnTo>
                  <a:lnTo>
                    <a:pt x="244157" y="1272131"/>
                  </a:lnTo>
                  <a:lnTo>
                    <a:pt x="230505" y="1271177"/>
                  </a:lnTo>
                  <a:lnTo>
                    <a:pt x="216852" y="1269587"/>
                  </a:lnTo>
                  <a:lnTo>
                    <a:pt x="203835" y="1267362"/>
                  </a:lnTo>
                  <a:lnTo>
                    <a:pt x="190817" y="1265136"/>
                  </a:lnTo>
                  <a:lnTo>
                    <a:pt x="178435" y="1262592"/>
                  </a:lnTo>
                  <a:lnTo>
                    <a:pt x="166687" y="1259413"/>
                  </a:lnTo>
                  <a:lnTo>
                    <a:pt x="155575" y="1255916"/>
                  </a:lnTo>
                  <a:lnTo>
                    <a:pt x="144780" y="1252736"/>
                  </a:lnTo>
                  <a:lnTo>
                    <a:pt x="134937" y="1248603"/>
                  </a:lnTo>
                  <a:lnTo>
                    <a:pt x="125095" y="1244470"/>
                  </a:lnTo>
                  <a:lnTo>
                    <a:pt x="116522" y="1239383"/>
                  </a:lnTo>
                  <a:lnTo>
                    <a:pt x="108267" y="1234931"/>
                  </a:lnTo>
                  <a:lnTo>
                    <a:pt x="100647" y="1229844"/>
                  </a:lnTo>
                  <a:lnTo>
                    <a:pt x="93980" y="1224439"/>
                  </a:lnTo>
                  <a:lnTo>
                    <a:pt x="87947" y="1218716"/>
                  </a:lnTo>
                  <a:lnTo>
                    <a:pt x="2857" y="1238747"/>
                  </a:lnTo>
                  <a:lnTo>
                    <a:pt x="0" y="1226983"/>
                  </a:lnTo>
                  <a:lnTo>
                    <a:pt x="79375" y="1208224"/>
                  </a:lnTo>
                  <a:lnTo>
                    <a:pt x="76835" y="1204727"/>
                  </a:lnTo>
                  <a:lnTo>
                    <a:pt x="74612" y="1201229"/>
                  </a:lnTo>
                  <a:lnTo>
                    <a:pt x="72707" y="1197414"/>
                  </a:lnTo>
                  <a:lnTo>
                    <a:pt x="71437" y="1193599"/>
                  </a:lnTo>
                  <a:lnTo>
                    <a:pt x="70167" y="1189465"/>
                  </a:lnTo>
                  <a:lnTo>
                    <a:pt x="69532" y="1185650"/>
                  </a:lnTo>
                  <a:lnTo>
                    <a:pt x="69215" y="1181517"/>
                  </a:lnTo>
                  <a:lnTo>
                    <a:pt x="68580" y="1177384"/>
                  </a:lnTo>
                  <a:lnTo>
                    <a:pt x="69215" y="1171661"/>
                  </a:lnTo>
                  <a:lnTo>
                    <a:pt x="70167" y="1166574"/>
                  </a:lnTo>
                  <a:lnTo>
                    <a:pt x="71755" y="1161169"/>
                  </a:lnTo>
                  <a:lnTo>
                    <a:pt x="73977" y="1155763"/>
                  </a:lnTo>
                  <a:lnTo>
                    <a:pt x="76517" y="1150676"/>
                  </a:lnTo>
                  <a:lnTo>
                    <a:pt x="80010" y="1145589"/>
                  </a:lnTo>
                  <a:lnTo>
                    <a:pt x="83820" y="1140820"/>
                  </a:lnTo>
                  <a:lnTo>
                    <a:pt x="88265" y="1136051"/>
                  </a:lnTo>
                  <a:lnTo>
                    <a:pt x="93027" y="1131282"/>
                  </a:lnTo>
                  <a:lnTo>
                    <a:pt x="98425" y="1126831"/>
                  </a:lnTo>
                  <a:lnTo>
                    <a:pt x="104457" y="1122697"/>
                  </a:lnTo>
                  <a:lnTo>
                    <a:pt x="110807" y="1118564"/>
                  </a:lnTo>
                  <a:lnTo>
                    <a:pt x="117475" y="1114431"/>
                  </a:lnTo>
                  <a:lnTo>
                    <a:pt x="124777" y="1111251"/>
                  </a:lnTo>
                  <a:lnTo>
                    <a:pt x="132715" y="1107436"/>
                  </a:lnTo>
                  <a:lnTo>
                    <a:pt x="140652" y="1103939"/>
                  </a:lnTo>
                  <a:lnTo>
                    <a:pt x="89852" y="1023817"/>
                  </a:lnTo>
                  <a:lnTo>
                    <a:pt x="100012" y="1017458"/>
                  </a:lnTo>
                  <a:lnTo>
                    <a:pt x="152400" y="1099805"/>
                  </a:lnTo>
                  <a:lnTo>
                    <a:pt x="162242" y="1096944"/>
                  </a:lnTo>
                  <a:lnTo>
                    <a:pt x="172720" y="1093765"/>
                  </a:lnTo>
                  <a:lnTo>
                    <a:pt x="154940" y="850538"/>
                  </a:lnTo>
                  <a:lnTo>
                    <a:pt x="150812" y="844179"/>
                  </a:lnTo>
                  <a:lnTo>
                    <a:pt x="146367" y="837820"/>
                  </a:lnTo>
                  <a:lnTo>
                    <a:pt x="143510" y="830826"/>
                  </a:lnTo>
                  <a:lnTo>
                    <a:pt x="140652" y="824149"/>
                  </a:lnTo>
                  <a:lnTo>
                    <a:pt x="140652" y="821605"/>
                  </a:lnTo>
                  <a:lnTo>
                    <a:pt x="136842" y="782816"/>
                  </a:lnTo>
                  <a:lnTo>
                    <a:pt x="133032" y="740212"/>
                  </a:lnTo>
                  <a:lnTo>
                    <a:pt x="128587" y="687433"/>
                  </a:lnTo>
                  <a:lnTo>
                    <a:pt x="119697" y="557077"/>
                  </a:lnTo>
                  <a:lnTo>
                    <a:pt x="116522" y="554215"/>
                  </a:lnTo>
                  <a:lnTo>
                    <a:pt x="112712" y="550400"/>
                  </a:lnTo>
                  <a:lnTo>
                    <a:pt x="112395" y="550400"/>
                  </a:lnTo>
                  <a:lnTo>
                    <a:pt x="112395" y="550718"/>
                  </a:lnTo>
                  <a:lnTo>
                    <a:pt x="112077" y="552307"/>
                  </a:lnTo>
                  <a:lnTo>
                    <a:pt x="111125" y="558666"/>
                  </a:lnTo>
                  <a:lnTo>
                    <a:pt x="111125" y="569794"/>
                  </a:lnTo>
                  <a:lnTo>
                    <a:pt x="111125" y="584420"/>
                  </a:lnTo>
                  <a:lnTo>
                    <a:pt x="112395" y="621937"/>
                  </a:lnTo>
                  <a:lnTo>
                    <a:pt x="113665" y="666449"/>
                  </a:lnTo>
                  <a:lnTo>
                    <a:pt x="116205" y="712869"/>
                  </a:lnTo>
                  <a:lnTo>
                    <a:pt x="118427" y="756109"/>
                  </a:lnTo>
                  <a:lnTo>
                    <a:pt x="120332" y="791401"/>
                  </a:lnTo>
                  <a:lnTo>
                    <a:pt x="122237" y="813021"/>
                  </a:lnTo>
                  <a:lnTo>
                    <a:pt x="112077" y="813339"/>
                  </a:lnTo>
                  <a:lnTo>
                    <a:pt x="105410" y="813339"/>
                  </a:lnTo>
                  <a:lnTo>
                    <a:pt x="98425" y="812385"/>
                  </a:lnTo>
                  <a:lnTo>
                    <a:pt x="90487" y="811431"/>
                  </a:lnTo>
                  <a:lnTo>
                    <a:pt x="82550" y="809523"/>
                  </a:lnTo>
                  <a:lnTo>
                    <a:pt x="78740" y="807934"/>
                  </a:lnTo>
                  <a:lnTo>
                    <a:pt x="74612" y="806344"/>
                  </a:lnTo>
                  <a:lnTo>
                    <a:pt x="70802" y="804754"/>
                  </a:lnTo>
                  <a:lnTo>
                    <a:pt x="66675" y="802211"/>
                  </a:lnTo>
                  <a:lnTo>
                    <a:pt x="65087" y="791083"/>
                  </a:lnTo>
                  <a:lnTo>
                    <a:pt x="63182" y="776139"/>
                  </a:lnTo>
                  <a:lnTo>
                    <a:pt x="61277" y="758335"/>
                  </a:lnTo>
                  <a:lnTo>
                    <a:pt x="59055" y="737986"/>
                  </a:lnTo>
                  <a:lnTo>
                    <a:pt x="55245" y="692520"/>
                  </a:lnTo>
                  <a:lnTo>
                    <a:pt x="51752" y="643875"/>
                  </a:lnTo>
                  <a:lnTo>
                    <a:pt x="49212" y="596819"/>
                  </a:lnTo>
                  <a:lnTo>
                    <a:pt x="47307" y="555487"/>
                  </a:lnTo>
                  <a:lnTo>
                    <a:pt x="46990" y="538318"/>
                  </a:lnTo>
                  <a:lnTo>
                    <a:pt x="46355" y="524011"/>
                  </a:lnTo>
                  <a:lnTo>
                    <a:pt x="46990" y="513836"/>
                  </a:lnTo>
                  <a:lnTo>
                    <a:pt x="47307" y="507477"/>
                  </a:lnTo>
                  <a:lnTo>
                    <a:pt x="47625" y="503026"/>
                  </a:lnTo>
                  <a:lnTo>
                    <a:pt x="48895" y="498893"/>
                  </a:lnTo>
                  <a:lnTo>
                    <a:pt x="49847" y="495078"/>
                  </a:lnTo>
                  <a:lnTo>
                    <a:pt x="51752" y="490944"/>
                  </a:lnTo>
                  <a:lnTo>
                    <a:pt x="53975" y="487129"/>
                  </a:lnTo>
                  <a:lnTo>
                    <a:pt x="56515" y="483314"/>
                  </a:lnTo>
                  <a:lnTo>
                    <a:pt x="59690" y="480134"/>
                  </a:lnTo>
                  <a:lnTo>
                    <a:pt x="62547" y="476637"/>
                  </a:lnTo>
                  <a:lnTo>
                    <a:pt x="66357" y="473140"/>
                  </a:lnTo>
                  <a:lnTo>
                    <a:pt x="70167" y="470278"/>
                  </a:lnTo>
                  <a:lnTo>
                    <a:pt x="74612" y="467099"/>
                  </a:lnTo>
                  <a:lnTo>
                    <a:pt x="79375" y="464237"/>
                  </a:lnTo>
                  <a:lnTo>
                    <a:pt x="88900" y="458514"/>
                  </a:lnTo>
                  <a:lnTo>
                    <a:pt x="99377" y="453745"/>
                  </a:lnTo>
                  <a:lnTo>
                    <a:pt x="111125" y="449294"/>
                  </a:lnTo>
                  <a:lnTo>
                    <a:pt x="123190" y="444525"/>
                  </a:lnTo>
                  <a:lnTo>
                    <a:pt x="135572" y="441027"/>
                  </a:lnTo>
                  <a:lnTo>
                    <a:pt x="148907" y="437530"/>
                  </a:lnTo>
                  <a:lnTo>
                    <a:pt x="161607" y="434351"/>
                  </a:lnTo>
                  <a:lnTo>
                    <a:pt x="174625" y="431807"/>
                  </a:lnTo>
                  <a:lnTo>
                    <a:pt x="187960" y="429581"/>
                  </a:lnTo>
                  <a:lnTo>
                    <a:pt x="200660" y="427674"/>
                  </a:lnTo>
                  <a:lnTo>
                    <a:pt x="203835" y="427674"/>
                  </a:lnTo>
                  <a:lnTo>
                    <a:pt x="206692" y="427674"/>
                  </a:lnTo>
                  <a:lnTo>
                    <a:pt x="248285" y="582194"/>
                  </a:lnTo>
                  <a:lnTo>
                    <a:pt x="249237" y="576153"/>
                  </a:lnTo>
                  <a:lnTo>
                    <a:pt x="263525" y="470278"/>
                  </a:lnTo>
                  <a:lnTo>
                    <a:pt x="259715" y="459786"/>
                  </a:lnTo>
                  <a:lnTo>
                    <a:pt x="267653" y="445797"/>
                  </a:lnTo>
                  <a:lnTo>
                    <a:pt x="285750" y="445797"/>
                  </a:lnTo>
                  <a:lnTo>
                    <a:pt x="293688" y="459786"/>
                  </a:lnTo>
                  <a:lnTo>
                    <a:pt x="289878" y="472186"/>
                  </a:lnTo>
                  <a:lnTo>
                    <a:pt x="302578" y="584102"/>
                  </a:lnTo>
                  <a:lnTo>
                    <a:pt x="336868" y="432443"/>
                  </a:lnTo>
                  <a:lnTo>
                    <a:pt x="343853" y="429263"/>
                  </a:lnTo>
                  <a:lnTo>
                    <a:pt x="345440" y="428310"/>
                  </a:lnTo>
                  <a:lnTo>
                    <a:pt x="345758" y="427674"/>
                  </a:lnTo>
                  <a:lnTo>
                    <a:pt x="352108" y="427356"/>
                  </a:lnTo>
                  <a:lnTo>
                    <a:pt x="358458" y="427038"/>
                  </a:lnTo>
                  <a:close/>
                  <a:moveTo>
                    <a:pt x="1859239" y="201613"/>
                  </a:moveTo>
                  <a:lnTo>
                    <a:pt x="1864624" y="201613"/>
                  </a:lnTo>
                  <a:lnTo>
                    <a:pt x="1869375" y="201613"/>
                  </a:lnTo>
                  <a:lnTo>
                    <a:pt x="1874760" y="201930"/>
                  </a:lnTo>
                  <a:lnTo>
                    <a:pt x="1879828" y="202248"/>
                  </a:lnTo>
                  <a:lnTo>
                    <a:pt x="1884896" y="203517"/>
                  </a:lnTo>
                  <a:lnTo>
                    <a:pt x="1895349" y="205739"/>
                  </a:lnTo>
                  <a:lnTo>
                    <a:pt x="1905485" y="208595"/>
                  </a:lnTo>
                  <a:lnTo>
                    <a:pt x="1914988" y="212403"/>
                  </a:lnTo>
                  <a:lnTo>
                    <a:pt x="1924490" y="216529"/>
                  </a:lnTo>
                  <a:lnTo>
                    <a:pt x="1933676" y="221290"/>
                  </a:lnTo>
                  <a:lnTo>
                    <a:pt x="1942229" y="225733"/>
                  </a:lnTo>
                  <a:lnTo>
                    <a:pt x="1949514" y="230493"/>
                  </a:lnTo>
                  <a:lnTo>
                    <a:pt x="1956799" y="235571"/>
                  </a:lnTo>
                  <a:lnTo>
                    <a:pt x="1962818" y="240014"/>
                  </a:lnTo>
                  <a:lnTo>
                    <a:pt x="1967886" y="244140"/>
                  </a:lnTo>
                  <a:lnTo>
                    <a:pt x="1971687" y="247948"/>
                  </a:lnTo>
                  <a:lnTo>
                    <a:pt x="1974538" y="251122"/>
                  </a:lnTo>
                  <a:lnTo>
                    <a:pt x="1975488" y="253343"/>
                  </a:lnTo>
                  <a:lnTo>
                    <a:pt x="1976438" y="258739"/>
                  </a:lnTo>
                  <a:lnTo>
                    <a:pt x="1975805" y="267307"/>
                  </a:lnTo>
                  <a:lnTo>
                    <a:pt x="1975488" y="279367"/>
                  </a:lnTo>
                  <a:lnTo>
                    <a:pt x="1974854" y="293649"/>
                  </a:lnTo>
                  <a:lnTo>
                    <a:pt x="1972637" y="328241"/>
                  </a:lnTo>
                  <a:lnTo>
                    <a:pt x="1969153" y="368229"/>
                  </a:lnTo>
                  <a:lnTo>
                    <a:pt x="1965352" y="408852"/>
                  </a:lnTo>
                  <a:lnTo>
                    <a:pt x="1961234" y="446619"/>
                  </a:lnTo>
                  <a:lnTo>
                    <a:pt x="1957433" y="478355"/>
                  </a:lnTo>
                  <a:lnTo>
                    <a:pt x="1956166" y="490732"/>
                  </a:lnTo>
                  <a:lnTo>
                    <a:pt x="1954265" y="499619"/>
                  </a:lnTo>
                  <a:lnTo>
                    <a:pt x="1948564" y="501840"/>
                  </a:lnTo>
                  <a:lnTo>
                    <a:pt x="1942862" y="503744"/>
                  </a:lnTo>
                  <a:lnTo>
                    <a:pt x="1937794" y="505331"/>
                  </a:lnTo>
                  <a:lnTo>
                    <a:pt x="1932726" y="506283"/>
                  </a:lnTo>
                  <a:lnTo>
                    <a:pt x="1928291" y="507235"/>
                  </a:lnTo>
                  <a:lnTo>
                    <a:pt x="1924174" y="507235"/>
                  </a:lnTo>
                  <a:lnTo>
                    <a:pt x="1920373" y="506918"/>
                  </a:lnTo>
                  <a:lnTo>
                    <a:pt x="1917522" y="505966"/>
                  </a:lnTo>
                  <a:lnTo>
                    <a:pt x="1918472" y="488828"/>
                  </a:lnTo>
                  <a:lnTo>
                    <a:pt x="1919422" y="460900"/>
                  </a:lnTo>
                  <a:lnTo>
                    <a:pt x="1920373" y="426307"/>
                  </a:lnTo>
                  <a:lnTo>
                    <a:pt x="1920689" y="389493"/>
                  </a:lnTo>
                  <a:lnTo>
                    <a:pt x="1921006" y="354265"/>
                  </a:lnTo>
                  <a:lnTo>
                    <a:pt x="1920689" y="324750"/>
                  </a:lnTo>
                  <a:lnTo>
                    <a:pt x="1920373" y="313325"/>
                  </a:lnTo>
                  <a:lnTo>
                    <a:pt x="1919739" y="305074"/>
                  </a:lnTo>
                  <a:lnTo>
                    <a:pt x="1918789" y="299996"/>
                  </a:lnTo>
                  <a:lnTo>
                    <a:pt x="1918472" y="299361"/>
                  </a:lnTo>
                  <a:lnTo>
                    <a:pt x="1918472" y="299044"/>
                  </a:lnTo>
                  <a:lnTo>
                    <a:pt x="1918155" y="299361"/>
                  </a:lnTo>
                  <a:lnTo>
                    <a:pt x="1914988" y="303170"/>
                  </a:lnTo>
                  <a:lnTo>
                    <a:pt x="1912454" y="307295"/>
                  </a:lnTo>
                  <a:lnTo>
                    <a:pt x="1911820" y="308247"/>
                  </a:lnTo>
                  <a:lnTo>
                    <a:pt x="1902318" y="443762"/>
                  </a:lnTo>
                  <a:lnTo>
                    <a:pt x="1897883" y="493906"/>
                  </a:lnTo>
                  <a:lnTo>
                    <a:pt x="1895982" y="513900"/>
                  </a:lnTo>
                  <a:lnTo>
                    <a:pt x="1895982" y="515804"/>
                  </a:lnTo>
                  <a:lnTo>
                    <a:pt x="1893765" y="521834"/>
                  </a:lnTo>
                  <a:lnTo>
                    <a:pt x="1891231" y="528181"/>
                  </a:lnTo>
                  <a:lnTo>
                    <a:pt x="1887747" y="534211"/>
                  </a:lnTo>
                  <a:lnTo>
                    <a:pt x="1883946" y="539924"/>
                  </a:lnTo>
                  <a:lnTo>
                    <a:pt x="1869375" y="734151"/>
                  </a:lnTo>
                  <a:lnTo>
                    <a:pt x="1879828" y="736373"/>
                  </a:lnTo>
                  <a:lnTo>
                    <a:pt x="1890281" y="738912"/>
                  </a:lnTo>
                  <a:lnTo>
                    <a:pt x="1899784" y="742403"/>
                  </a:lnTo>
                  <a:lnTo>
                    <a:pt x="1909286" y="745576"/>
                  </a:lnTo>
                  <a:lnTo>
                    <a:pt x="1917839" y="749067"/>
                  </a:lnTo>
                  <a:lnTo>
                    <a:pt x="1925757" y="752876"/>
                  </a:lnTo>
                  <a:lnTo>
                    <a:pt x="1933043" y="757002"/>
                  </a:lnTo>
                  <a:lnTo>
                    <a:pt x="1940011" y="761762"/>
                  </a:lnTo>
                  <a:lnTo>
                    <a:pt x="1946030" y="766522"/>
                  </a:lnTo>
                  <a:lnTo>
                    <a:pt x="1951098" y="771283"/>
                  </a:lnTo>
                  <a:lnTo>
                    <a:pt x="1955532" y="776361"/>
                  </a:lnTo>
                  <a:lnTo>
                    <a:pt x="1959333" y="781439"/>
                  </a:lnTo>
                  <a:lnTo>
                    <a:pt x="1962501" y="787151"/>
                  </a:lnTo>
                  <a:lnTo>
                    <a:pt x="1964718" y="792864"/>
                  </a:lnTo>
                  <a:lnTo>
                    <a:pt x="1966302" y="798894"/>
                  </a:lnTo>
                  <a:lnTo>
                    <a:pt x="1966619" y="801750"/>
                  </a:lnTo>
                  <a:lnTo>
                    <a:pt x="1966619" y="804924"/>
                  </a:lnTo>
                  <a:lnTo>
                    <a:pt x="1966302" y="808732"/>
                  </a:lnTo>
                  <a:lnTo>
                    <a:pt x="1965669" y="812223"/>
                  </a:lnTo>
                  <a:lnTo>
                    <a:pt x="1965035" y="816031"/>
                  </a:lnTo>
                  <a:lnTo>
                    <a:pt x="1963451" y="819522"/>
                  </a:lnTo>
                  <a:lnTo>
                    <a:pt x="1962184" y="823331"/>
                  </a:lnTo>
                  <a:lnTo>
                    <a:pt x="1960284" y="826504"/>
                  </a:lnTo>
                  <a:lnTo>
                    <a:pt x="1958066" y="829995"/>
                  </a:lnTo>
                  <a:lnTo>
                    <a:pt x="1955532" y="833486"/>
                  </a:lnTo>
                  <a:lnTo>
                    <a:pt x="1952682" y="836660"/>
                  </a:lnTo>
                  <a:lnTo>
                    <a:pt x="1949514" y="839834"/>
                  </a:lnTo>
                  <a:lnTo>
                    <a:pt x="1946030" y="842690"/>
                  </a:lnTo>
                  <a:lnTo>
                    <a:pt x="1942545" y="845864"/>
                  </a:lnTo>
                  <a:lnTo>
                    <a:pt x="1938428" y="848720"/>
                  </a:lnTo>
                  <a:lnTo>
                    <a:pt x="1934310" y="851576"/>
                  </a:lnTo>
                  <a:lnTo>
                    <a:pt x="1924807" y="856654"/>
                  </a:lnTo>
                  <a:lnTo>
                    <a:pt x="1914354" y="861732"/>
                  </a:lnTo>
                  <a:lnTo>
                    <a:pt x="1903268" y="865858"/>
                  </a:lnTo>
                  <a:lnTo>
                    <a:pt x="1891231" y="869983"/>
                  </a:lnTo>
                  <a:lnTo>
                    <a:pt x="1878244" y="873157"/>
                  </a:lnTo>
                  <a:lnTo>
                    <a:pt x="1864624" y="876013"/>
                  </a:lnTo>
                  <a:lnTo>
                    <a:pt x="1850370" y="878235"/>
                  </a:lnTo>
                  <a:lnTo>
                    <a:pt x="1835165" y="880139"/>
                  </a:lnTo>
                  <a:lnTo>
                    <a:pt x="1819644" y="881091"/>
                  </a:lnTo>
                  <a:lnTo>
                    <a:pt x="1783851" y="947738"/>
                  </a:lnTo>
                  <a:lnTo>
                    <a:pt x="1773398" y="941708"/>
                  </a:lnTo>
                  <a:lnTo>
                    <a:pt x="1805390" y="881409"/>
                  </a:lnTo>
                  <a:lnTo>
                    <a:pt x="1800322" y="881726"/>
                  </a:lnTo>
                  <a:lnTo>
                    <a:pt x="1787335" y="881409"/>
                  </a:lnTo>
                  <a:lnTo>
                    <a:pt x="1774032" y="881091"/>
                  </a:lnTo>
                  <a:lnTo>
                    <a:pt x="1761678" y="880139"/>
                  </a:lnTo>
                  <a:lnTo>
                    <a:pt x="1749642" y="878552"/>
                  </a:lnTo>
                  <a:lnTo>
                    <a:pt x="1737605" y="876648"/>
                  </a:lnTo>
                  <a:lnTo>
                    <a:pt x="1726518" y="874427"/>
                  </a:lnTo>
                  <a:lnTo>
                    <a:pt x="1716066" y="871888"/>
                  </a:lnTo>
                  <a:lnTo>
                    <a:pt x="1705296" y="868714"/>
                  </a:lnTo>
                  <a:lnTo>
                    <a:pt x="1696110" y="865223"/>
                  </a:lnTo>
                  <a:lnTo>
                    <a:pt x="1686607" y="862049"/>
                  </a:lnTo>
                  <a:lnTo>
                    <a:pt x="1678372" y="857924"/>
                  </a:lnTo>
                  <a:lnTo>
                    <a:pt x="1670453" y="853798"/>
                  </a:lnTo>
                  <a:lnTo>
                    <a:pt x="1663484" y="849037"/>
                  </a:lnTo>
                  <a:lnTo>
                    <a:pt x="1657149" y="844594"/>
                  </a:lnTo>
                  <a:lnTo>
                    <a:pt x="1651448" y="839516"/>
                  </a:lnTo>
                  <a:lnTo>
                    <a:pt x="1646696" y="834439"/>
                  </a:lnTo>
                  <a:lnTo>
                    <a:pt x="1574476" y="851894"/>
                  </a:lnTo>
                  <a:lnTo>
                    <a:pt x="1571625" y="840151"/>
                  </a:lnTo>
                  <a:lnTo>
                    <a:pt x="1639411" y="823648"/>
                  </a:lnTo>
                  <a:lnTo>
                    <a:pt x="1637510" y="819205"/>
                  </a:lnTo>
                  <a:lnTo>
                    <a:pt x="1635927" y="814127"/>
                  </a:lnTo>
                  <a:lnTo>
                    <a:pt x="1634976" y="809684"/>
                  </a:lnTo>
                  <a:lnTo>
                    <a:pt x="1634660" y="804924"/>
                  </a:lnTo>
                  <a:lnTo>
                    <a:pt x="1634976" y="799211"/>
                  </a:lnTo>
                  <a:lnTo>
                    <a:pt x="1635927" y="793816"/>
                  </a:lnTo>
                  <a:lnTo>
                    <a:pt x="1637827" y="788738"/>
                  </a:lnTo>
                  <a:lnTo>
                    <a:pt x="1640678" y="783343"/>
                  </a:lnTo>
                  <a:lnTo>
                    <a:pt x="1643529" y="778582"/>
                  </a:lnTo>
                  <a:lnTo>
                    <a:pt x="1647646" y="773504"/>
                  </a:lnTo>
                  <a:lnTo>
                    <a:pt x="1652081" y="769061"/>
                  </a:lnTo>
                  <a:lnTo>
                    <a:pt x="1657466" y="764618"/>
                  </a:lnTo>
                  <a:lnTo>
                    <a:pt x="1663167" y="760493"/>
                  </a:lnTo>
                  <a:lnTo>
                    <a:pt x="1669503" y="756684"/>
                  </a:lnTo>
                  <a:lnTo>
                    <a:pt x="1676154" y="752876"/>
                  </a:lnTo>
                  <a:lnTo>
                    <a:pt x="1683757" y="749067"/>
                  </a:lnTo>
                  <a:lnTo>
                    <a:pt x="1691675" y="745894"/>
                  </a:lnTo>
                  <a:lnTo>
                    <a:pt x="1700228" y="742720"/>
                  </a:lnTo>
                  <a:lnTo>
                    <a:pt x="1708780" y="740181"/>
                  </a:lnTo>
                  <a:lnTo>
                    <a:pt x="1718283" y="737642"/>
                  </a:lnTo>
                  <a:lnTo>
                    <a:pt x="1703079" y="536750"/>
                  </a:lnTo>
                  <a:lnTo>
                    <a:pt x="1699911" y="531990"/>
                  </a:lnTo>
                  <a:lnTo>
                    <a:pt x="1696744" y="526595"/>
                  </a:lnTo>
                  <a:lnTo>
                    <a:pt x="1694209" y="521517"/>
                  </a:lnTo>
                  <a:lnTo>
                    <a:pt x="1691992" y="516122"/>
                  </a:lnTo>
                  <a:lnTo>
                    <a:pt x="1691992" y="513900"/>
                  </a:lnTo>
                  <a:lnTo>
                    <a:pt x="1688825" y="483116"/>
                  </a:lnTo>
                  <a:lnTo>
                    <a:pt x="1685974" y="449792"/>
                  </a:lnTo>
                  <a:lnTo>
                    <a:pt x="1682490" y="407583"/>
                  </a:lnTo>
                  <a:lnTo>
                    <a:pt x="1675521" y="304439"/>
                  </a:lnTo>
                  <a:lnTo>
                    <a:pt x="1672670" y="302218"/>
                  </a:lnTo>
                  <a:lnTo>
                    <a:pt x="1669819" y="299361"/>
                  </a:lnTo>
                  <a:lnTo>
                    <a:pt x="1669503" y="299361"/>
                  </a:lnTo>
                  <a:lnTo>
                    <a:pt x="1669186" y="300948"/>
                  </a:lnTo>
                  <a:lnTo>
                    <a:pt x="1668552" y="305709"/>
                  </a:lnTo>
                  <a:lnTo>
                    <a:pt x="1668552" y="314277"/>
                  </a:lnTo>
                  <a:lnTo>
                    <a:pt x="1668552" y="326020"/>
                  </a:lnTo>
                  <a:lnTo>
                    <a:pt x="1669503" y="355852"/>
                  </a:lnTo>
                  <a:lnTo>
                    <a:pt x="1671086" y="391080"/>
                  </a:lnTo>
                  <a:lnTo>
                    <a:pt x="1672353" y="427894"/>
                  </a:lnTo>
                  <a:lnTo>
                    <a:pt x="1674254" y="462169"/>
                  </a:lnTo>
                  <a:lnTo>
                    <a:pt x="1675838" y="489780"/>
                  </a:lnTo>
                  <a:lnTo>
                    <a:pt x="1677421" y="507235"/>
                  </a:lnTo>
                  <a:lnTo>
                    <a:pt x="1669503" y="507235"/>
                  </a:lnTo>
                  <a:lnTo>
                    <a:pt x="1664118" y="507235"/>
                  </a:lnTo>
                  <a:lnTo>
                    <a:pt x="1658416" y="506918"/>
                  </a:lnTo>
                  <a:lnTo>
                    <a:pt x="1652715" y="505648"/>
                  </a:lnTo>
                  <a:lnTo>
                    <a:pt x="1646063" y="504062"/>
                  </a:lnTo>
                  <a:lnTo>
                    <a:pt x="1639728" y="501840"/>
                  </a:lnTo>
                  <a:lnTo>
                    <a:pt x="1636877" y="500253"/>
                  </a:lnTo>
                  <a:lnTo>
                    <a:pt x="1633709" y="498984"/>
                  </a:lnTo>
                  <a:lnTo>
                    <a:pt x="1632442" y="489780"/>
                  </a:lnTo>
                  <a:lnTo>
                    <a:pt x="1630858" y="477720"/>
                  </a:lnTo>
                  <a:lnTo>
                    <a:pt x="1627374" y="447888"/>
                  </a:lnTo>
                  <a:lnTo>
                    <a:pt x="1624523" y="411708"/>
                  </a:lnTo>
                  <a:lnTo>
                    <a:pt x="1621673" y="373307"/>
                  </a:lnTo>
                  <a:lnTo>
                    <a:pt x="1619455" y="336176"/>
                  </a:lnTo>
                  <a:lnTo>
                    <a:pt x="1618188" y="303487"/>
                  </a:lnTo>
                  <a:lnTo>
                    <a:pt x="1617555" y="278733"/>
                  </a:lnTo>
                  <a:lnTo>
                    <a:pt x="1617555" y="270481"/>
                  </a:lnTo>
                  <a:lnTo>
                    <a:pt x="1618188" y="265086"/>
                  </a:lnTo>
                  <a:lnTo>
                    <a:pt x="1618505" y="261595"/>
                  </a:lnTo>
                  <a:lnTo>
                    <a:pt x="1619139" y="258421"/>
                  </a:lnTo>
                  <a:lnTo>
                    <a:pt x="1620406" y="255248"/>
                  </a:lnTo>
                  <a:lnTo>
                    <a:pt x="1621673" y="252391"/>
                  </a:lnTo>
                  <a:lnTo>
                    <a:pt x="1623573" y="249218"/>
                  </a:lnTo>
                  <a:lnTo>
                    <a:pt x="1625474" y="246361"/>
                  </a:lnTo>
                  <a:lnTo>
                    <a:pt x="1627691" y="243822"/>
                  </a:lnTo>
                  <a:lnTo>
                    <a:pt x="1630542" y="240649"/>
                  </a:lnTo>
                  <a:lnTo>
                    <a:pt x="1633392" y="238110"/>
                  </a:lnTo>
                  <a:lnTo>
                    <a:pt x="1636560" y="235888"/>
                  </a:lnTo>
                  <a:lnTo>
                    <a:pt x="1643212" y="230810"/>
                  </a:lnTo>
                  <a:lnTo>
                    <a:pt x="1651131" y="226685"/>
                  </a:lnTo>
                  <a:lnTo>
                    <a:pt x="1659683" y="222559"/>
                  </a:lnTo>
                  <a:lnTo>
                    <a:pt x="1668552" y="218751"/>
                  </a:lnTo>
                  <a:lnTo>
                    <a:pt x="1678055" y="215577"/>
                  </a:lnTo>
                  <a:lnTo>
                    <a:pt x="1688191" y="212403"/>
                  </a:lnTo>
                  <a:lnTo>
                    <a:pt x="1698327" y="209864"/>
                  </a:lnTo>
                  <a:lnTo>
                    <a:pt x="1708780" y="207643"/>
                  </a:lnTo>
                  <a:lnTo>
                    <a:pt x="1718916" y="205421"/>
                  </a:lnTo>
                  <a:lnTo>
                    <a:pt x="1729369" y="203834"/>
                  </a:lnTo>
                  <a:lnTo>
                    <a:pt x="1739505" y="202248"/>
                  </a:lnTo>
                  <a:lnTo>
                    <a:pt x="1741723" y="201930"/>
                  </a:lnTo>
                  <a:lnTo>
                    <a:pt x="1743940" y="201930"/>
                  </a:lnTo>
                  <a:lnTo>
                    <a:pt x="1777516" y="324433"/>
                  </a:lnTo>
                  <a:lnTo>
                    <a:pt x="1777833" y="319673"/>
                  </a:lnTo>
                  <a:lnTo>
                    <a:pt x="1789553" y="235888"/>
                  </a:lnTo>
                  <a:lnTo>
                    <a:pt x="1786068" y="227637"/>
                  </a:lnTo>
                  <a:lnTo>
                    <a:pt x="1792404" y="216529"/>
                  </a:lnTo>
                  <a:lnTo>
                    <a:pt x="1806658" y="216212"/>
                  </a:lnTo>
                  <a:lnTo>
                    <a:pt x="1812676" y="227637"/>
                  </a:lnTo>
                  <a:lnTo>
                    <a:pt x="1810142" y="237158"/>
                  </a:lnTo>
                  <a:lnTo>
                    <a:pt x="1820278" y="325703"/>
                  </a:lnTo>
                  <a:lnTo>
                    <a:pt x="1847202" y="206056"/>
                  </a:lnTo>
                  <a:lnTo>
                    <a:pt x="1852904" y="203517"/>
                  </a:lnTo>
                  <a:lnTo>
                    <a:pt x="1853854" y="202882"/>
                  </a:lnTo>
                  <a:lnTo>
                    <a:pt x="1854488" y="202248"/>
                  </a:lnTo>
                  <a:lnTo>
                    <a:pt x="1859239" y="201613"/>
                  </a:lnTo>
                  <a:close/>
                  <a:moveTo>
                    <a:pt x="2576838" y="182563"/>
                  </a:moveTo>
                  <a:lnTo>
                    <a:pt x="2587021" y="182563"/>
                  </a:lnTo>
                  <a:lnTo>
                    <a:pt x="2597204" y="182880"/>
                  </a:lnTo>
                  <a:lnTo>
                    <a:pt x="2606432" y="183515"/>
                  </a:lnTo>
                  <a:lnTo>
                    <a:pt x="2615979" y="185103"/>
                  </a:lnTo>
                  <a:lnTo>
                    <a:pt x="2624570" y="186690"/>
                  </a:lnTo>
                  <a:lnTo>
                    <a:pt x="2633162" y="188913"/>
                  </a:lnTo>
                  <a:lnTo>
                    <a:pt x="2641118" y="191135"/>
                  </a:lnTo>
                  <a:lnTo>
                    <a:pt x="2649073" y="193993"/>
                  </a:lnTo>
                  <a:lnTo>
                    <a:pt x="2656392" y="196850"/>
                  </a:lnTo>
                  <a:lnTo>
                    <a:pt x="2663074" y="200025"/>
                  </a:lnTo>
                  <a:lnTo>
                    <a:pt x="2669439" y="203200"/>
                  </a:lnTo>
                  <a:lnTo>
                    <a:pt x="2675485" y="206375"/>
                  </a:lnTo>
                  <a:lnTo>
                    <a:pt x="2685986" y="213043"/>
                  </a:lnTo>
                  <a:lnTo>
                    <a:pt x="2694578" y="219393"/>
                  </a:lnTo>
                  <a:lnTo>
                    <a:pt x="2701578" y="224473"/>
                  </a:lnTo>
                  <a:lnTo>
                    <a:pt x="2706670" y="228918"/>
                  </a:lnTo>
                  <a:lnTo>
                    <a:pt x="2710488" y="233045"/>
                  </a:lnTo>
                  <a:lnTo>
                    <a:pt x="2709216" y="236220"/>
                  </a:lnTo>
                  <a:lnTo>
                    <a:pt x="2707625" y="239078"/>
                  </a:lnTo>
                  <a:lnTo>
                    <a:pt x="2705079" y="243840"/>
                  </a:lnTo>
                  <a:lnTo>
                    <a:pt x="2701897" y="248603"/>
                  </a:lnTo>
                  <a:lnTo>
                    <a:pt x="2697760" y="253365"/>
                  </a:lnTo>
                  <a:lnTo>
                    <a:pt x="2693305" y="258763"/>
                  </a:lnTo>
                  <a:lnTo>
                    <a:pt x="2687577" y="264160"/>
                  </a:lnTo>
                  <a:lnTo>
                    <a:pt x="2684077" y="266383"/>
                  </a:lnTo>
                  <a:lnTo>
                    <a:pt x="2681213" y="268605"/>
                  </a:lnTo>
                  <a:lnTo>
                    <a:pt x="2677394" y="270828"/>
                  </a:lnTo>
                  <a:lnTo>
                    <a:pt x="2673575" y="272733"/>
                  </a:lnTo>
                  <a:lnTo>
                    <a:pt x="2669757" y="274638"/>
                  </a:lnTo>
                  <a:lnTo>
                    <a:pt x="2665302" y="275591"/>
                  </a:lnTo>
                  <a:lnTo>
                    <a:pt x="2661165" y="276861"/>
                  </a:lnTo>
                  <a:lnTo>
                    <a:pt x="2656392" y="277496"/>
                  </a:lnTo>
                  <a:lnTo>
                    <a:pt x="2651300" y="277813"/>
                  </a:lnTo>
                  <a:lnTo>
                    <a:pt x="2646527" y="277813"/>
                  </a:lnTo>
                  <a:lnTo>
                    <a:pt x="2640799" y="277496"/>
                  </a:lnTo>
                  <a:lnTo>
                    <a:pt x="2635390" y="276543"/>
                  </a:lnTo>
                  <a:lnTo>
                    <a:pt x="2629344" y="274956"/>
                  </a:lnTo>
                  <a:lnTo>
                    <a:pt x="2623298" y="273050"/>
                  </a:lnTo>
                  <a:lnTo>
                    <a:pt x="2616933" y="270510"/>
                  </a:lnTo>
                  <a:lnTo>
                    <a:pt x="2610569" y="267335"/>
                  </a:lnTo>
                  <a:lnTo>
                    <a:pt x="2603250" y="263525"/>
                  </a:lnTo>
                  <a:lnTo>
                    <a:pt x="2595295" y="260668"/>
                  </a:lnTo>
                  <a:lnTo>
                    <a:pt x="2626480" y="275591"/>
                  </a:lnTo>
                  <a:lnTo>
                    <a:pt x="2641436" y="282576"/>
                  </a:lnTo>
                  <a:lnTo>
                    <a:pt x="2648437" y="285116"/>
                  </a:lnTo>
                  <a:lnTo>
                    <a:pt x="2655437" y="287656"/>
                  </a:lnTo>
                  <a:lnTo>
                    <a:pt x="2661802" y="289878"/>
                  </a:lnTo>
                  <a:lnTo>
                    <a:pt x="2668166" y="291466"/>
                  </a:lnTo>
                  <a:lnTo>
                    <a:pt x="2674212" y="292101"/>
                  </a:lnTo>
                  <a:lnTo>
                    <a:pt x="2679940" y="292736"/>
                  </a:lnTo>
                  <a:lnTo>
                    <a:pt x="2685349" y="292736"/>
                  </a:lnTo>
                  <a:lnTo>
                    <a:pt x="2690123" y="291466"/>
                  </a:lnTo>
                  <a:lnTo>
                    <a:pt x="2692350" y="290196"/>
                  </a:lnTo>
                  <a:lnTo>
                    <a:pt x="2694578" y="289561"/>
                  </a:lnTo>
                  <a:lnTo>
                    <a:pt x="2696805" y="287973"/>
                  </a:lnTo>
                  <a:lnTo>
                    <a:pt x="2698714" y="286703"/>
                  </a:lnTo>
                  <a:lnTo>
                    <a:pt x="2699987" y="297498"/>
                  </a:lnTo>
                  <a:lnTo>
                    <a:pt x="2700624" y="307341"/>
                  </a:lnTo>
                  <a:lnTo>
                    <a:pt x="2700306" y="316548"/>
                  </a:lnTo>
                  <a:lnTo>
                    <a:pt x="2699987" y="325756"/>
                  </a:lnTo>
                  <a:lnTo>
                    <a:pt x="2701578" y="323851"/>
                  </a:lnTo>
                  <a:lnTo>
                    <a:pt x="2702533" y="323533"/>
                  </a:lnTo>
                  <a:lnTo>
                    <a:pt x="2703488" y="322898"/>
                  </a:lnTo>
                  <a:lnTo>
                    <a:pt x="2704442" y="323533"/>
                  </a:lnTo>
                  <a:lnTo>
                    <a:pt x="2705715" y="324168"/>
                  </a:lnTo>
                  <a:lnTo>
                    <a:pt x="2706670" y="325438"/>
                  </a:lnTo>
                  <a:lnTo>
                    <a:pt x="2707625" y="326708"/>
                  </a:lnTo>
                  <a:lnTo>
                    <a:pt x="2709216" y="330836"/>
                  </a:lnTo>
                  <a:lnTo>
                    <a:pt x="2711125" y="336551"/>
                  </a:lnTo>
                  <a:lnTo>
                    <a:pt x="2712398" y="343218"/>
                  </a:lnTo>
                  <a:lnTo>
                    <a:pt x="2713671" y="351156"/>
                  </a:lnTo>
                  <a:lnTo>
                    <a:pt x="2714307" y="359411"/>
                  </a:lnTo>
                  <a:lnTo>
                    <a:pt x="2714625" y="368936"/>
                  </a:lnTo>
                  <a:lnTo>
                    <a:pt x="2714307" y="377826"/>
                  </a:lnTo>
                  <a:lnTo>
                    <a:pt x="2713671" y="386716"/>
                  </a:lnTo>
                  <a:lnTo>
                    <a:pt x="2712398" y="394653"/>
                  </a:lnTo>
                  <a:lnTo>
                    <a:pt x="2711125" y="401321"/>
                  </a:lnTo>
                  <a:lnTo>
                    <a:pt x="2709216" y="407036"/>
                  </a:lnTo>
                  <a:lnTo>
                    <a:pt x="2707625" y="411163"/>
                  </a:lnTo>
                  <a:lnTo>
                    <a:pt x="2706670" y="412433"/>
                  </a:lnTo>
                  <a:lnTo>
                    <a:pt x="2705715" y="413703"/>
                  </a:lnTo>
                  <a:lnTo>
                    <a:pt x="2704442" y="414338"/>
                  </a:lnTo>
                  <a:lnTo>
                    <a:pt x="2703488" y="414338"/>
                  </a:lnTo>
                  <a:lnTo>
                    <a:pt x="2702215" y="414338"/>
                  </a:lnTo>
                  <a:lnTo>
                    <a:pt x="2700942" y="413703"/>
                  </a:lnTo>
                  <a:lnTo>
                    <a:pt x="2699987" y="412116"/>
                  </a:lnTo>
                  <a:lnTo>
                    <a:pt x="2698714" y="410528"/>
                  </a:lnTo>
                  <a:lnTo>
                    <a:pt x="2696805" y="406083"/>
                  </a:lnTo>
                  <a:lnTo>
                    <a:pt x="2694896" y="400051"/>
                  </a:lnTo>
                  <a:lnTo>
                    <a:pt x="2693941" y="407988"/>
                  </a:lnTo>
                  <a:lnTo>
                    <a:pt x="2692668" y="415926"/>
                  </a:lnTo>
                  <a:lnTo>
                    <a:pt x="2691396" y="423546"/>
                  </a:lnTo>
                  <a:lnTo>
                    <a:pt x="2689168" y="430531"/>
                  </a:lnTo>
                  <a:lnTo>
                    <a:pt x="2687259" y="437833"/>
                  </a:lnTo>
                  <a:lnTo>
                    <a:pt x="2684395" y="444818"/>
                  </a:lnTo>
                  <a:lnTo>
                    <a:pt x="2681849" y="451803"/>
                  </a:lnTo>
                  <a:lnTo>
                    <a:pt x="2678985" y="458153"/>
                  </a:lnTo>
                  <a:lnTo>
                    <a:pt x="2675803" y="464503"/>
                  </a:lnTo>
                  <a:lnTo>
                    <a:pt x="2672303" y="470536"/>
                  </a:lnTo>
                  <a:lnTo>
                    <a:pt x="2669120" y="476568"/>
                  </a:lnTo>
                  <a:lnTo>
                    <a:pt x="2665302" y="481966"/>
                  </a:lnTo>
                  <a:lnTo>
                    <a:pt x="2661483" y="487363"/>
                  </a:lnTo>
                  <a:lnTo>
                    <a:pt x="2657347" y="492761"/>
                  </a:lnTo>
                  <a:lnTo>
                    <a:pt x="2653210" y="497523"/>
                  </a:lnTo>
                  <a:lnTo>
                    <a:pt x="2649073" y="501968"/>
                  </a:lnTo>
                  <a:lnTo>
                    <a:pt x="2644618" y="506413"/>
                  </a:lnTo>
                  <a:lnTo>
                    <a:pt x="2640163" y="510541"/>
                  </a:lnTo>
                  <a:lnTo>
                    <a:pt x="2635390" y="514351"/>
                  </a:lnTo>
                  <a:lnTo>
                    <a:pt x="2630935" y="518161"/>
                  </a:lnTo>
                  <a:lnTo>
                    <a:pt x="2626480" y="521653"/>
                  </a:lnTo>
                  <a:lnTo>
                    <a:pt x="2621706" y="524511"/>
                  </a:lnTo>
                  <a:lnTo>
                    <a:pt x="2616933" y="527368"/>
                  </a:lnTo>
                  <a:lnTo>
                    <a:pt x="2612160" y="529908"/>
                  </a:lnTo>
                  <a:lnTo>
                    <a:pt x="2607387" y="532131"/>
                  </a:lnTo>
                  <a:lnTo>
                    <a:pt x="2602614" y="534036"/>
                  </a:lnTo>
                  <a:lnTo>
                    <a:pt x="2597840" y="535941"/>
                  </a:lnTo>
                  <a:lnTo>
                    <a:pt x="2593385" y="536893"/>
                  </a:lnTo>
                  <a:lnTo>
                    <a:pt x="2588294" y="538163"/>
                  </a:lnTo>
                  <a:lnTo>
                    <a:pt x="2583839" y="538798"/>
                  </a:lnTo>
                  <a:lnTo>
                    <a:pt x="2579384" y="539116"/>
                  </a:lnTo>
                  <a:lnTo>
                    <a:pt x="2575247" y="539751"/>
                  </a:lnTo>
                  <a:lnTo>
                    <a:pt x="2571428" y="539116"/>
                  </a:lnTo>
                  <a:lnTo>
                    <a:pt x="2567610" y="538798"/>
                  </a:lnTo>
                  <a:lnTo>
                    <a:pt x="2563791" y="538163"/>
                  </a:lnTo>
                  <a:lnTo>
                    <a:pt x="2559654" y="536893"/>
                  </a:lnTo>
                  <a:lnTo>
                    <a:pt x="2555518" y="535623"/>
                  </a:lnTo>
                  <a:lnTo>
                    <a:pt x="2551381" y="533718"/>
                  </a:lnTo>
                  <a:lnTo>
                    <a:pt x="2542789" y="529591"/>
                  </a:lnTo>
                  <a:lnTo>
                    <a:pt x="2533879" y="523876"/>
                  </a:lnTo>
                  <a:lnTo>
                    <a:pt x="2524651" y="517526"/>
                  </a:lnTo>
                  <a:lnTo>
                    <a:pt x="2515423" y="509906"/>
                  </a:lnTo>
                  <a:lnTo>
                    <a:pt x="2506194" y="501333"/>
                  </a:lnTo>
                  <a:lnTo>
                    <a:pt x="2497603" y="491808"/>
                  </a:lnTo>
                  <a:lnTo>
                    <a:pt x="2489011" y="481648"/>
                  </a:lnTo>
                  <a:lnTo>
                    <a:pt x="2481055" y="470536"/>
                  </a:lnTo>
                  <a:lnTo>
                    <a:pt x="2473418" y="458788"/>
                  </a:lnTo>
                  <a:lnTo>
                    <a:pt x="2469600" y="452756"/>
                  </a:lnTo>
                  <a:lnTo>
                    <a:pt x="2466417" y="446406"/>
                  </a:lnTo>
                  <a:lnTo>
                    <a:pt x="2463235" y="440056"/>
                  </a:lnTo>
                  <a:lnTo>
                    <a:pt x="2460371" y="433071"/>
                  </a:lnTo>
                  <a:lnTo>
                    <a:pt x="2457507" y="426403"/>
                  </a:lnTo>
                  <a:lnTo>
                    <a:pt x="2454962" y="419418"/>
                  </a:lnTo>
                  <a:lnTo>
                    <a:pt x="2452734" y="412433"/>
                  </a:lnTo>
                  <a:lnTo>
                    <a:pt x="2450825" y="405448"/>
                  </a:lnTo>
                  <a:lnTo>
                    <a:pt x="2448916" y="409893"/>
                  </a:lnTo>
                  <a:lnTo>
                    <a:pt x="2447325" y="413703"/>
                  </a:lnTo>
                  <a:lnTo>
                    <a:pt x="2446370" y="414656"/>
                  </a:lnTo>
                  <a:lnTo>
                    <a:pt x="2445733" y="415926"/>
                  </a:lnTo>
                  <a:lnTo>
                    <a:pt x="2444461" y="416561"/>
                  </a:lnTo>
                  <a:lnTo>
                    <a:pt x="2443188" y="416561"/>
                  </a:lnTo>
                  <a:lnTo>
                    <a:pt x="2442233" y="416243"/>
                  </a:lnTo>
                  <a:lnTo>
                    <a:pt x="2440960" y="415926"/>
                  </a:lnTo>
                  <a:lnTo>
                    <a:pt x="2440006" y="414656"/>
                  </a:lnTo>
                  <a:lnTo>
                    <a:pt x="2439051" y="413386"/>
                  </a:lnTo>
                  <a:lnTo>
                    <a:pt x="2437142" y="408941"/>
                  </a:lnTo>
                  <a:lnTo>
                    <a:pt x="2435551" y="403543"/>
                  </a:lnTo>
                  <a:lnTo>
                    <a:pt x="2434278" y="396876"/>
                  </a:lnTo>
                  <a:lnTo>
                    <a:pt x="2433005" y="388938"/>
                  </a:lnTo>
                  <a:lnTo>
                    <a:pt x="2432368" y="380048"/>
                  </a:lnTo>
                  <a:lnTo>
                    <a:pt x="2432050" y="371158"/>
                  </a:lnTo>
                  <a:lnTo>
                    <a:pt x="2432368" y="361633"/>
                  </a:lnTo>
                  <a:lnTo>
                    <a:pt x="2433005" y="353061"/>
                  </a:lnTo>
                  <a:lnTo>
                    <a:pt x="2434278" y="345758"/>
                  </a:lnTo>
                  <a:lnTo>
                    <a:pt x="2435551" y="338773"/>
                  </a:lnTo>
                  <a:lnTo>
                    <a:pt x="2437142" y="333058"/>
                  </a:lnTo>
                  <a:lnTo>
                    <a:pt x="2439051" y="328931"/>
                  </a:lnTo>
                  <a:lnTo>
                    <a:pt x="2440006" y="327661"/>
                  </a:lnTo>
                  <a:lnTo>
                    <a:pt x="2440960" y="326391"/>
                  </a:lnTo>
                  <a:lnTo>
                    <a:pt x="2442233" y="325756"/>
                  </a:lnTo>
                  <a:lnTo>
                    <a:pt x="2443188" y="325438"/>
                  </a:lnTo>
                  <a:lnTo>
                    <a:pt x="2444142" y="325756"/>
                  </a:lnTo>
                  <a:lnTo>
                    <a:pt x="2444779" y="326073"/>
                  </a:lnTo>
                  <a:lnTo>
                    <a:pt x="2445097" y="314008"/>
                  </a:lnTo>
                  <a:lnTo>
                    <a:pt x="2446052" y="308293"/>
                  </a:lnTo>
                  <a:lnTo>
                    <a:pt x="2447006" y="303531"/>
                  </a:lnTo>
                  <a:lnTo>
                    <a:pt x="2446370" y="297181"/>
                  </a:lnTo>
                  <a:lnTo>
                    <a:pt x="2446052" y="291148"/>
                  </a:lnTo>
                  <a:lnTo>
                    <a:pt x="2446052" y="285433"/>
                  </a:lnTo>
                  <a:lnTo>
                    <a:pt x="2446370" y="280036"/>
                  </a:lnTo>
                  <a:lnTo>
                    <a:pt x="2446688" y="274956"/>
                  </a:lnTo>
                  <a:lnTo>
                    <a:pt x="2447325" y="270510"/>
                  </a:lnTo>
                  <a:lnTo>
                    <a:pt x="2448597" y="265748"/>
                  </a:lnTo>
                  <a:lnTo>
                    <a:pt x="2449870" y="261620"/>
                  </a:lnTo>
                  <a:lnTo>
                    <a:pt x="2451143" y="258128"/>
                  </a:lnTo>
                  <a:lnTo>
                    <a:pt x="2452734" y="254635"/>
                  </a:lnTo>
                  <a:lnTo>
                    <a:pt x="2454644" y="251143"/>
                  </a:lnTo>
                  <a:lnTo>
                    <a:pt x="2456871" y="248285"/>
                  </a:lnTo>
                  <a:lnTo>
                    <a:pt x="2459099" y="245745"/>
                  </a:lnTo>
                  <a:lnTo>
                    <a:pt x="2461326" y="242888"/>
                  </a:lnTo>
                  <a:lnTo>
                    <a:pt x="2464190" y="240665"/>
                  </a:lnTo>
                  <a:lnTo>
                    <a:pt x="2466736" y="238760"/>
                  </a:lnTo>
                  <a:lnTo>
                    <a:pt x="2454325" y="239078"/>
                  </a:lnTo>
                  <a:lnTo>
                    <a:pt x="2444779" y="239713"/>
                  </a:lnTo>
                  <a:lnTo>
                    <a:pt x="2436505" y="240030"/>
                  </a:lnTo>
                  <a:lnTo>
                    <a:pt x="2442233" y="236855"/>
                  </a:lnTo>
                  <a:lnTo>
                    <a:pt x="2448279" y="233045"/>
                  </a:lnTo>
                  <a:lnTo>
                    <a:pt x="2454007" y="228918"/>
                  </a:lnTo>
                  <a:lnTo>
                    <a:pt x="2460053" y="224473"/>
                  </a:lnTo>
                  <a:lnTo>
                    <a:pt x="2471191" y="215900"/>
                  </a:lnTo>
                  <a:lnTo>
                    <a:pt x="2476600" y="212408"/>
                  </a:lnTo>
                  <a:lnTo>
                    <a:pt x="2481374" y="209550"/>
                  </a:lnTo>
                  <a:lnTo>
                    <a:pt x="2494420" y="203200"/>
                  </a:lnTo>
                  <a:lnTo>
                    <a:pt x="2507149" y="197803"/>
                  </a:lnTo>
                  <a:lnTo>
                    <a:pt x="2519559" y="193358"/>
                  </a:lnTo>
                  <a:lnTo>
                    <a:pt x="2531652" y="189548"/>
                  </a:lnTo>
                  <a:lnTo>
                    <a:pt x="2543426" y="186690"/>
                  </a:lnTo>
                  <a:lnTo>
                    <a:pt x="2554881" y="184785"/>
                  </a:lnTo>
                  <a:lnTo>
                    <a:pt x="2565701" y="183198"/>
                  </a:lnTo>
                  <a:lnTo>
                    <a:pt x="2576838" y="182563"/>
                  </a:lnTo>
                  <a:close/>
                  <a:moveTo>
                    <a:pt x="276055" y="174625"/>
                  </a:moveTo>
                  <a:lnTo>
                    <a:pt x="283639" y="174625"/>
                  </a:lnTo>
                  <a:lnTo>
                    <a:pt x="290592" y="174942"/>
                  </a:lnTo>
                  <a:lnTo>
                    <a:pt x="297860" y="175258"/>
                  </a:lnTo>
                  <a:lnTo>
                    <a:pt x="304180" y="176208"/>
                  </a:lnTo>
                  <a:lnTo>
                    <a:pt x="310500" y="177475"/>
                  </a:lnTo>
                  <a:lnTo>
                    <a:pt x="316504" y="179059"/>
                  </a:lnTo>
                  <a:lnTo>
                    <a:pt x="322508" y="180959"/>
                  </a:lnTo>
                  <a:lnTo>
                    <a:pt x="327881" y="182859"/>
                  </a:lnTo>
                  <a:lnTo>
                    <a:pt x="332937" y="185076"/>
                  </a:lnTo>
                  <a:lnTo>
                    <a:pt x="337677" y="187293"/>
                  </a:lnTo>
                  <a:lnTo>
                    <a:pt x="346525" y="191727"/>
                  </a:lnTo>
                  <a:lnTo>
                    <a:pt x="354425" y="196161"/>
                  </a:lnTo>
                  <a:lnTo>
                    <a:pt x="360429" y="200595"/>
                  </a:lnTo>
                  <a:lnTo>
                    <a:pt x="365486" y="204713"/>
                  </a:lnTo>
                  <a:lnTo>
                    <a:pt x="368962" y="207880"/>
                  </a:lnTo>
                  <a:lnTo>
                    <a:pt x="371806" y="210730"/>
                  </a:lnTo>
                  <a:lnTo>
                    <a:pt x="370858" y="212631"/>
                  </a:lnTo>
                  <a:lnTo>
                    <a:pt x="367698" y="218331"/>
                  </a:lnTo>
                  <a:lnTo>
                    <a:pt x="365486" y="221815"/>
                  </a:lnTo>
                  <a:lnTo>
                    <a:pt x="362641" y="225616"/>
                  </a:lnTo>
                  <a:lnTo>
                    <a:pt x="359165" y="229100"/>
                  </a:lnTo>
                  <a:lnTo>
                    <a:pt x="355057" y="232900"/>
                  </a:lnTo>
                  <a:lnTo>
                    <a:pt x="350633" y="236384"/>
                  </a:lnTo>
                  <a:lnTo>
                    <a:pt x="345261" y="239234"/>
                  </a:lnTo>
                  <a:lnTo>
                    <a:pt x="342733" y="240501"/>
                  </a:lnTo>
                  <a:lnTo>
                    <a:pt x="339573" y="241135"/>
                  </a:lnTo>
                  <a:lnTo>
                    <a:pt x="336413" y="242085"/>
                  </a:lnTo>
                  <a:lnTo>
                    <a:pt x="332937" y="242718"/>
                  </a:lnTo>
                  <a:lnTo>
                    <a:pt x="329461" y="243035"/>
                  </a:lnTo>
                  <a:lnTo>
                    <a:pt x="325985" y="243035"/>
                  </a:lnTo>
                  <a:lnTo>
                    <a:pt x="322192" y="242718"/>
                  </a:lnTo>
                  <a:lnTo>
                    <a:pt x="318084" y="242085"/>
                  </a:lnTo>
                  <a:lnTo>
                    <a:pt x="313976" y="240818"/>
                  </a:lnTo>
                  <a:lnTo>
                    <a:pt x="309868" y="239234"/>
                  </a:lnTo>
                  <a:lnTo>
                    <a:pt x="304812" y="237334"/>
                  </a:lnTo>
                  <a:lnTo>
                    <a:pt x="302252" y="236418"/>
                  </a:lnTo>
                  <a:lnTo>
                    <a:pt x="289644" y="230366"/>
                  </a:lnTo>
                  <a:lnTo>
                    <a:pt x="294700" y="232900"/>
                  </a:lnTo>
                  <a:lnTo>
                    <a:pt x="300388" y="235751"/>
                  </a:lnTo>
                  <a:lnTo>
                    <a:pt x="302252" y="236418"/>
                  </a:lnTo>
                  <a:lnTo>
                    <a:pt x="312080" y="241135"/>
                  </a:lnTo>
                  <a:lnTo>
                    <a:pt x="322508" y="246202"/>
                  </a:lnTo>
                  <a:lnTo>
                    <a:pt x="332305" y="250003"/>
                  </a:lnTo>
                  <a:lnTo>
                    <a:pt x="337045" y="251270"/>
                  </a:lnTo>
                  <a:lnTo>
                    <a:pt x="341469" y="252536"/>
                  </a:lnTo>
                  <a:lnTo>
                    <a:pt x="345577" y="253170"/>
                  </a:lnTo>
                  <a:lnTo>
                    <a:pt x="349685" y="253487"/>
                  </a:lnTo>
                  <a:lnTo>
                    <a:pt x="353477" y="253170"/>
                  </a:lnTo>
                  <a:lnTo>
                    <a:pt x="357269" y="252536"/>
                  </a:lnTo>
                  <a:lnTo>
                    <a:pt x="360745" y="251270"/>
                  </a:lnTo>
                  <a:lnTo>
                    <a:pt x="363589" y="249053"/>
                  </a:lnTo>
                  <a:lnTo>
                    <a:pt x="364538" y="256970"/>
                  </a:lnTo>
                  <a:lnTo>
                    <a:pt x="364854" y="263621"/>
                  </a:lnTo>
                  <a:lnTo>
                    <a:pt x="364538" y="270589"/>
                  </a:lnTo>
                  <a:lnTo>
                    <a:pt x="363905" y="277240"/>
                  </a:lnTo>
                  <a:lnTo>
                    <a:pt x="365486" y="275657"/>
                  </a:lnTo>
                  <a:lnTo>
                    <a:pt x="366750" y="275340"/>
                  </a:lnTo>
                  <a:lnTo>
                    <a:pt x="367382" y="275657"/>
                  </a:lnTo>
                  <a:lnTo>
                    <a:pt x="368014" y="275973"/>
                  </a:lnTo>
                  <a:lnTo>
                    <a:pt x="369594" y="277874"/>
                  </a:lnTo>
                  <a:lnTo>
                    <a:pt x="371174" y="281041"/>
                  </a:lnTo>
                  <a:lnTo>
                    <a:pt x="372122" y="285158"/>
                  </a:lnTo>
                  <a:lnTo>
                    <a:pt x="373386" y="289909"/>
                  </a:lnTo>
                  <a:lnTo>
                    <a:pt x="373702" y="295293"/>
                  </a:lnTo>
                  <a:lnTo>
                    <a:pt x="374650" y="301627"/>
                  </a:lnTo>
                  <a:lnTo>
                    <a:pt x="374650" y="307961"/>
                  </a:lnTo>
                  <a:lnTo>
                    <a:pt x="374650" y="314612"/>
                  </a:lnTo>
                  <a:lnTo>
                    <a:pt x="373702" y="320630"/>
                  </a:lnTo>
                  <a:lnTo>
                    <a:pt x="373386" y="326331"/>
                  </a:lnTo>
                  <a:lnTo>
                    <a:pt x="372122" y="331398"/>
                  </a:lnTo>
                  <a:lnTo>
                    <a:pt x="371174" y="335515"/>
                  </a:lnTo>
                  <a:lnTo>
                    <a:pt x="369594" y="338366"/>
                  </a:lnTo>
                  <a:lnTo>
                    <a:pt x="368014" y="340266"/>
                  </a:lnTo>
                  <a:lnTo>
                    <a:pt x="367382" y="340583"/>
                  </a:lnTo>
                  <a:lnTo>
                    <a:pt x="366750" y="340583"/>
                  </a:lnTo>
                  <a:lnTo>
                    <a:pt x="365802" y="340583"/>
                  </a:lnTo>
                  <a:lnTo>
                    <a:pt x="364854" y="340266"/>
                  </a:lnTo>
                  <a:lnTo>
                    <a:pt x="363273" y="338049"/>
                  </a:lnTo>
                  <a:lnTo>
                    <a:pt x="362009" y="334565"/>
                  </a:lnTo>
                  <a:lnTo>
                    <a:pt x="360745" y="330448"/>
                  </a:lnTo>
                  <a:lnTo>
                    <a:pt x="359797" y="336149"/>
                  </a:lnTo>
                  <a:lnTo>
                    <a:pt x="359165" y="341850"/>
                  </a:lnTo>
                  <a:lnTo>
                    <a:pt x="357901" y="346917"/>
                  </a:lnTo>
                  <a:lnTo>
                    <a:pt x="356637" y="352301"/>
                  </a:lnTo>
                  <a:lnTo>
                    <a:pt x="353161" y="362436"/>
                  </a:lnTo>
                  <a:lnTo>
                    <a:pt x="349053" y="372254"/>
                  </a:lnTo>
                  <a:lnTo>
                    <a:pt x="344629" y="380806"/>
                  </a:lnTo>
                  <a:lnTo>
                    <a:pt x="339257" y="389040"/>
                  </a:lnTo>
                  <a:lnTo>
                    <a:pt x="333569" y="396641"/>
                  </a:lnTo>
                  <a:lnTo>
                    <a:pt x="327881" y="403609"/>
                  </a:lnTo>
                  <a:lnTo>
                    <a:pt x="321876" y="409626"/>
                  </a:lnTo>
                  <a:lnTo>
                    <a:pt x="314924" y="415011"/>
                  </a:lnTo>
                  <a:lnTo>
                    <a:pt x="308288" y="419761"/>
                  </a:lnTo>
                  <a:lnTo>
                    <a:pt x="301652" y="423562"/>
                  </a:lnTo>
                  <a:lnTo>
                    <a:pt x="294700" y="426412"/>
                  </a:lnTo>
                  <a:lnTo>
                    <a:pt x="288064" y="428629"/>
                  </a:lnTo>
                  <a:lnTo>
                    <a:pt x="281427" y="429896"/>
                  </a:lnTo>
                  <a:lnTo>
                    <a:pt x="275107" y="430213"/>
                  </a:lnTo>
                  <a:lnTo>
                    <a:pt x="272579" y="430213"/>
                  </a:lnTo>
                  <a:lnTo>
                    <a:pt x="269735" y="429896"/>
                  </a:lnTo>
                  <a:lnTo>
                    <a:pt x="264047" y="428313"/>
                  </a:lnTo>
                  <a:lnTo>
                    <a:pt x="258043" y="426096"/>
                  </a:lnTo>
                  <a:lnTo>
                    <a:pt x="252039" y="423245"/>
                  </a:lnTo>
                  <a:lnTo>
                    <a:pt x="245719" y="419128"/>
                  </a:lnTo>
                  <a:lnTo>
                    <a:pt x="239082" y="414377"/>
                  </a:lnTo>
                  <a:lnTo>
                    <a:pt x="232762" y="408993"/>
                  </a:lnTo>
                  <a:lnTo>
                    <a:pt x="225810" y="402975"/>
                  </a:lnTo>
                  <a:lnTo>
                    <a:pt x="219806" y="396008"/>
                  </a:lnTo>
                  <a:lnTo>
                    <a:pt x="213486" y="389040"/>
                  </a:lnTo>
                  <a:lnTo>
                    <a:pt x="208114" y="380806"/>
                  </a:lnTo>
                  <a:lnTo>
                    <a:pt x="202741" y="372571"/>
                  </a:lnTo>
                  <a:lnTo>
                    <a:pt x="197369" y="363386"/>
                  </a:lnTo>
                  <a:lnTo>
                    <a:pt x="193261" y="354202"/>
                  </a:lnTo>
                  <a:lnTo>
                    <a:pt x="189785" y="344383"/>
                  </a:lnTo>
                  <a:lnTo>
                    <a:pt x="186309" y="334249"/>
                  </a:lnTo>
                  <a:lnTo>
                    <a:pt x="185045" y="337732"/>
                  </a:lnTo>
                  <a:lnTo>
                    <a:pt x="184097" y="340266"/>
                  </a:lnTo>
                  <a:lnTo>
                    <a:pt x="182517" y="341850"/>
                  </a:lnTo>
                  <a:lnTo>
                    <a:pt x="181885" y="342166"/>
                  </a:lnTo>
                  <a:lnTo>
                    <a:pt x="180937" y="342483"/>
                  </a:lnTo>
                  <a:lnTo>
                    <a:pt x="180305" y="342166"/>
                  </a:lnTo>
                  <a:lnTo>
                    <a:pt x="179673" y="341850"/>
                  </a:lnTo>
                  <a:lnTo>
                    <a:pt x="178093" y="339949"/>
                  </a:lnTo>
                  <a:lnTo>
                    <a:pt x="176829" y="336782"/>
                  </a:lnTo>
                  <a:lnTo>
                    <a:pt x="175565" y="332665"/>
                  </a:lnTo>
                  <a:lnTo>
                    <a:pt x="174617" y="327914"/>
                  </a:lnTo>
                  <a:lnTo>
                    <a:pt x="173985" y="322213"/>
                  </a:lnTo>
                  <a:lnTo>
                    <a:pt x="173669" y="316196"/>
                  </a:lnTo>
                  <a:lnTo>
                    <a:pt x="173037" y="309545"/>
                  </a:lnTo>
                  <a:lnTo>
                    <a:pt x="173669" y="303211"/>
                  </a:lnTo>
                  <a:lnTo>
                    <a:pt x="173985" y="296876"/>
                  </a:lnTo>
                  <a:lnTo>
                    <a:pt x="174617" y="291492"/>
                  </a:lnTo>
                  <a:lnTo>
                    <a:pt x="175565" y="286742"/>
                  </a:lnTo>
                  <a:lnTo>
                    <a:pt x="176829" y="282624"/>
                  </a:lnTo>
                  <a:lnTo>
                    <a:pt x="178093" y="279457"/>
                  </a:lnTo>
                  <a:lnTo>
                    <a:pt x="179673" y="277557"/>
                  </a:lnTo>
                  <a:lnTo>
                    <a:pt x="180305" y="277240"/>
                  </a:lnTo>
                  <a:lnTo>
                    <a:pt x="180937" y="276923"/>
                  </a:lnTo>
                  <a:lnTo>
                    <a:pt x="182201" y="277240"/>
                  </a:lnTo>
                  <a:lnTo>
                    <a:pt x="182517" y="268689"/>
                  </a:lnTo>
                  <a:lnTo>
                    <a:pt x="182833" y="264888"/>
                  </a:lnTo>
                  <a:lnTo>
                    <a:pt x="183781" y="261088"/>
                  </a:lnTo>
                  <a:lnTo>
                    <a:pt x="183149" y="252536"/>
                  </a:lnTo>
                  <a:lnTo>
                    <a:pt x="183149" y="244619"/>
                  </a:lnTo>
                  <a:lnTo>
                    <a:pt x="184097" y="237334"/>
                  </a:lnTo>
                  <a:lnTo>
                    <a:pt x="185993" y="231633"/>
                  </a:lnTo>
                  <a:lnTo>
                    <a:pt x="187889" y="226249"/>
                  </a:lnTo>
                  <a:lnTo>
                    <a:pt x="189153" y="223716"/>
                  </a:lnTo>
                  <a:lnTo>
                    <a:pt x="190733" y="221815"/>
                  </a:lnTo>
                  <a:lnTo>
                    <a:pt x="192313" y="219915"/>
                  </a:lnTo>
                  <a:lnTo>
                    <a:pt x="194209" y="218015"/>
                  </a:lnTo>
                  <a:lnTo>
                    <a:pt x="198001" y="214848"/>
                  </a:lnTo>
                  <a:lnTo>
                    <a:pt x="188837" y="214848"/>
                  </a:lnTo>
                  <a:lnTo>
                    <a:pt x="182201" y="215481"/>
                  </a:lnTo>
                  <a:lnTo>
                    <a:pt x="176197" y="215798"/>
                  </a:lnTo>
                  <a:lnTo>
                    <a:pt x="180305" y="213581"/>
                  </a:lnTo>
                  <a:lnTo>
                    <a:pt x="184413" y="210730"/>
                  </a:lnTo>
                  <a:lnTo>
                    <a:pt x="192945" y="204396"/>
                  </a:lnTo>
                  <a:lnTo>
                    <a:pt x="200845" y="198378"/>
                  </a:lnTo>
                  <a:lnTo>
                    <a:pt x="204638" y="195845"/>
                  </a:lnTo>
                  <a:lnTo>
                    <a:pt x="208430" y="193944"/>
                  </a:lnTo>
                  <a:lnTo>
                    <a:pt x="217594" y="189510"/>
                  </a:lnTo>
                  <a:lnTo>
                    <a:pt x="226758" y="185393"/>
                  </a:lnTo>
                  <a:lnTo>
                    <a:pt x="235606" y="182226"/>
                  </a:lnTo>
                  <a:lnTo>
                    <a:pt x="244139" y="179692"/>
                  </a:lnTo>
                  <a:lnTo>
                    <a:pt x="252355" y="177475"/>
                  </a:lnTo>
                  <a:lnTo>
                    <a:pt x="260887" y="175892"/>
                  </a:lnTo>
                  <a:lnTo>
                    <a:pt x="268471" y="175258"/>
                  </a:lnTo>
                  <a:lnTo>
                    <a:pt x="276055" y="174625"/>
                  </a:lnTo>
                  <a:close/>
                  <a:moveTo>
                    <a:pt x="1800062" y="0"/>
                  </a:moveTo>
                  <a:lnTo>
                    <a:pt x="1805766" y="0"/>
                  </a:lnTo>
                  <a:lnTo>
                    <a:pt x="1811153" y="634"/>
                  </a:lnTo>
                  <a:lnTo>
                    <a:pt x="1816857" y="951"/>
                  </a:lnTo>
                  <a:lnTo>
                    <a:pt x="1822244" y="1585"/>
                  </a:lnTo>
                  <a:lnTo>
                    <a:pt x="1826997" y="2853"/>
                  </a:lnTo>
                  <a:lnTo>
                    <a:pt x="1831750" y="3804"/>
                  </a:lnTo>
                  <a:lnTo>
                    <a:pt x="1840939" y="6974"/>
                  </a:lnTo>
                  <a:lnTo>
                    <a:pt x="1848861" y="10144"/>
                  </a:lnTo>
                  <a:lnTo>
                    <a:pt x="1855832" y="13948"/>
                  </a:lnTo>
                  <a:lnTo>
                    <a:pt x="1861853" y="17435"/>
                  </a:lnTo>
                  <a:lnTo>
                    <a:pt x="1866923" y="21239"/>
                  </a:lnTo>
                  <a:lnTo>
                    <a:pt x="1870408" y="24092"/>
                  </a:lnTo>
                  <a:lnTo>
                    <a:pt x="1873577" y="26628"/>
                  </a:lnTo>
                  <a:lnTo>
                    <a:pt x="1875795" y="29164"/>
                  </a:lnTo>
                  <a:lnTo>
                    <a:pt x="1875161" y="30432"/>
                  </a:lnTo>
                  <a:lnTo>
                    <a:pt x="1872626" y="35187"/>
                  </a:lnTo>
                  <a:lnTo>
                    <a:pt x="1871042" y="37723"/>
                  </a:lnTo>
                  <a:lnTo>
                    <a:pt x="1868507" y="40576"/>
                  </a:lnTo>
                  <a:lnTo>
                    <a:pt x="1865655" y="43747"/>
                  </a:lnTo>
                  <a:lnTo>
                    <a:pt x="1862803" y="46600"/>
                  </a:lnTo>
                  <a:lnTo>
                    <a:pt x="1859001" y="49453"/>
                  </a:lnTo>
                  <a:lnTo>
                    <a:pt x="1854881" y="51672"/>
                  </a:lnTo>
                  <a:lnTo>
                    <a:pt x="1850128" y="53574"/>
                  </a:lnTo>
                  <a:lnTo>
                    <a:pt x="1845058" y="54208"/>
                  </a:lnTo>
                  <a:lnTo>
                    <a:pt x="1842523" y="54525"/>
                  </a:lnTo>
                  <a:lnTo>
                    <a:pt x="1839355" y="54525"/>
                  </a:lnTo>
                  <a:lnTo>
                    <a:pt x="1836503" y="54208"/>
                  </a:lnTo>
                  <a:lnTo>
                    <a:pt x="1833017" y="53891"/>
                  </a:lnTo>
                  <a:lnTo>
                    <a:pt x="1829532" y="52940"/>
                  </a:lnTo>
                  <a:lnTo>
                    <a:pt x="1826363" y="51989"/>
                  </a:lnTo>
                  <a:lnTo>
                    <a:pt x="1822877" y="50404"/>
                  </a:lnTo>
                  <a:lnTo>
                    <a:pt x="1819075" y="48502"/>
                  </a:lnTo>
                  <a:lnTo>
                    <a:pt x="1814639" y="46600"/>
                  </a:lnTo>
                  <a:lnTo>
                    <a:pt x="1810202" y="44381"/>
                  </a:lnTo>
                  <a:lnTo>
                    <a:pt x="1828264" y="53574"/>
                  </a:lnTo>
                  <a:lnTo>
                    <a:pt x="1836503" y="57061"/>
                  </a:lnTo>
                  <a:lnTo>
                    <a:pt x="1844742" y="60231"/>
                  </a:lnTo>
                  <a:lnTo>
                    <a:pt x="1847910" y="61182"/>
                  </a:lnTo>
                  <a:lnTo>
                    <a:pt x="1851713" y="62133"/>
                  </a:lnTo>
                  <a:lnTo>
                    <a:pt x="1855198" y="62767"/>
                  </a:lnTo>
                  <a:lnTo>
                    <a:pt x="1858367" y="62767"/>
                  </a:lnTo>
                  <a:lnTo>
                    <a:pt x="1861536" y="62767"/>
                  </a:lnTo>
                  <a:lnTo>
                    <a:pt x="1864071" y="62133"/>
                  </a:lnTo>
                  <a:lnTo>
                    <a:pt x="1866923" y="60865"/>
                  </a:lnTo>
                  <a:lnTo>
                    <a:pt x="1869458" y="59597"/>
                  </a:lnTo>
                  <a:lnTo>
                    <a:pt x="1869775" y="65303"/>
                  </a:lnTo>
                  <a:lnTo>
                    <a:pt x="1870091" y="71009"/>
                  </a:lnTo>
                  <a:lnTo>
                    <a:pt x="1870091" y="76398"/>
                  </a:lnTo>
                  <a:lnTo>
                    <a:pt x="1869775" y="81470"/>
                  </a:lnTo>
                  <a:lnTo>
                    <a:pt x="1870408" y="80836"/>
                  </a:lnTo>
                  <a:lnTo>
                    <a:pt x="1871676" y="80519"/>
                  </a:lnTo>
                  <a:lnTo>
                    <a:pt x="1872310" y="80519"/>
                  </a:lnTo>
                  <a:lnTo>
                    <a:pt x="1872626" y="80836"/>
                  </a:lnTo>
                  <a:lnTo>
                    <a:pt x="1874211" y="82421"/>
                  </a:lnTo>
                  <a:lnTo>
                    <a:pt x="1875161" y="84640"/>
                  </a:lnTo>
                  <a:lnTo>
                    <a:pt x="1876112" y="88127"/>
                  </a:lnTo>
                  <a:lnTo>
                    <a:pt x="1877063" y="91614"/>
                  </a:lnTo>
                  <a:lnTo>
                    <a:pt x="1877696" y="96369"/>
                  </a:lnTo>
                  <a:lnTo>
                    <a:pt x="1878013" y="101124"/>
                  </a:lnTo>
                  <a:lnTo>
                    <a:pt x="1878013" y="106513"/>
                  </a:lnTo>
                  <a:lnTo>
                    <a:pt x="1878013" y="111586"/>
                  </a:lnTo>
                  <a:lnTo>
                    <a:pt x="1877696" y="116658"/>
                  </a:lnTo>
                  <a:lnTo>
                    <a:pt x="1877063" y="120779"/>
                  </a:lnTo>
                  <a:lnTo>
                    <a:pt x="1876112" y="124900"/>
                  </a:lnTo>
                  <a:lnTo>
                    <a:pt x="1875161" y="127753"/>
                  </a:lnTo>
                  <a:lnTo>
                    <a:pt x="1874211" y="129972"/>
                  </a:lnTo>
                  <a:lnTo>
                    <a:pt x="1872626" y="131874"/>
                  </a:lnTo>
                  <a:lnTo>
                    <a:pt x="1872310" y="132191"/>
                  </a:lnTo>
                  <a:lnTo>
                    <a:pt x="1871676" y="132191"/>
                  </a:lnTo>
                  <a:lnTo>
                    <a:pt x="1871042" y="132191"/>
                  </a:lnTo>
                  <a:lnTo>
                    <a:pt x="1870091" y="131557"/>
                  </a:lnTo>
                  <a:lnTo>
                    <a:pt x="1869141" y="129972"/>
                  </a:lnTo>
                  <a:lnTo>
                    <a:pt x="1867873" y="127436"/>
                  </a:lnTo>
                  <a:lnTo>
                    <a:pt x="1867240" y="123949"/>
                  </a:lnTo>
                  <a:lnTo>
                    <a:pt x="1865655" y="133142"/>
                  </a:lnTo>
                  <a:lnTo>
                    <a:pt x="1863754" y="141384"/>
                  </a:lnTo>
                  <a:lnTo>
                    <a:pt x="1861219" y="149626"/>
                  </a:lnTo>
                  <a:lnTo>
                    <a:pt x="1857733" y="156917"/>
                  </a:lnTo>
                  <a:lnTo>
                    <a:pt x="1853931" y="164208"/>
                  </a:lnTo>
                  <a:lnTo>
                    <a:pt x="1850128" y="170548"/>
                  </a:lnTo>
                  <a:lnTo>
                    <a:pt x="1845692" y="176571"/>
                  </a:lnTo>
                  <a:lnTo>
                    <a:pt x="1840939" y="181961"/>
                  </a:lnTo>
                  <a:lnTo>
                    <a:pt x="1835869" y="186716"/>
                  </a:lnTo>
                  <a:lnTo>
                    <a:pt x="1830799" y="191154"/>
                  </a:lnTo>
                  <a:lnTo>
                    <a:pt x="1825412" y="194958"/>
                  </a:lnTo>
                  <a:lnTo>
                    <a:pt x="1820025" y="198128"/>
                  </a:lnTo>
                  <a:lnTo>
                    <a:pt x="1814639" y="200347"/>
                  </a:lnTo>
                  <a:lnTo>
                    <a:pt x="1809252" y="202249"/>
                  </a:lnTo>
                  <a:lnTo>
                    <a:pt x="1804182" y="202883"/>
                  </a:lnTo>
                  <a:lnTo>
                    <a:pt x="1798795" y="203200"/>
                  </a:lnTo>
                  <a:lnTo>
                    <a:pt x="1794676" y="202883"/>
                  </a:lnTo>
                  <a:lnTo>
                    <a:pt x="1790239" y="201615"/>
                  </a:lnTo>
                  <a:lnTo>
                    <a:pt x="1785486" y="200347"/>
                  </a:lnTo>
                  <a:lnTo>
                    <a:pt x="1780416" y="197494"/>
                  </a:lnTo>
                  <a:lnTo>
                    <a:pt x="1775663" y="194641"/>
                  </a:lnTo>
                  <a:lnTo>
                    <a:pt x="1770276" y="190837"/>
                  </a:lnTo>
                  <a:lnTo>
                    <a:pt x="1765206" y="186399"/>
                  </a:lnTo>
                  <a:lnTo>
                    <a:pt x="1759819" y="181327"/>
                  </a:lnTo>
                  <a:lnTo>
                    <a:pt x="1755066" y="176254"/>
                  </a:lnTo>
                  <a:lnTo>
                    <a:pt x="1749996" y="170548"/>
                  </a:lnTo>
                  <a:lnTo>
                    <a:pt x="1745560" y="164208"/>
                  </a:lnTo>
                  <a:lnTo>
                    <a:pt x="1741124" y="157551"/>
                  </a:lnTo>
                  <a:lnTo>
                    <a:pt x="1737321" y="150260"/>
                  </a:lnTo>
                  <a:lnTo>
                    <a:pt x="1733836" y="142652"/>
                  </a:lnTo>
                  <a:lnTo>
                    <a:pt x="1730984" y="135044"/>
                  </a:lnTo>
                  <a:lnTo>
                    <a:pt x="1728449" y="127119"/>
                  </a:lnTo>
                  <a:lnTo>
                    <a:pt x="1727498" y="129655"/>
                  </a:lnTo>
                  <a:lnTo>
                    <a:pt x="1726548" y="131874"/>
                  </a:lnTo>
                  <a:lnTo>
                    <a:pt x="1725280" y="133142"/>
                  </a:lnTo>
                  <a:lnTo>
                    <a:pt x="1724330" y="133459"/>
                  </a:lnTo>
                  <a:lnTo>
                    <a:pt x="1723379" y="133459"/>
                  </a:lnTo>
                  <a:lnTo>
                    <a:pt x="1723062" y="133142"/>
                  </a:lnTo>
                  <a:lnTo>
                    <a:pt x="1721795" y="131557"/>
                  </a:lnTo>
                  <a:lnTo>
                    <a:pt x="1720844" y="129021"/>
                  </a:lnTo>
                  <a:lnTo>
                    <a:pt x="1719576" y="125851"/>
                  </a:lnTo>
                  <a:lnTo>
                    <a:pt x="1718943" y="122047"/>
                  </a:lnTo>
                  <a:lnTo>
                    <a:pt x="1718626" y="117609"/>
                  </a:lnTo>
                  <a:lnTo>
                    <a:pt x="1718309" y="112854"/>
                  </a:lnTo>
                  <a:lnTo>
                    <a:pt x="1717675" y="107464"/>
                  </a:lnTo>
                  <a:lnTo>
                    <a:pt x="1718309" y="102392"/>
                  </a:lnTo>
                  <a:lnTo>
                    <a:pt x="1718626" y="97320"/>
                  </a:lnTo>
                  <a:lnTo>
                    <a:pt x="1718943" y="92882"/>
                  </a:lnTo>
                  <a:lnTo>
                    <a:pt x="1719576" y="89078"/>
                  </a:lnTo>
                  <a:lnTo>
                    <a:pt x="1720844" y="86225"/>
                  </a:lnTo>
                  <a:lnTo>
                    <a:pt x="1721795" y="83372"/>
                  </a:lnTo>
                  <a:lnTo>
                    <a:pt x="1723062" y="82104"/>
                  </a:lnTo>
                  <a:lnTo>
                    <a:pt x="1723379" y="81470"/>
                  </a:lnTo>
                  <a:lnTo>
                    <a:pt x="1724330" y="81470"/>
                  </a:lnTo>
                  <a:lnTo>
                    <a:pt x="1724963" y="82104"/>
                  </a:lnTo>
                  <a:lnTo>
                    <a:pt x="1725280" y="75130"/>
                  </a:lnTo>
                  <a:lnTo>
                    <a:pt x="1726548" y="69107"/>
                  </a:lnTo>
                  <a:lnTo>
                    <a:pt x="1725597" y="62133"/>
                  </a:lnTo>
                  <a:lnTo>
                    <a:pt x="1725914" y="55793"/>
                  </a:lnTo>
                  <a:lnTo>
                    <a:pt x="1726865" y="50087"/>
                  </a:lnTo>
                  <a:lnTo>
                    <a:pt x="1727815" y="45649"/>
                  </a:lnTo>
                  <a:lnTo>
                    <a:pt x="1729400" y="40893"/>
                  </a:lnTo>
                  <a:lnTo>
                    <a:pt x="1731618" y="37723"/>
                  </a:lnTo>
                  <a:lnTo>
                    <a:pt x="1734153" y="34553"/>
                  </a:lnTo>
                  <a:lnTo>
                    <a:pt x="1737638" y="32334"/>
                  </a:lnTo>
                  <a:lnTo>
                    <a:pt x="1724963" y="32651"/>
                  </a:lnTo>
                  <a:lnTo>
                    <a:pt x="1720527" y="32651"/>
                  </a:lnTo>
                  <a:lnTo>
                    <a:pt x="1723379" y="31383"/>
                  </a:lnTo>
                  <a:lnTo>
                    <a:pt x="1726865" y="29164"/>
                  </a:lnTo>
                  <a:lnTo>
                    <a:pt x="1733519" y="24092"/>
                  </a:lnTo>
                  <a:lnTo>
                    <a:pt x="1739856" y="19337"/>
                  </a:lnTo>
                  <a:lnTo>
                    <a:pt x="1743025" y="17435"/>
                  </a:lnTo>
                  <a:lnTo>
                    <a:pt x="1745560" y="15533"/>
                  </a:lnTo>
                  <a:lnTo>
                    <a:pt x="1753165" y="12046"/>
                  </a:lnTo>
                  <a:lnTo>
                    <a:pt x="1760453" y="9193"/>
                  </a:lnTo>
                  <a:lnTo>
                    <a:pt x="1767424" y="6657"/>
                  </a:lnTo>
                  <a:lnTo>
                    <a:pt x="1774396" y="4121"/>
                  </a:lnTo>
                  <a:lnTo>
                    <a:pt x="1780733" y="2853"/>
                  </a:lnTo>
                  <a:lnTo>
                    <a:pt x="1787704" y="1585"/>
                  </a:lnTo>
                  <a:lnTo>
                    <a:pt x="1793725" y="951"/>
                  </a:lnTo>
                  <a:lnTo>
                    <a:pt x="1800062" y="0"/>
                  </a:lnTo>
                  <a:close/>
                </a:path>
              </a:pathLst>
            </a:custGeom>
            <a:solidFill>
              <a:srgbClr val="FFFFFF">
                <a:lumMod val="50000"/>
              </a:srgbClr>
            </a:solidFill>
            <a:ln>
              <a:solidFill>
                <a:srgbClr val="FFFFFF">
                  <a:lumMod val="50000"/>
                </a:srgbClr>
              </a:solidFill>
            </a:ln>
          </p:spPr>
          <p:txBody>
            <a:bodyPr anchor="ctr">
              <a:scene3d>
                <a:camera prst="orthographicFront"/>
                <a:lightRig rig="threePt" dir="t"/>
              </a:scene3d>
              <a:sp3d>
                <a:contourClr>
                  <a:srgbClr val="FFFFFF"/>
                </a:contourClr>
              </a:sp3d>
            </a:bodyPr>
            <a:lstStyle/>
            <a:p>
              <a:pPr algn="ctr" defTabSz="911225">
                <a:defRPr/>
              </a:pPr>
              <a:endParaRPr lang="zh-CN" altLang="en-US" sz="1600" kern="0">
                <a:solidFill>
                  <a:prstClr val="white">
                    <a:lumMod val="65000"/>
                  </a:prstClr>
                </a:solidFill>
              </a:endParaRPr>
            </a:p>
          </p:txBody>
        </p:sp>
        <p:pic>
          <p:nvPicPr>
            <p:cNvPr id="277" name="图片 119"/>
            <p:cNvPicPr>
              <a:picLocks noChangeAspect="1"/>
            </p:cNvPicPr>
            <p:nvPr/>
          </p:nvPicPr>
          <p:blipFill>
            <a:blip r:embed="rId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1301" y="1160019"/>
              <a:ext cx="173312" cy="1861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78" name="组合 120"/>
          <p:cNvGrpSpPr/>
          <p:nvPr/>
        </p:nvGrpSpPr>
        <p:grpSpPr bwMode="auto">
          <a:xfrm>
            <a:off x="4329113" y="1141414"/>
            <a:ext cx="236537" cy="282575"/>
            <a:chOff x="2696030" y="1160019"/>
            <a:chExt cx="378794" cy="416640"/>
          </a:xfrm>
        </p:grpSpPr>
        <p:sp>
          <p:nvSpPr>
            <p:cNvPr id="279" name="KSO_Shape"/>
            <p:cNvSpPr/>
            <p:nvPr/>
          </p:nvSpPr>
          <p:spPr bwMode="auto">
            <a:xfrm>
              <a:off x="2696030" y="1270030"/>
              <a:ext cx="378794" cy="306629"/>
            </a:xfrm>
            <a:custGeom>
              <a:avLst/>
              <a:gdLst>
                <a:gd name="T0" fmla="*/ 859152 w 2887663"/>
                <a:gd name="T1" fmla="*/ 1613541 h 2762250"/>
                <a:gd name="T2" fmla="*/ 660904 w 2887663"/>
                <a:gd name="T3" fmla="*/ 1631599 h 2762250"/>
                <a:gd name="T4" fmla="*/ 582760 w 2887663"/>
                <a:gd name="T5" fmla="*/ 1615068 h 2762250"/>
                <a:gd name="T6" fmla="*/ 995462 w 2887663"/>
                <a:gd name="T7" fmla="*/ 1633083 h 2762250"/>
                <a:gd name="T8" fmla="*/ 794773 w 2887663"/>
                <a:gd name="T9" fmla="*/ 1314259 h 2762250"/>
                <a:gd name="T10" fmla="*/ 610807 w 2887663"/>
                <a:gd name="T11" fmla="*/ 1237111 h 2762250"/>
                <a:gd name="T12" fmla="*/ 1010000 w 2887663"/>
                <a:gd name="T13" fmla="*/ 1258119 h 2762250"/>
                <a:gd name="T14" fmla="*/ 971706 w 2887663"/>
                <a:gd name="T15" fmla="*/ 1228164 h 2762250"/>
                <a:gd name="T16" fmla="*/ 1592768 w 2887663"/>
                <a:gd name="T17" fmla="*/ 1051361 h 2762250"/>
                <a:gd name="T18" fmla="*/ 1541332 w 2887663"/>
                <a:gd name="T19" fmla="*/ 1069171 h 2762250"/>
                <a:gd name="T20" fmla="*/ 1858757 w 2887663"/>
                <a:gd name="T21" fmla="*/ 1072313 h 2762250"/>
                <a:gd name="T22" fmla="*/ 1791171 w 2887663"/>
                <a:gd name="T23" fmla="*/ 1051365 h 2762250"/>
                <a:gd name="T24" fmla="*/ 1711030 w 2887663"/>
                <a:gd name="T25" fmla="*/ 968622 h 2762250"/>
                <a:gd name="T26" fmla="*/ 151645 w 2887663"/>
                <a:gd name="T27" fmla="*/ 762046 h 2762250"/>
                <a:gd name="T28" fmla="*/ 981201 w 2887663"/>
                <a:gd name="T29" fmla="*/ 768990 h 2762250"/>
                <a:gd name="T30" fmla="*/ 971764 w 2887663"/>
                <a:gd name="T31" fmla="*/ 1009888 h 2762250"/>
                <a:gd name="T32" fmla="*/ 1026917 w 2887663"/>
                <a:gd name="T33" fmla="*/ 1583646 h 2762250"/>
                <a:gd name="T34" fmla="*/ 718440 w 2887663"/>
                <a:gd name="T35" fmla="*/ 1721482 h 2762250"/>
                <a:gd name="T36" fmla="*/ 610651 w 2887663"/>
                <a:gd name="T37" fmla="*/ 1478698 h 2762250"/>
                <a:gd name="T38" fmla="*/ 560741 w 2887663"/>
                <a:gd name="T39" fmla="*/ 1185640 h 2762250"/>
                <a:gd name="T40" fmla="*/ 815324 w 2887663"/>
                <a:gd name="T41" fmla="*/ 771713 h 2762250"/>
                <a:gd name="T42" fmla="*/ 136146 w 2887663"/>
                <a:gd name="T43" fmla="*/ 816029 h 2762250"/>
                <a:gd name="T44" fmla="*/ 1067177 w 2887663"/>
                <a:gd name="T45" fmla="*/ 813407 h 2762250"/>
                <a:gd name="T46" fmla="*/ 1528817 w 2887663"/>
                <a:gd name="T47" fmla="*/ 756426 h 2762250"/>
                <a:gd name="T48" fmla="*/ 1840906 w 2887663"/>
                <a:gd name="T49" fmla="*/ 737034 h 2762250"/>
                <a:gd name="T50" fmla="*/ 1292342 w 2887663"/>
                <a:gd name="T51" fmla="*/ 568311 h 2762250"/>
                <a:gd name="T52" fmla="*/ 47127 w 2887663"/>
                <a:gd name="T53" fmla="*/ 541498 h 2762250"/>
                <a:gd name="T54" fmla="*/ 1204370 w 2887663"/>
                <a:gd name="T55" fmla="*/ 510077 h 2762250"/>
                <a:gd name="T56" fmla="*/ 1155777 w 2887663"/>
                <a:gd name="T57" fmla="*/ 521860 h 2762250"/>
                <a:gd name="T58" fmla="*/ 1096152 w 2887663"/>
                <a:gd name="T59" fmla="*/ 532321 h 2762250"/>
                <a:gd name="T60" fmla="*/ 1242636 w 2887663"/>
                <a:gd name="T61" fmla="*/ 504891 h 2762250"/>
                <a:gd name="T62" fmla="*/ 870122 w 2887663"/>
                <a:gd name="T63" fmla="*/ 534990 h 2762250"/>
                <a:gd name="T64" fmla="*/ 913650 w 2887663"/>
                <a:gd name="T65" fmla="*/ 644448 h 2762250"/>
                <a:gd name="T66" fmla="*/ 779299 w 2887663"/>
                <a:gd name="T67" fmla="*/ 746385 h 2762250"/>
                <a:gd name="T68" fmla="*/ 691197 w 2887663"/>
                <a:gd name="T69" fmla="*/ 575724 h 2762250"/>
                <a:gd name="T70" fmla="*/ 1168871 w 2887663"/>
                <a:gd name="T71" fmla="*/ 480811 h 2762250"/>
                <a:gd name="T72" fmla="*/ 1840343 w 2887663"/>
                <a:gd name="T73" fmla="*/ 706985 h 2762250"/>
                <a:gd name="T74" fmla="*/ 1885331 w 2887663"/>
                <a:gd name="T75" fmla="*/ 1036912 h 2762250"/>
                <a:gd name="T76" fmla="*/ 1588622 w 2887663"/>
                <a:gd name="T77" fmla="*/ 1119655 h 2762250"/>
                <a:gd name="T78" fmla="*/ 1576695 w 2887663"/>
                <a:gd name="T79" fmla="*/ 720602 h 2762250"/>
                <a:gd name="T80" fmla="*/ 1493833 w 2887663"/>
                <a:gd name="T81" fmla="*/ 411832 h 2762250"/>
                <a:gd name="T82" fmla="*/ 1275484 w 2887663"/>
                <a:gd name="T83" fmla="*/ 362396 h 2762250"/>
                <a:gd name="T84" fmla="*/ 1107388 w 2887663"/>
                <a:gd name="T85" fmla="*/ 362576 h 2762250"/>
                <a:gd name="T86" fmla="*/ 326123 w 2887663"/>
                <a:gd name="T87" fmla="*/ 320344 h 2762250"/>
                <a:gd name="T88" fmla="*/ 258049 w 2887663"/>
                <a:gd name="T89" fmla="*/ 723731 h 2762250"/>
                <a:gd name="T90" fmla="*/ 204010 w 2887663"/>
                <a:gd name="T91" fmla="*/ 839314 h 2762250"/>
                <a:gd name="T92" fmla="*/ 59276 w 2887663"/>
                <a:gd name="T93" fmla="*/ 675484 h 2762250"/>
                <a:gd name="T94" fmla="*/ 32256 w 2887663"/>
                <a:gd name="T95" fmla="*/ 329155 h 2762250"/>
                <a:gd name="T96" fmla="*/ 1290906 w 2887663"/>
                <a:gd name="T97" fmla="*/ 155423 h 2762250"/>
                <a:gd name="T98" fmla="*/ 1253293 w 2887663"/>
                <a:gd name="T99" fmla="*/ 489815 h 2762250"/>
                <a:gd name="T100" fmla="*/ 1112660 w 2887663"/>
                <a:gd name="T101" fmla="*/ 568754 h 2762250"/>
                <a:gd name="T102" fmla="*/ 1105555 w 2887663"/>
                <a:gd name="T103" fmla="*/ 323142 h 2762250"/>
                <a:gd name="T104" fmla="*/ 1200843 w 2887663"/>
                <a:gd name="T105" fmla="*/ 214889 h 2762250"/>
                <a:gd name="T106" fmla="*/ 1747182 w 2887663"/>
                <a:gd name="T107" fmla="*/ 188111 h 2762250"/>
                <a:gd name="T108" fmla="*/ 1769224 w 2887663"/>
                <a:gd name="T109" fmla="*/ 298086 h 2762250"/>
                <a:gd name="T110" fmla="*/ 1613878 w 2887663"/>
                <a:gd name="T111" fmla="*/ 273578 h 2762250"/>
                <a:gd name="T112" fmla="*/ 1622904 w 2887663"/>
                <a:gd name="T113" fmla="*/ 148101 h 2762250"/>
                <a:gd name="T114" fmla="*/ 198167 w 2887663"/>
                <a:gd name="T115" fmla="*/ 155541 h 2762250"/>
                <a:gd name="T116" fmla="*/ 216304 w 2887663"/>
                <a:gd name="T117" fmla="*/ 266289 h 2762250"/>
                <a:gd name="T118" fmla="*/ 120615 w 2887663"/>
                <a:gd name="T119" fmla="*/ 174765 h 2762250"/>
                <a:gd name="T120" fmla="*/ 1223671 w 2887663"/>
                <a:gd name="T121" fmla="*/ 34092 h 2762250"/>
                <a:gd name="T122" fmla="*/ 1232241 w 2887663"/>
                <a:gd name="T123" fmla="*/ 84078 h 2762250"/>
                <a:gd name="T124" fmla="*/ 1135246 w 2887663"/>
                <a:gd name="T125" fmla="*/ 56889 h 276225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887663" h="2762250">
                  <a:moveTo>
                    <a:pt x="873134" y="2527300"/>
                  </a:moveTo>
                  <a:lnTo>
                    <a:pt x="877887" y="2538366"/>
                  </a:lnTo>
                  <a:lnTo>
                    <a:pt x="723573" y="2601913"/>
                  </a:lnTo>
                  <a:lnTo>
                    <a:pt x="719137" y="2590848"/>
                  </a:lnTo>
                  <a:lnTo>
                    <a:pt x="873134" y="2527300"/>
                  </a:lnTo>
                  <a:close/>
                  <a:moveTo>
                    <a:pt x="1277937" y="2406650"/>
                  </a:moveTo>
                  <a:lnTo>
                    <a:pt x="1369498" y="2406650"/>
                  </a:lnTo>
                  <a:lnTo>
                    <a:pt x="1373617" y="2409226"/>
                  </a:lnTo>
                  <a:lnTo>
                    <a:pt x="1384072" y="2416632"/>
                  </a:lnTo>
                  <a:lnTo>
                    <a:pt x="1390725" y="2421462"/>
                  </a:lnTo>
                  <a:lnTo>
                    <a:pt x="1398012" y="2426935"/>
                  </a:lnTo>
                  <a:lnTo>
                    <a:pt x="1404665" y="2432409"/>
                  </a:lnTo>
                  <a:lnTo>
                    <a:pt x="1411318" y="2438527"/>
                  </a:lnTo>
                  <a:lnTo>
                    <a:pt x="1417021" y="2444645"/>
                  </a:lnTo>
                  <a:lnTo>
                    <a:pt x="1419556" y="2447865"/>
                  </a:lnTo>
                  <a:lnTo>
                    <a:pt x="1421457" y="2450763"/>
                  </a:lnTo>
                  <a:lnTo>
                    <a:pt x="1423358" y="2453661"/>
                  </a:lnTo>
                  <a:lnTo>
                    <a:pt x="1424625" y="2456559"/>
                  </a:lnTo>
                  <a:lnTo>
                    <a:pt x="1425258" y="2459135"/>
                  </a:lnTo>
                  <a:lnTo>
                    <a:pt x="1425575" y="2461389"/>
                  </a:lnTo>
                  <a:lnTo>
                    <a:pt x="1425258" y="2464287"/>
                  </a:lnTo>
                  <a:lnTo>
                    <a:pt x="1423991" y="2466219"/>
                  </a:lnTo>
                  <a:lnTo>
                    <a:pt x="1422724" y="2468473"/>
                  </a:lnTo>
                  <a:lnTo>
                    <a:pt x="1419872" y="2469761"/>
                  </a:lnTo>
                  <a:lnTo>
                    <a:pt x="1417021" y="2471371"/>
                  </a:lnTo>
                  <a:lnTo>
                    <a:pt x="1412902" y="2472981"/>
                  </a:lnTo>
                  <a:lnTo>
                    <a:pt x="1408150" y="2473625"/>
                  </a:lnTo>
                  <a:lnTo>
                    <a:pt x="1402131" y="2474591"/>
                  </a:lnTo>
                  <a:lnTo>
                    <a:pt x="1394844" y="2474913"/>
                  </a:lnTo>
                  <a:lnTo>
                    <a:pt x="1387874" y="2474913"/>
                  </a:lnTo>
                  <a:lnTo>
                    <a:pt x="1380904" y="2474591"/>
                  </a:lnTo>
                  <a:lnTo>
                    <a:pt x="1374567" y="2473303"/>
                  </a:lnTo>
                  <a:lnTo>
                    <a:pt x="1368548" y="2472337"/>
                  </a:lnTo>
                  <a:lnTo>
                    <a:pt x="1362528" y="2471049"/>
                  </a:lnTo>
                  <a:lnTo>
                    <a:pt x="1357459" y="2469117"/>
                  </a:lnTo>
                  <a:lnTo>
                    <a:pt x="1351756" y="2467185"/>
                  </a:lnTo>
                  <a:lnTo>
                    <a:pt x="1347004" y="2464931"/>
                  </a:lnTo>
                  <a:lnTo>
                    <a:pt x="1341618" y="2462677"/>
                  </a:lnTo>
                  <a:lnTo>
                    <a:pt x="1332113" y="2456881"/>
                  </a:lnTo>
                  <a:lnTo>
                    <a:pt x="1323242" y="2451085"/>
                  </a:lnTo>
                  <a:lnTo>
                    <a:pt x="1314055" y="2444645"/>
                  </a:lnTo>
                  <a:lnTo>
                    <a:pt x="1310570" y="2442069"/>
                  </a:lnTo>
                  <a:lnTo>
                    <a:pt x="1307718" y="2440781"/>
                  </a:lnTo>
                  <a:lnTo>
                    <a:pt x="1306768" y="2440781"/>
                  </a:lnTo>
                  <a:lnTo>
                    <a:pt x="1305817" y="2440781"/>
                  </a:lnTo>
                  <a:lnTo>
                    <a:pt x="1305184" y="2441747"/>
                  </a:lnTo>
                  <a:lnTo>
                    <a:pt x="1304550" y="2442713"/>
                  </a:lnTo>
                  <a:lnTo>
                    <a:pt x="1304233" y="2444001"/>
                  </a:lnTo>
                  <a:lnTo>
                    <a:pt x="1303283" y="2444967"/>
                  </a:lnTo>
                  <a:lnTo>
                    <a:pt x="1302649" y="2444967"/>
                  </a:lnTo>
                  <a:lnTo>
                    <a:pt x="1302332" y="2445611"/>
                  </a:lnTo>
                  <a:lnTo>
                    <a:pt x="1291560" y="2444967"/>
                  </a:lnTo>
                  <a:lnTo>
                    <a:pt x="1286175" y="2444323"/>
                  </a:lnTo>
                  <a:lnTo>
                    <a:pt x="1283957" y="2444001"/>
                  </a:lnTo>
                  <a:lnTo>
                    <a:pt x="1282373" y="2443357"/>
                  </a:lnTo>
                  <a:lnTo>
                    <a:pt x="1280472" y="2434341"/>
                  </a:lnTo>
                  <a:lnTo>
                    <a:pt x="1279205" y="2426935"/>
                  </a:lnTo>
                  <a:lnTo>
                    <a:pt x="1278571" y="2421140"/>
                  </a:lnTo>
                  <a:lnTo>
                    <a:pt x="1278571" y="2416632"/>
                  </a:lnTo>
                  <a:lnTo>
                    <a:pt x="1278571" y="2413090"/>
                  </a:lnTo>
                  <a:lnTo>
                    <a:pt x="1278888" y="2411158"/>
                  </a:lnTo>
                  <a:lnTo>
                    <a:pt x="1279205" y="2409226"/>
                  </a:lnTo>
                  <a:lnTo>
                    <a:pt x="1277937" y="2406650"/>
                  </a:lnTo>
                  <a:close/>
                  <a:moveTo>
                    <a:pt x="1045692" y="2406650"/>
                  </a:moveTo>
                  <a:lnTo>
                    <a:pt x="1138237" y="2406650"/>
                  </a:lnTo>
                  <a:lnTo>
                    <a:pt x="1136956" y="2409226"/>
                  </a:lnTo>
                  <a:lnTo>
                    <a:pt x="1137277" y="2411158"/>
                  </a:lnTo>
                  <a:lnTo>
                    <a:pt x="1137597" y="2413090"/>
                  </a:lnTo>
                  <a:lnTo>
                    <a:pt x="1137597" y="2416632"/>
                  </a:lnTo>
                  <a:lnTo>
                    <a:pt x="1137597" y="2421140"/>
                  </a:lnTo>
                  <a:lnTo>
                    <a:pt x="1136956" y="2426935"/>
                  </a:lnTo>
                  <a:lnTo>
                    <a:pt x="1135675" y="2434341"/>
                  </a:lnTo>
                  <a:lnTo>
                    <a:pt x="1133754" y="2443357"/>
                  </a:lnTo>
                  <a:lnTo>
                    <a:pt x="1132153" y="2444001"/>
                  </a:lnTo>
                  <a:lnTo>
                    <a:pt x="1129911" y="2444323"/>
                  </a:lnTo>
                  <a:lnTo>
                    <a:pt x="1124147" y="2444967"/>
                  </a:lnTo>
                  <a:lnTo>
                    <a:pt x="1113580" y="2445611"/>
                  </a:lnTo>
                  <a:lnTo>
                    <a:pt x="1113260" y="2444967"/>
                  </a:lnTo>
                  <a:lnTo>
                    <a:pt x="1112619" y="2444967"/>
                  </a:lnTo>
                  <a:lnTo>
                    <a:pt x="1112299" y="2444001"/>
                  </a:lnTo>
                  <a:lnTo>
                    <a:pt x="1111338" y="2442713"/>
                  </a:lnTo>
                  <a:lnTo>
                    <a:pt x="1110698" y="2441747"/>
                  </a:lnTo>
                  <a:lnTo>
                    <a:pt x="1109737" y="2440781"/>
                  </a:lnTo>
                  <a:lnTo>
                    <a:pt x="1109097" y="2440781"/>
                  </a:lnTo>
                  <a:lnTo>
                    <a:pt x="1107816" y="2440781"/>
                  </a:lnTo>
                  <a:lnTo>
                    <a:pt x="1105254" y="2442069"/>
                  </a:lnTo>
                  <a:lnTo>
                    <a:pt x="1101411" y="2444645"/>
                  </a:lnTo>
                  <a:lnTo>
                    <a:pt x="1092445" y="2451085"/>
                  </a:lnTo>
                  <a:lnTo>
                    <a:pt x="1083479" y="2456881"/>
                  </a:lnTo>
                  <a:lnTo>
                    <a:pt x="1073872" y="2462677"/>
                  </a:lnTo>
                  <a:lnTo>
                    <a:pt x="1069069" y="2464931"/>
                  </a:lnTo>
                  <a:lnTo>
                    <a:pt x="1063625" y="2467185"/>
                  </a:lnTo>
                  <a:lnTo>
                    <a:pt x="1057861" y="2469117"/>
                  </a:lnTo>
                  <a:lnTo>
                    <a:pt x="1052737" y="2471049"/>
                  </a:lnTo>
                  <a:lnTo>
                    <a:pt x="1046653" y="2472337"/>
                  </a:lnTo>
                  <a:lnTo>
                    <a:pt x="1040569" y="2473303"/>
                  </a:lnTo>
                  <a:lnTo>
                    <a:pt x="1034164" y="2474591"/>
                  </a:lnTo>
                  <a:lnTo>
                    <a:pt x="1027119" y="2474913"/>
                  </a:lnTo>
                  <a:lnTo>
                    <a:pt x="1020394" y="2474913"/>
                  </a:lnTo>
                  <a:lnTo>
                    <a:pt x="1012709" y="2474591"/>
                  </a:lnTo>
                  <a:lnTo>
                    <a:pt x="1006625" y="2473625"/>
                  </a:lnTo>
                  <a:lnTo>
                    <a:pt x="1001821" y="2472981"/>
                  </a:lnTo>
                  <a:lnTo>
                    <a:pt x="997658" y="2471371"/>
                  </a:lnTo>
                  <a:lnTo>
                    <a:pt x="994456" y="2469761"/>
                  </a:lnTo>
                  <a:lnTo>
                    <a:pt x="991894" y="2468473"/>
                  </a:lnTo>
                  <a:lnTo>
                    <a:pt x="990293" y="2466219"/>
                  </a:lnTo>
                  <a:lnTo>
                    <a:pt x="989332" y="2464287"/>
                  </a:lnTo>
                  <a:lnTo>
                    <a:pt x="989012" y="2461389"/>
                  </a:lnTo>
                  <a:lnTo>
                    <a:pt x="989332" y="2459135"/>
                  </a:lnTo>
                  <a:lnTo>
                    <a:pt x="989973" y="2456559"/>
                  </a:lnTo>
                  <a:lnTo>
                    <a:pt x="991254" y="2453661"/>
                  </a:lnTo>
                  <a:lnTo>
                    <a:pt x="993175" y="2450763"/>
                  </a:lnTo>
                  <a:lnTo>
                    <a:pt x="995417" y="2447865"/>
                  </a:lnTo>
                  <a:lnTo>
                    <a:pt x="997658" y="2444645"/>
                  </a:lnTo>
                  <a:lnTo>
                    <a:pt x="1003422" y="2438527"/>
                  </a:lnTo>
                  <a:lnTo>
                    <a:pt x="1010147" y="2432409"/>
                  </a:lnTo>
                  <a:lnTo>
                    <a:pt x="1017192" y="2426935"/>
                  </a:lnTo>
                  <a:lnTo>
                    <a:pt x="1024237" y="2421462"/>
                  </a:lnTo>
                  <a:lnTo>
                    <a:pt x="1030962" y="2416632"/>
                  </a:lnTo>
                  <a:lnTo>
                    <a:pt x="1041529" y="2409226"/>
                  </a:lnTo>
                  <a:lnTo>
                    <a:pt x="1045692" y="2406650"/>
                  </a:lnTo>
                  <a:close/>
                  <a:moveTo>
                    <a:pt x="1201246" y="2330132"/>
                  </a:moveTo>
                  <a:lnTo>
                    <a:pt x="1182492" y="2330450"/>
                  </a:lnTo>
                  <a:lnTo>
                    <a:pt x="1164372" y="2331085"/>
                  </a:lnTo>
                  <a:lnTo>
                    <a:pt x="1157061" y="2331720"/>
                  </a:lnTo>
                  <a:lnTo>
                    <a:pt x="1155472" y="2331720"/>
                  </a:lnTo>
                  <a:lnTo>
                    <a:pt x="1153565" y="2344420"/>
                  </a:lnTo>
                  <a:lnTo>
                    <a:pt x="1148796" y="2388235"/>
                  </a:lnTo>
                  <a:lnTo>
                    <a:pt x="1139896" y="2388235"/>
                  </a:lnTo>
                  <a:lnTo>
                    <a:pt x="1042943" y="2389822"/>
                  </a:lnTo>
                  <a:lnTo>
                    <a:pt x="1039764" y="2347277"/>
                  </a:lnTo>
                  <a:lnTo>
                    <a:pt x="1022280" y="2352040"/>
                  </a:lnTo>
                  <a:lnTo>
                    <a:pt x="1005115" y="2356802"/>
                  </a:lnTo>
                  <a:lnTo>
                    <a:pt x="989539" y="2361565"/>
                  </a:lnTo>
                  <a:lnTo>
                    <a:pt x="974281" y="2367280"/>
                  </a:lnTo>
                  <a:lnTo>
                    <a:pt x="960930" y="2372995"/>
                  </a:lnTo>
                  <a:lnTo>
                    <a:pt x="947579" y="2379027"/>
                  </a:lnTo>
                  <a:lnTo>
                    <a:pt x="935817" y="2385377"/>
                  </a:lnTo>
                  <a:lnTo>
                    <a:pt x="925009" y="2391727"/>
                  </a:lnTo>
                  <a:lnTo>
                    <a:pt x="915791" y="2398395"/>
                  </a:lnTo>
                  <a:lnTo>
                    <a:pt x="907208" y="2405380"/>
                  </a:lnTo>
                  <a:lnTo>
                    <a:pt x="903711" y="2409190"/>
                  </a:lnTo>
                  <a:lnTo>
                    <a:pt x="900215" y="2412365"/>
                  </a:lnTo>
                  <a:lnTo>
                    <a:pt x="896718" y="2415857"/>
                  </a:lnTo>
                  <a:lnTo>
                    <a:pt x="894175" y="2419667"/>
                  </a:lnTo>
                  <a:lnTo>
                    <a:pt x="891632" y="2422842"/>
                  </a:lnTo>
                  <a:lnTo>
                    <a:pt x="889407" y="2426335"/>
                  </a:lnTo>
                  <a:lnTo>
                    <a:pt x="887500" y="2430145"/>
                  </a:lnTo>
                  <a:lnTo>
                    <a:pt x="885910" y="2433637"/>
                  </a:lnTo>
                  <a:lnTo>
                    <a:pt x="884639" y="2437130"/>
                  </a:lnTo>
                  <a:lnTo>
                    <a:pt x="884003" y="2440622"/>
                  </a:lnTo>
                  <a:lnTo>
                    <a:pt x="883367" y="2444432"/>
                  </a:lnTo>
                  <a:lnTo>
                    <a:pt x="883367" y="2447925"/>
                  </a:lnTo>
                  <a:lnTo>
                    <a:pt x="883367" y="2451100"/>
                  </a:lnTo>
                  <a:lnTo>
                    <a:pt x="883685" y="2454592"/>
                  </a:lnTo>
                  <a:lnTo>
                    <a:pt x="884639" y="2457450"/>
                  </a:lnTo>
                  <a:lnTo>
                    <a:pt x="885592" y="2460942"/>
                  </a:lnTo>
                  <a:lnTo>
                    <a:pt x="887182" y="2464435"/>
                  </a:lnTo>
                  <a:lnTo>
                    <a:pt x="888771" y="2467610"/>
                  </a:lnTo>
                  <a:lnTo>
                    <a:pt x="890678" y="2471102"/>
                  </a:lnTo>
                  <a:lnTo>
                    <a:pt x="892903" y="2473960"/>
                  </a:lnTo>
                  <a:lnTo>
                    <a:pt x="898307" y="2480945"/>
                  </a:lnTo>
                  <a:lnTo>
                    <a:pt x="904665" y="2487295"/>
                  </a:lnTo>
                  <a:lnTo>
                    <a:pt x="912294" y="2493645"/>
                  </a:lnTo>
                  <a:lnTo>
                    <a:pt x="920877" y="2499995"/>
                  </a:lnTo>
                  <a:lnTo>
                    <a:pt x="930413" y="2506027"/>
                  </a:lnTo>
                  <a:lnTo>
                    <a:pt x="940903" y="2512060"/>
                  </a:lnTo>
                  <a:lnTo>
                    <a:pt x="952665" y="2518092"/>
                  </a:lnTo>
                  <a:lnTo>
                    <a:pt x="964426" y="2523807"/>
                  </a:lnTo>
                  <a:lnTo>
                    <a:pt x="978095" y="2528888"/>
                  </a:lnTo>
                  <a:lnTo>
                    <a:pt x="992082" y="2533968"/>
                  </a:lnTo>
                  <a:lnTo>
                    <a:pt x="1006704" y="2538730"/>
                  </a:lnTo>
                  <a:lnTo>
                    <a:pt x="1022598" y="2543175"/>
                  </a:lnTo>
                  <a:lnTo>
                    <a:pt x="1041671" y="2548255"/>
                  </a:lnTo>
                  <a:lnTo>
                    <a:pt x="1062015" y="2552700"/>
                  </a:lnTo>
                  <a:lnTo>
                    <a:pt x="1083631" y="2556510"/>
                  </a:lnTo>
                  <a:lnTo>
                    <a:pt x="1105247" y="2559368"/>
                  </a:lnTo>
                  <a:lnTo>
                    <a:pt x="1128452" y="2562225"/>
                  </a:lnTo>
                  <a:lnTo>
                    <a:pt x="1151975" y="2564130"/>
                  </a:lnTo>
                  <a:lnTo>
                    <a:pt x="1176452" y="2565083"/>
                  </a:lnTo>
                  <a:lnTo>
                    <a:pt x="1201246" y="2565400"/>
                  </a:lnTo>
                  <a:lnTo>
                    <a:pt x="1222862" y="2565083"/>
                  </a:lnTo>
                  <a:lnTo>
                    <a:pt x="1243524" y="2564448"/>
                  </a:lnTo>
                  <a:lnTo>
                    <a:pt x="1264187" y="2562860"/>
                  </a:lnTo>
                  <a:lnTo>
                    <a:pt x="1283895" y="2560955"/>
                  </a:lnTo>
                  <a:lnTo>
                    <a:pt x="1303286" y="2558733"/>
                  </a:lnTo>
                  <a:lnTo>
                    <a:pt x="1321723" y="2555558"/>
                  </a:lnTo>
                  <a:lnTo>
                    <a:pt x="1339842" y="2552700"/>
                  </a:lnTo>
                  <a:lnTo>
                    <a:pt x="1357643" y="2548890"/>
                  </a:lnTo>
                  <a:lnTo>
                    <a:pt x="1374173" y="2544763"/>
                  </a:lnTo>
                  <a:lnTo>
                    <a:pt x="1390385" y="2540635"/>
                  </a:lnTo>
                  <a:lnTo>
                    <a:pt x="1405325" y="2535873"/>
                  </a:lnTo>
                  <a:lnTo>
                    <a:pt x="1419630" y="2530793"/>
                  </a:lnTo>
                  <a:lnTo>
                    <a:pt x="1431073" y="2526347"/>
                  </a:lnTo>
                  <a:lnTo>
                    <a:pt x="1441881" y="2521902"/>
                  </a:lnTo>
                  <a:lnTo>
                    <a:pt x="1452053" y="2516822"/>
                  </a:lnTo>
                  <a:lnTo>
                    <a:pt x="1461590" y="2512060"/>
                  </a:lnTo>
                  <a:lnTo>
                    <a:pt x="1470490" y="2507297"/>
                  </a:lnTo>
                  <a:lnTo>
                    <a:pt x="1478437" y="2502217"/>
                  </a:lnTo>
                  <a:lnTo>
                    <a:pt x="1486066" y="2497137"/>
                  </a:lnTo>
                  <a:lnTo>
                    <a:pt x="1492742" y="2491740"/>
                  </a:lnTo>
                  <a:lnTo>
                    <a:pt x="1499099" y="2486025"/>
                  </a:lnTo>
                  <a:lnTo>
                    <a:pt x="1504503" y="2480945"/>
                  </a:lnTo>
                  <a:lnTo>
                    <a:pt x="1508954" y="2475230"/>
                  </a:lnTo>
                  <a:lnTo>
                    <a:pt x="1512768" y="2469832"/>
                  </a:lnTo>
                  <a:lnTo>
                    <a:pt x="1515629" y="2464435"/>
                  </a:lnTo>
                  <a:lnTo>
                    <a:pt x="1517854" y="2458720"/>
                  </a:lnTo>
                  <a:lnTo>
                    <a:pt x="1519126" y="2453322"/>
                  </a:lnTo>
                  <a:lnTo>
                    <a:pt x="1519444" y="2447925"/>
                  </a:lnTo>
                  <a:lnTo>
                    <a:pt x="1519126" y="2442845"/>
                  </a:lnTo>
                  <a:lnTo>
                    <a:pt x="1518490" y="2438082"/>
                  </a:lnTo>
                  <a:lnTo>
                    <a:pt x="1516583" y="2433002"/>
                  </a:lnTo>
                  <a:lnTo>
                    <a:pt x="1514358" y="2427922"/>
                  </a:lnTo>
                  <a:lnTo>
                    <a:pt x="1511179" y="2422842"/>
                  </a:lnTo>
                  <a:lnTo>
                    <a:pt x="1507364" y="2418080"/>
                  </a:lnTo>
                  <a:lnTo>
                    <a:pt x="1503232" y="2413317"/>
                  </a:lnTo>
                  <a:lnTo>
                    <a:pt x="1498464" y="2408237"/>
                  </a:lnTo>
                  <a:lnTo>
                    <a:pt x="1493060" y="2403475"/>
                  </a:lnTo>
                  <a:lnTo>
                    <a:pt x="1487020" y="2399030"/>
                  </a:lnTo>
                  <a:lnTo>
                    <a:pt x="1480662" y="2393950"/>
                  </a:lnTo>
                  <a:lnTo>
                    <a:pt x="1473669" y="2389505"/>
                  </a:lnTo>
                  <a:lnTo>
                    <a:pt x="1465722" y="2385060"/>
                  </a:lnTo>
                  <a:lnTo>
                    <a:pt x="1457775" y="2380615"/>
                  </a:lnTo>
                  <a:lnTo>
                    <a:pt x="1448557" y="2376487"/>
                  </a:lnTo>
                  <a:lnTo>
                    <a:pt x="1439656" y="2372360"/>
                  </a:lnTo>
                  <a:lnTo>
                    <a:pt x="1424716" y="2365692"/>
                  </a:lnTo>
                  <a:lnTo>
                    <a:pt x="1408504" y="2360295"/>
                  </a:lnTo>
                  <a:lnTo>
                    <a:pt x="1391020" y="2354897"/>
                  </a:lnTo>
                  <a:lnTo>
                    <a:pt x="1372583" y="2350135"/>
                  </a:lnTo>
                  <a:lnTo>
                    <a:pt x="1369722" y="2389822"/>
                  </a:lnTo>
                  <a:lnTo>
                    <a:pt x="1268319" y="2389822"/>
                  </a:lnTo>
                  <a:lnTo>
                    <a:pt x="1260690" y="2332355"/>
                  </a:lnTo>
                  <a:lnTo>
                    <a:pt x="1246385" y="2331720"/>
                  </a:lnTo>
                  <a:lnTo>
                    <a:pt x="1231763" y="2330767"/>
                  </a:lnTo>
                  <a:lnTo>
                    <a:pt x="1216823" y="2330450"/>
                  </a:lnTo>
                  <a:lnTo>
                    <a:pt x="1201246" y="2330132"/>
                  </a:lnTo>
                  <a:close/>
                  <a:moveTo>
                    <a:pt x="1861529" y="2074863"/>
                  </a:moveTo>
                  <a:lnTo>
                    <a:pt x="1868488" y="2085078"/>
                  </a:lnTo>
                  <a:lnTo>
                    <a:pt x="1702093" y="2192338"/>
                  </a:lnTo>
                  <a:lnTo>
                    <a:pt x="1695450" y="2181803"/>
                  </a:lnTo>
                  <a:lnTo>
                    <a:pt x="1861529" y="2074863"/>
                  </a:lnTo>
                  <a:close/>
                  <a:moveTo>
                    <a:pt x="1219048" y="2005330"/>
                  </a:moveTo>
                  <a:lnTo>
                    <a:pt x="1186942" y="2065337"/>
                  </a:lnTo>
                  <a:lnTo>
                    <a:pt x="1161512" y="2280602"/>
                  </a:lnTo>
                  <a:lnTo>
                    <a:pt x="1180902" y="2279650"/>
                  </a:lnTo>
                  <a:lnTo>
                    <a:pt x="1201246" y="2279332"/>
                  </a:lnTo>
                  <a:lnTo>
                    <a:pt x="1214915" y="2279650"/>
                  </a:lnTo>
                  <a:lnTo>
                    <a:pt x="1227948" y="2279967"/>
                  </a:lnTo>
                  <a:lnTo>
                    <a:pt x="1254332" y="2281237"/>
                  </a:lnTo>
                  <a:lnTo>
                    <a:pt x="1219048" y="2005330"/>
                  </a:lnTo>
                  <a:close/>
                  <a:moveTo>
                    <a:pt x="1196160" y="1991360"/>
                  </a:moveTo>
                  <a:lnTo>
                    <a:pt x="1191074" y="2032000"/>
                  </a:lnTo>
                  <a:lnTo>
                    <a:pt x="1212690" y="1991360"/>
                  </a:lnTo>
                  <a:lnTo>
                    <a:pt x="1208876" y="1991677"/>
                  </a:lnTo>
                  <a:lnTo>
                    <a:pt x="1204743" y="1991995"/>
                  </a:lnTo>
                  <a:lnTo>
                    <a:pt x="1200293" y="1991677"/>
                  </a:lnTo>
                  <a:lnTo>
                    <a:pt x="1196160" y="1991360"/>
                  </a:lnTo>
                  <a:close/>
                  <a:moveTo>
                    <a:pt x="751423" y="1981200"/>
                  </a:moveTo>
                  <a:lnTo>
                    <a:pt x="838200" y="2111073"/>
                  </a:lnTo>
                  <a:lnTo>
                    <a:pt x="828139" y="2117725"/>
                  </a:lnTo>
                  <a:lnTo>
                    <a:pt x="741362" y="1987852"/>
                  </a:lnTo>
                  <a:lnTo>
                    <a:pt x="751423" y="1981200"/>
                  </a:lnTo>
                  <a:close/>
                  <a:moveTo>
                    <a:pt x="2195208" y="1862138"/>
                  </a:moveTo>
                  <a:lnTo>
                    <a:pt x="2201863" y="1872672"/>
                  </a:lnTo>
                  <a:lnTo>
                    <a:pt x="2035164" y="1979613"/>
                  </a:lnTo>
                  <a:lnTo>
                    <a:pt x="2028825" y="1969398"/>
                  </a:lnTo>
                  <a:lnTo>
                    <a:pt x="2195208" y="1862138"/>
                  </a:lnTo>
                  <a:close/>
                  <a:moveTo>
                    <a:pt x="857250" y="1828800"/>
                  </a:moveTo>
                  <a:lnTo>
                    <a:pt x="932616" y="1842554"/>
                  </a:lnTo>
                  <a:lnTo>
                    <a:pt x="934861" y="1843179"/>
                  </a:lnTo>
                  <a:lnTo>
                    <a:pt x="937106" y="1844430"/>
                  </a:lnTo>
                  <a:lnTo>
                    <a:pt x="939351" y="1846305"/>
                  </a:lnTo>
                  <a:lnTo>
                    <a:pt x="940955" y="1848806"/>
                  </a:lnTo>
                  <a:lnTo>
                    <a:pt x="942879" y="1851307"/>
                  </a:lnTo>
                  <a:lnTo>
                    <a:pt x="944162" y="1854745"/>
                  </a:lnTo>
                  <a:lnTo>
                    <a:pt x="945445" y="1858497"/>
                  </a:lnTo>
                  <a:lnTo>
                    <a:pt x="946407" y="1862560"/>
                  </a:lnTo>
                  <a:lnTo>
                    <a:pt x="948972" y="1871313"/>
                  </a:lnTo>
                  <a:lnTo>
                    <a:pt x="950255" y="1880691"/>
                  </a:lnTo>
                  <a:lnTo>
                    <a:pt x="952500" y="1899134"/>
                  </a:lnTo>
                  <a:lnTo>
                    <a:pt x="952500" y="1902886"/>
                  </a:lnTo>
                  <a:lnTo>
                    <a:pt x="952180" y="1905386"/>
                  </a:lnTo>
                  <a:lnTo>
                    <a:pt x="951859" y="1906949"/>
                  </a:lnTo>
                  <a:lnTo>
                    <a:pt x="951217" y="1907262"/>
                  </a:lnTo>
                  <a:lnTo>
                    <a:pt x="950576" y="1907262"/>
                  </a:lnTo>
                  <a:lnTo>
                    <a:pt x="949293" y="1907262"/>
                  </a:lnTo>
                  <a:lnTo>
                    <a:pt x="947690" y="1906324"/>
                  </a:lnTo>
                  <a:lnTo>
                    <a:pt x="945765" y="1904761"/>
                  </a:lnTo>
                  <a:lnTo>
                    <a:pt x="943841" y="1902886"/>
                  </a:lnTo>
                  <a:lnTo>
                    <a:pt x="939993" y="1897571"/>
                  </a:lnTo>
                  <a:lnTo>
                    <a:pt x="937106" y="1892257"/>
                  </a:lnTo>
                  <a:lnTo>
                    <a:pt x="935503" y="1889131"/>
                  </a:lnTo>
                  <a:lnTo>
                    <a:pt x="934541" y="1886318"/>
                  </a:lnTo>
                  <a:lnTo>
                    <a:pt x="933899" y="1883504"/>
                  </a:lnTo>
                  <a:lnTo>
                    <a:pt x="933579" y="1881316"/>
                  </a:lnTo>
                  <a:lnTo>
                    <a:pt x="933579" y="1879441"/>
                  </a:lnTo>
                  <a:lnTo>
                    <a:pt x="933258" y="1878190"/>
                  </a:lnTo>
                  <a:lnTo>
                    <a:pt x="932937" y="1876627"/>
                  </a:lnTo>
                  <a:lnTo>
                    <a:pt x="931975" y="1875064"/>
                  </a:lnTo>
                  <a:lnTo>
                    <a:pt x="931334" y="1874439"/>
                  </a:lnTo>
                  <a:lnTo>
                    <a:pt x="930692" y="1873501"/>
                  </a:lnTo>
                  <a:lnTo>
                    <a:pt x="929409" y="1873189"/>
                  </a:lnTo>
                  <a:lnTo>
                    <a:pt x="928768" y="1873189"/>
                  </a:lnTo>
                  <a:lnTo>
                    <a:pt x="927485" y="1873501"/>
                  </a:lnTo>
                  <a:lnTo>
                    <a:pt x="926844" y="1874439"/>
                  </a:lnTo>
                  <a:lnTo>
                    <a:pt x="925882" y="1875064"/>
                  </a:lnTo>
                  <a:lnTo>
                    <a:pt x="925240" y="1876627"/>
                  </a:lnTo>
                  <a:lnTo>
                    <a:pt x="924599" y="1878190"/>
                  </a:lnTo>
                  <a:lnTo>
                    <a:pt x="924278" y="1880378"/>
                  </a:lnTo>
                  <a:lnTo>
                    <a:pt x="923637" y="1882879"/>
                  </a:lnTo>
                  <a:lnTo>
                    <a:pt x="923316" y="1885380"/>
                  </a:lnTo>
                  <a:lnTo>
                    <a:pt x="923316" y="1891319"/>
                  </a:lnTo>
                  <a:lnTo>
                    <a:pt x="922354" y="1896321"/>
                  </a:lnTo>
                  <a:lnTo>
                    <a:pt x="921392" y="1898822"/>
                  </a:lnTo>
                  <a:lnTo>
                    <a:pt x="920430" y="1900697"/>
                  </a:lnTo>
                  <a:lnTo>
                    <a:pt x="919147" y="1902573"/>
                  </a:lnTo>
                  <a:lnTo>
                    <a:pt x="917543" y="1904449"/>
                  </a:lnTo>
                  <a:lnTo>
                    <a:pt x="916260" y="1905699"/>
                  </a:lnTo>
                  <a:lnTo>
                    <a:pt x="914336" y="1906949"/>
                  </a:lnTo>
                  <a:lnTo>
                    <a:pt x="912091" y="1908200"/>
                  </a:lnTo>
                  <a:lnTo>
                    <a:pt x="909846" y="1909138"/>
                  </a:lnTo>
                  <a:lnTo>
                    <a:pt x="906960" y="1909450"/>
                  </a:lnTo>
                  <a:lnTo>
                    <a:pt x="904073" y="1909763"/>
                  </a:lnTo>
                  <a:lnTo>
                    <a:pt x="900546" y="1909763"/>
                  </a:lnTo>
                  <a:lnTo>
                    <a:pt x="897018" y="1909763"/>
                  </a:lnTo>
                  <a:lnTo>
                    <a:pt x="894132" y="1909450"/>
                  </a:lnTo>
                  <a:lnTo>
                    <a:pt x="891245" y="1908512"/>
                  </a:lnTo>
                  <a:lnTo>
                    <a:pt x="888359" y="1907262"/>
                  </a:lnTo>
                  <a:lnTo>
                    <a:pt x="885793" y="1905386"/>
                  </a:lnTo>
                  <a:lnTo>
                    <a:pt x="883548" y="1903511"/>
                  </a:lnTo>
                  <a:lnTo>
                    <a:pt x="881303" y="1901323"/>
                  </a:lnTo>
                  <a:lnTo>
                    <a:pt x="879058" y="1898822"/>
                  </a:lnTo>
                  <a:lnTo>
                    <a:pt x="877134" y="1896321"/>
                  </a:lnTo>
                  <a:lnTo>
                    <a:pt x="873286" y="1889756"/>
                  </a:lnTo>
                  <a:lnTo>
                    <a:pt x="870079" y="1882879"/>
                  </a:lnTo>
                  <a:lnTo>
                    <a:pt x="867192" y="1875690"/>
                  </a:lnTo>
                  <a:lnTo>
                    <a:pt x="864947" y="1868500"/>
                  </a:lnTo>
                  <a:lnTo>
                    <a:pt x="863023" y="1860997"/>
                  </a:lnTo>
                  <a:lnTo>
                    <a:pt x="861099" y="1853495"/>
                  </a:lnTo>
                  <a:lnTo>
                    <a:pt x="858854" y="1840991"/>
                  </a:lnTo>
                  <a:lnTo>
                    <a:pt x="857571" y="1832238"/>
                  </a:lnTo>
                  <a:lnTo>
                    <a:pt x="857250" y="1828800"/>
                  </a:lnTo>
                  <a:close/>
                  <a:moveTo>
                    <a:pt x="1562100" y="1827213"/>
                  </a:moveTo>
                  <a:lnTo>
                    <a:pt x="1561780" y="1830705"/>
                  </a:lnTo>
                  <a:lnTo>
                    <a:pt x="1560497" y="1839595"/>
                  </a:lnTo>
                  <a:lnTo>
                    <a:pt x="1557931" y="1852613"/>
                  </a:lnTo>
                  <a:lnTo>
                    <a:pt x="1556328" y="1859915"/>
                  </a:lnTo>
                  <a:lnTo>
                    <a:pt x="1554403" y="1867535"/>
                  </a:lnTo>
                  <a:lnTo>
                    <a:pt x="1552158" y="1875155"/>
                  </a:lnTo>
                  <a:lnTo>
                    <a:pt x="1549272" y="1882140"/>
                  </a:lnTo>
                  <a:lnTo>
                    <a:pt x="1546065" y="1889443"/>
                  </a:lnTo>
                  <a:lnTo>
                    <a:pt x="1542537" y="1895475"/>
                  </a:lnTo>
                  <a:lnTo>
                    <a:pt x="1540613" y="1898333"/>
                  </a:lnTo>
                  <a:lnTo>
                    <a:pt x="1538047" y="1900873"/>
                  </a:lnTo>
                  <a:lnTo>
                    <a:pt x="1535802" y="1903413"/>
                  </a:lnTo>
                  <a:lnTo>
                    <a:pt x="1533237" y="1905000"/>
                  </a:lnTo>
                  <a:lnTo>
                    <a:pt x="1530992" y="1906905"/>
                  </a:lnTo>
                  <a:lnTo>
                    <a:pt x="1528426" y="1908175"/>
                  </a:lnTo>
                  <a:lnTo>
                    <a:pt x="1525219" y="1908810"/>
                  </a:lnTo>
                  <a:lnTo>
                    <a:pt x="1522333" y="1909763"/>
                  </a:lnTo>
                  <a:lnTo>
                    <a:pt x="1518805" y="1909763"/>
                  </a:lnTo>
                  <a:lnTo>
                    <a:pt x="1515277" y="1909763"/>
                  </a:lnTo>
                  <a:lnTo>
                    <a:pt x="1512391" y="1909445"/>
                  </a:lnTo>
                  <a:lnTo>
                    <a:pt x="1509825" y="1908493"/>
                  </a:lnTo>
                  <a:lnTo>
                    <a:pt x="1506939" y="1907858"/>
                  </a:lnTo>
                  <a:lnTo>
                    <a:pt x="1505014" y="1906588"/>
                  </a:lnTo>
                  <a:lnTo>
                    <a:pt x="1503411" y="1905635"/>
                  </a:lnTo>
                  <a:lnTo>
                    <a:pt x="1501487" y="1904048"/>
                  </a:lnTo>
                  <a:lnTo>
                    <a:pt x="1500204" y="1902143"/>
                  </a:lnTo>
                  <a:lnTo>
                    <a:pt x="1498600" y="1900238"/>
                  </a:lnTo>
                  <a:lnTo>
                    <a:pt x="1497959" y="1898333"/>
                  </a:lnTo>
                  <a:lnTo>
                    <a:pt x="1497317" y="1895793"/>
                  </a:lnTo>
                  <a:lnTo>
                    <a:pt x="1496035" y="1890713"/>
                  </a:lnTo>
                  <a:lnTo>
                    <a:pt x="1495714" y="1884998"/>
                  </a:lnTo>
                  <a:lnTo>
                    <a:pt x="1495714" y="1881823"/>
                  </a:lnTo>
                  <a:lnTo>
                    <a:pt x="1495393" y="1879600"/>
                  </a:lnTo>
                  <a:lnTo>
                    <a:pt x="1494752" y="1877378"/>
                  </a:lnTo>
                  <a:lnTo>
                    <a:pt x="1494110" y="1875790"/>
                  </a:lnTo>
                  <a:lnTo>
                    <a:pt x="1493469" y="1874203"/>
                  </a:lnTo>
                  <a:lnTo>
                    <a:pt x="1492507" y="1873568"/>
                  </a:lnTo>
                  <a:lnTo>
                    <a:pt x="1491865" y="1872933"/>
                  </a:lnTo>
                  <a:lnTo>
                    <a:pt x="1490583" y="1872298"/>
                  </a:lnTo>
                  <a:lnTo>
                    <a:pt x="1489941" y="1872298"/>
                  </a:lnTo>
                  <a:lnTo>
                    <a:pt x="1488979" y="1872933"/>
                  </a:lnTo>
                  <a:lnTo>
                    <a:pt x="1488017" y="1873568"/>
                  </a:lnTo>
                  <a:lnTo>
                    <a:pt x="1487376" y="1874203"/>
                  </a:lnTo>
                  <a:lnTo>
                    <a:pt x="1486413" y="1875790"/>
                  </a:lnTo>
                  <a:lnTo>
                    <a:pt x="1486093" y="1877060"/>
                  </a:lnTo>
                  <a:lnTo>
                    <a:pt x="1485772" y="1878965"/>
                  </a:lnTo>
                  <a:lnTo>
                    <a:pt x="1485772" y="1880870"/>
                  </a:lnTo>
                  <a:lnTo>
                    <a:pt x="1485451" y="1883093"/>
                  </a:lnTo>
                  <a:lnTo>
                    <a:pt x="1485131" y="1885633"/>
                  </a:lnTo>
                  <a:lnTo>
                    <a:pt x="1483848" y="1888490"/>
                  </a:lnTo>
                  <a:lnTo>
                    <a:pt x="1482244" y="1891665"/>
                  </a:lnTo>
                  <a:lnTo>
                    <a:pt x="1479358" y="1897380"/>
                  </a:lnTo>
                  <a:lnTo>
                    <a:pt x="1475509" y="1902460"/>
                  </a:lnTo>
                  <a:lnTo>
                    <a:pt x="1473585" y="1904365"/>
                  </a:lnTo>
                  <a:lnTo>
                    <a:pt x="1471661" y="1905953"/>
                  </a:lnTo>
                  <a:lnTo>
                    <a:pt x="1470378" y="1906905"/>
                  </a:lnTo>
                  <a:lnTo>
                    <a:pt x="1468774" y="1906905"/>
                  </a:lnTo>
                  <a:lnTo>
                    <a:pt x="1468454" y="1906905"/>
                  </a:lnTo>
                  <a:lnTo>
                    <a:pt x="1467492" y="1906588"/>
                  </a:lnTo>
                  <a:lnTo>
                    <a:pt x="1466850" y="1904683"/>
                  </a:lnTo>
                  <a:lnTo>
                    <a:pt x="1466850" y="1902143"/>
                  </a:lnTo>
                  <a:lnTo>
                    <a:pt x="1466850" y="1898650"/>
                  </a:lnTo>
                  <a:lnTo>
                    <a:pt x="1469095" y="1879918"/>
                  </a:lnTo>
                  <a:lnTo>
                    <a:pt x="1470699" y="1870710"/>
                  </a:lnTo>
                  <a:lnTo>
                    <a:pt x="1472944" y="1861503"/>
                  </a:lnTo>
                  <a:lnTo>
                    <a:pt x="1473906" y="1857375"/>
                  </a:lnTo>
                  <a:lnTo>
                    <a:pt x="1475189" y="1853565"/>
                  </a:lnTo>
                  <a:lnTo>
                    <a:pt x="1476792" y="1850390"/>
                  </a:lnTo>
                  <a:lnTo>
                    <a:pt x="1478716" y="1847215"/>
                  </a:lnTo>
                  <a:lnTo>
                    <a:pt x="1479999" y="1844993"/>
                  </a:lnTo>
                  <a:lnTo>
                    <a:pt x="1482244" y="1843088"/>
                  </a:lnTo>
                  <a:lnTo>
                    <a:pt x="1484810" y="1841500"/>
                  </a:lnTo>
                  <a:lnTo>
                    <a:pt x="1487055" y="1841183"/>
                  </a:lnTo>
                  <a:lnTo>
                    <a:pt x="1562100" y="1827213"/>
                  </a:lnTo>
                  <a:close/>
                  <a:moveTo>
                    <a:pt x="575376" y="1720850"/>
                  </a:moveTo>
                  <a:lnTo>
                    <a:pt x="663575" y="1850406"/>
                  </a:lnTo>
                  <a:lnTo>
                    <a:pt x="653349" y="1857375"/>
                  </a:lnTo>
                  <a:lnTo>
                    <a:pt x="565150" y="1727502"/>
                  </a:lnTo>
                  <a:lnTo>
                    <a:pt x="575376" y="1720850"/>
                  </a:lnTo>
                  <a:close/>
                  <a:moveTo>
                    <a:pt x="2438400" y="1706563"/>
                  </a:moveTo>
                  <a:lnTo>
                    <a:pt x="2444750" y="1717208"/>
                  </a:lnTo>
                  <a:lnTo>
                    <a:pt x="2368550" y="1766888"/>
                  </a:lnTo>
                  <a:lnTo>
                    <a:pt x="2362200" y="1756242"/>
                  </a:lnTo>
                  <a:lnTo>
                    <a:pt x="2438400" y="1706563"/>
                  </a:lnTo>
                  <a:close/>
                  <a:moveTo>
                    <a:pt x="2439910" y="1539875"/>
                  </a:moveTo>
                  <a:lnTo>
                    <a:pt x="2513012" y="1539875"/>
                  </a:lnTo>
                  <a:lnTo>
                    <a:pt x="2511735" y="1542137"/>
                  </a:lnTo>
                  <a:lnTo>
                    <a:pt x="2512374" y="1543430"/>
                  </a:lnTo>
                  <a:lnTo>
                    <a:pt x="2512693" y="1547632"/>
                  </a:lnTo>
                  <a:lnTo>
                    <a:pt x="2512693" y="1551510"/>
                  </a:lnTo>
                  <a:lnTo>
                    <a:pt x="2512374" y="1556035"/>
                  </a:lnTo>
                  <a:lnTo>
                    <a:pt x="2511097" y="1561853"/>
                  </a:lnTo>
                  <a:lnTo>
                    <a:pt x="2509501" y="1568963"/>
                  </a:lnTo>
                  <a:lnTo>
                    <a:pt x="2508543" y="1569286"/>
                  </a:lnTo>
                  <a:lnTo>
                    <a:pt x="2506628" y="1569933"/>
                  </a:lnTo>
                  <a:lnTo>
                    <a:pt x="2502478" y="1570256"/>
                  </a:lnTo>
                  <a:lnTo>
                    <a:pt x="2493859" y="1570579"/>
                  </a:lnTo>
                  <a:lnTo>
                    <a:pt x="2492901" y="1570256"/>
                  </a:lnTo>
                  <a:lnTo>
                    <a:pt x="2492582" y="1569286"/>
                  </a:lnTo>
                  <a:lnTo>
                    <a:pt x="2491305" y="1567347"/>
                  </a:lnTo>
                  <a:lnTo>
                    <a:pt x="2490666" y="1567024"/>
                  </a:lnTo>
                  <a:lnTo>
                    <a:pt x="2489070" y="1567024"/>
                  </a:lnTo>
                  <a:lnTo>
                    <a:pt x="2487155" y="1567994"/>
                  </a:lnTo>
                  <a:lnTo>
                    <a:pt x="2484282" y="1569933"/>
                  </a:lnTo>
                  <a:lnTo>
                    <a:pt x="2476940" y="1575104"/>
                  </a:lnTo>
                  <a:lnTo>
                    <a:pt x="2469917" y="1579629"/>
                  </a:lnTo>
                  <a:lnTo>
                    <a:pt x="2462255" y="1584477"/>
                  </a:lnTo>
                  <a:lnTo>
                    <a:pt x="2454275" y="1587709"/>
                  </a:lnTo>
                  <a:lnTo>
                    <a:pt x="2449806" y="1589325"/>
                  </a:lnTo>
                  <a:lnTo>
                    <a:pt x="2445336" y="1590941"/>
                  </a:lnTo>
                  <a:lnTo>
                    <a:pt x="2440867" y="1591911"/>
                  </a:lnTo>
                  <a:lnTo>
                    <a:pt x="2435760" y="1592880"/>
                  </a:lnTo>
                  <a:lnTo>
                    <a:pt x="2430971" y="1593527"/>
                  </a:lnTo>
                  <a:lnTo>
                    <a:pt x="2425544" y="1593850"/>
                  </a:lnTo>
                  <a:lnTo>
                    <a:pt x="2420118" y="1593850"/>
                  </a:lnTo>
                  <a:lnTo>
                    <a:pt x="2414372" y="1593527"/>
                  </a:lnTo>
                  <a:lnTo>
                    <a:pt x="2409264" y="1593203"/>
                  </a:lnTo>
                  <a:lnTo>
                    <a:pt x="2405752" y="1592234"/>
                  </a:lnTo>
                  <a:lnTo>
                    <a:pt x="2402241" y="1591264"/>
                  </a:lnTo>
                  <a:lnTo>
                    <a:pt x="2399687" y="1589971"/>
                  </a:lnTo>
                  <a:lnTo>
                    <a:pt x="2397772" y="1589002"/>
                  </a:lnTo>
                  <a:lnTo>
                    <a:pt x="2396495" y="1587063"/>
                  </a:lnTo>
                  <a:lnTo>
                    <a:pt x="2395856" y="1585447"/>
                  </a:lnTo>
                  <a:lnTo>
                    <a:pt x="2395537" y="1583507"/>
                  </a:lnTo>
                  <a:lnTo>
                    <a:pt x="2395537" y="1581568"/>
                  </a:lnTo>
                  <a:lnTo>
                    <a:pt x="2396176" y="1579306"/>
                  </a:lnTo>
                  <a:lnTo>
                    <a:pt x="2397453" y="1577043"/>
                  </a:lnTo>
                  <a:lnTo>
                    <a:pt x="2398410" y="1574781"/>
                  </a:lnTo>
                  <a:lnTo>
                    <a:pt x="2402241" y="1570256"/>
                  </a:lnTo>
                  <a:lnTo>
                    <a:pt x="2406710" y="1565085"/>
                  </a:lnTo>
                  <a:lnTo>
                    <a:pt x="2412137" y="1560237"/>
                  </a:lnTo>
                  <a:lnTo>
                    <a:pt x="2417564" y="1555712"/>
                  </a:lnTo>
                  <a:lnTo>
                    <a:pt x="2428417" y="1547632"/>
                  </a:lnTo>
                  <a:lnTo>
                    <a:pt x="2436717" y="1541814"/>
                  </a:lnTo>
                  <a:lnTo>
                    <a:pt x="2439910" y="1539875"/>
                  </a:lnTo>
                  <a:close/>
                  <a:moveTo>
                    <a:pt x="2579046" y="1497966"/>
                  </a:moveTo>
                  <a:lnTo>
                    <a:pt x="2564773" y="1498283"/>
                  </a:lnTo>
                  <a:lnTo>
                    <a:pt x="2550817" y="1498918"/>
                  </a:lnTo>
                  <a:lnTo>
                    <a:pt x="2537179" y="1499553"/>
                  </a:lnTo>
                  <a:lnTo>
                    <a:pt x="2524174" y="1500823"/>
                  </a:lnTo>
                  <a:lnTo>
                    <a:pt x="2521002" y="1525271"/>
                  </a:lnTo>
                  <a:lnTo>
                    <a:pt x="2437584" y="1526223"/>
                  </a:lnTo>
                  <a:lnTo>
                    <a:pt x="2436950" y="1515746"/>
                  </a:lnTo>
                  <a:lnTo>
                    <a:pt x="2424579" y="1519556"/>
                  </a:lnTo>
                  <a:lnTo>
                    <a:pt x="2412527" y="1523366"/>
                  </a:lnTo>
                  <a:lnTo>
                    <a:pt x="2401108" y="1527493"/>
                  </a:lnTo>
                  <a:lnTo>
                    <a:pt x="2390324" y="1531938"/>
                  </a:lnTo>
                  <a:lnTo>
                    <a:pt x="2380491" y="1536383"/>
                  </a:lnTo>
                  <a:lnTo>
                    <a:pt x="2371610" y="1541146"/>
                  </a:lnTo>
                  <a:lnTo>
                    <a:pt x="2363046" y="1546226"/>
                  </a:lnTo>
                  <a:lnTo>
                    <a:pt x="2355434" y="1551306"/>
                  </a:lnTo>
                  <a:lnTo>
                    <a:pt x="2348773" y="1556703"/>
                  </a:lnTo>
                  <a:lnTo>
                    <a:pt x="2342747" y="1562101"/>
                  </a:lnTo>
                  <a:lnTo>
                    <a:pt x="2337672" y="1567181"/>
                  </a:lnTo>
                  <a:lnTo>
                    <a:pt x="2333549" y="1572896"/>
                  </a:lnTo>
                  <a:lnTo>
                    <a:pt x="2330377" y="1578293"/>
                  </a:lnTo>
                  <a:lnTo>
                    <a:pt x="2327522" y="1583691"/>
                  </a:lnTo>
                  <a:lnTo>
                    <a:pt x="2326888" y="1586548"/>
                  </a:lnTo>
                  <a:lnTo>
                    <a:pt x="2326253" y="1589406"/>
                  </a:lnTo>
                  <a:lnTo>
                    <a:pt x="2325619" y="1591946"/>
                  </a:lnTo>
                  <a:lnTo>
                    <a:pt x="2325619" y="1594803"/>
                  </a:lnTo>
                  <a:lnTo>
                    <a:pt x="2326253" y="1599248"/>
                  </a:lnTo>
                  <a:lnTo>
                    <a:pt x="2326888" y="1603376"/>
                  </a:lnTo>
                  <a:lnTo>
                    <a:pt x="2328474" y="1607821"/>
                  </a:lnTo>
                  <a:lnTo>
                    <a:pt x="2330694" y="1611948"/>
                  </a:lnTo>
                  <a:lnTo>
                    <a:pt x="2333231" y="1616393"/>
                  </a:lnTo>
                  <a:lnTo>
                    <a:pt x="2336403" y="1620521"/>
                  </a:lnTo>
                  <a:lnTo>
                    <a:pt x="2339892" y="1625283"/>
                  </a:lnTo>
                  <a:lnTo>
                    <a:pt x="2344650" y="1629411"/>
                  </a:lnTo>
                  <a:lnTo>
                    <a:pt x="2349090" y="1633538"/>
                  </a:lnTo>
                  <a:lnTo>
                    <a:pt x="2354165" y="1637666"/>
                  </a:lnTo>
                  <a:lnTo>
                    <a:pt x="2360192" y="1641793"/>
                  </a:lnTo>
                  <a:lnTo>
                    <a:pt x="2366535" y="1645603"/>
                  </a:lnTo>
                  <a:lnTo>
                    <a:pt x="2373513" y="1649096"/>
                  </a:lnTo>
                  <a:lnTo>
                    <a:pt x="2380491" y="1652906"/>
                  </a:lnTo>
                  <a:lnTo>
                    <a:pt x="2388104" y="1656716"/>
                  </a:lnTo>
                  <a:lnTo>
                    <a:pt x="2396350" y="1660208"/>
                  </a:lnTo>
                  <a:lnTo>
                    <a:pt x="2404914" y="1663383"/>
                  </a:lnTo>
                  <a:lnTo>
                    <a:pt x="2414112" y="1666876"/>
                  </a:lnTo>
                  <a:lnTo>
                    <a:pt x="2423311" y="1670051"/>
                  </a:lnTo>
                  <a:lnTo>
                    <a:pt x="2433143" y="1672908"/>
                  </a:lnTo>
                  <a:lnTo>
                    <a:pt x="2443293" y="1675448"/>
                  </a:lnTo>
                  <a:lnTo>
                    <a:pt x="2454077" y="1678306"/>
                  </a:lnTo>
                  <a:lnTo>
                    <a:pt x="2465179" y="1680846"/>
                  </a:lnTo>
                  <a:lnTo>
                    <a:pt x="2476280" y="1682751"/>
                  </a:lnTo>
                  <a:lnTo>
                    <a:pt x="2488016" y="1684973"/>
                  </a:lnTo>
                  <a:lnTo>
                    <a:pt x="2500068" y="1686561"/>
                  </a:lnTo>
                  <a:lnTo>
                    <a:pt x="2512439" y="1687831"/>
                  </a:lnTo>
                  <a:lnTo>
                    <a:pt x="2525126" y="1689101"/>
                  </a:lnTo>
                  <a:lnTo>
                    <a:pt x="2537813" y="1690053"/>
                  </a:lnTo>
                  <a:lnTo>
                    <a:pt x="2551452" y="1691006"/>
                  </a:lnTo>
                  <a:lnTo>
                    <a:pt x="2565090" y="1691323"/>
                  </a:lnTo>
                  <a:lnTo>
                    <a:pt x="2579046" y="1691323"/>
                  </a:lnTo>
                  <a:lnTo>
                    <a:pt x="2592685" y="1691323"/>
                  </a:lnTo>
                  <a:lnTo>
                    <a:pt x="2606324" y="1691006"/>
                  </a:lnTo>
                  <a:lnTo>
                    <a:pt x="2619328" y="1690053"/>
                  </a:lnTo>
                  <a:lnTo>
                    <a:pt x="2632650" y="1689101"/>
                  </a:lnTo>
                  <a:lnTo>
                    <a:pt x="2645337" y="1687831"/>
                  </a:lnTo>
                  <a:lnTo>
                    <a:pt x="2657390" y="1686561"/>
                  </a:lnTo>
                  <a:lnTo>
                    <a:pt x="2669443" y="1684973"/>
                  </a:lnTo>
                  <a:lnTo>
                    <a:pt x="2681496" y="1682751"/>
                  </a:lnTo>
                  <a:lnTo>
                    <a:pt x="2692597" y="1680846"/>
                  </a:lnTo>
                  <a:lnTo>
                    <a:pt x="2703698" y="1678306"/>
                  </a:lnTo>
                  <a:lnTo>
                    <a:pt x="2714165" y="1675448"/>
                  </a:lnTo>
                  <a:lnTo>
                    <a:pt x="2724315" y="1672908"/>
                  </a:lnTo>
                  <a:lnTo>
                    <a:pt x="2734465" y="1670051"/>
                  </a:lnTo>
                  <a:lnTo>
                    <a:pt x="2743663" y="1666876"/>
                  </a:lnTo>
                  <a:lnTo>
                    <a:pt x="2752861" y="1663383"/>
                  </a:lnTo>
                  <a:lnTo>
                    <a:pt x="2761425" y="1660208"/>
                  </a:lnTo>
                  <a:lnTo>
                    <a:pt x="2769355" y="1656716"/>
                  </a:lnTo>
                  <a:lnTo>
                    <a:pt x="2777284" y="1652906"/>
                  </a:lnTo>
                  <a:lnTo>
                    <a:pt x="2784262" y="1649096"/>
                  </a:lnTo>
                  <a:lnTo>
                    <a:pt x="2791240" y="1645603"/>
                  </a:lnTo>
                  <a:lnTo>
                    <a:pt x="2797584" y="1641793"/>
                  </a:lnTo>
                  <a:lnTo>
                    <a:pt x="2803293" y="1637666"/>
                  </a:lnTo>
                  <a:lnTo>
                    <a:pt x="2808368" y="1633538"/>
                  </a:lnTo>
                  <a:lnTo>
                    <a:pt x="2813443" y="1629411"/>
                  </a:lnTo>
                  <a:lnTo>
                    <a:pt x="2817566" y="1625283"/>
                  </a:lnTo>
                  <a:lnTo>
                    <a:pt x="2821055" y="1620521"/>
                  </a:lnTo>
                  <a:lnTo>
                    <a:pt x="2824544" y="1616393"/>
                  </a:lnTo>
                  <a:lnTo>
                    <a:pt x="2827082" y="1611948"/>
                  </a:lnTo>
                  <a:lnTo>
                    <a:pt x="2828985" y="1607821"/>
                  </a:lnTo>
                  <a:lnTo>
                    <a:pt x="2830571" y="1603376"/>
                  </a:lnTo>
                  <a:lnTo>
                    <a:pt x="2831839" y="1599248"/>
                  </a:lnTo>
                  <a:lnTo>
                    <a:pt x="2832157" y="1594803"/>
                  </a:lnTo>
                  <a:lnTo>
                    <a:pt x="2831839" y="1591628"/>
                  </a:lnTo>
                  <a:lnTo>
                    <a:pt x="2831205" y="1588771"/>
                  </a:lnTo>
                  <a:lnTo>
                    <a:pt x="2830571" y="1585596"/>
                  </a:lnTo>
                  <a:lnTo>
                    <a:pt x="2829302" y="1582738"/>
                  </a:lnTo>
                  <a:lnTo>
                    <a:pt x="2828350" y="1579563"/>
                  </a:lnTo>
                  <a:lnTo>
                    <a:pt x="2826447" y="1576706"/>
                  </a:lnTo>
                  <a:lnTo>
                    <a:pt x="2824544" y="1573213"/>
                  </a:lnTo>
                  <a:lnTo>
                    <a:pt x="2822324" y="1570356"/>
                  </a:lnTo>
                  <a:lnTo>
                    <a:pt x="2817566" y="1564323"/>
                  </a:lnTo>
                  <a:lnTo>
                    <a:pt x="2810905" y="1558608"/>
                  </a:lnTo>
                  <a:lnTo>
                    <a:pt x="2803928" y="1552576"/>
                  </a:lnTo>
                  <a:lnTo>
                    <a:pt x="2795681" y="1546861"/>
                  </a:lnTo>
                  <a:lnTo>
                    <a:pt x="2786165" y="1541146"/>
                  </a:lnTo>
                  <a:lnTo>
                    <a:pt x="2776016" y="1536066"/>
                  </a:lnTo>
                  <a:lnTo>
                    <a:pt x="2764914" y="1531303"/>
                  </a:lnTo>
                  <a:lnTo>
                    <a:pt x="2752861" y="1526223"/>
                  </a:lnTo>
                  <a:lnTo>
                    <a:pt x="2740174" y="1521778"/>
                  </a:lnTo>
                  <a:lnTo>
                    <a:pt x="2726535" y="1517333"/>
                  </a:lnTo>
                  <a:lnTo>
                    <a:pt x="2711945" y="1513523"/>
                  </a:lnTo>
                  <a:lnTo>
                    <a:pt x="2696720" y="1510031"/>
                  </a:lnTo>
                  <a:lnTo>
                    <a:pt x="2695769" y="1526223"/>
                  </a:lnTo>
                  <a:lnTo>
                    <a:pt x="2673883" y="1526223"/>
                  </a:lnTo>
                  <a:lnTo>
                    <a:pt x="2688474" y="1540511"/>
                  </a:lnTo>
                  <a:lnTo>
                    <a:pt x="2695452" y="1540511"/>
                  </a:lnTo>
                  <a:lnTo>
                    <a:pt x="2698624" y="1542416"/>
                  </a:lnTo>
                  <a:lnTo>
                    <a:pt x="2706870" y="1548131"/>
                  </a:lnTo>
                  <a:lnTo>
                    <a:pt x="2717972" y="1556068"/>
                  </a:lnTo>
                  <a:lnTo>
                    <a:pt x="2723046" y="1560513"/>
                  </a:lnTo>
                  <a:lnTo>
                    <a:pt x="2728439" y="1565276"/>
                  </a:lnTo>
                  <a:lnTo>
                    <a:pt x="2732879" y="1570356"/>
                  </a:lnTo>
                  <a:lnTo>
                    <a:pt x="2736685" y="1574801"/>
                  </a:lnTo>
                  <a:lnTo>
                    <a:pt x="2738271" y="1577023"/>
                  </a:lnTo>
                  <a:lnTo>
                    <a:pt x="2738905" y="1579246"/>
                  </a:lnTo>
                  <a:lnTo>
                    <a:pt x="2739540" y="1581468"/>
                  </a:lnTo>
                  <a:lnTo>
                    <a:pt x="2740174" y="1583373"/>
                  </a:lnTo>
                  <a:lnTo>
                    <a:pt x="2739540" y="1585278"/>
                  </a:lnTo>
                  <a:lnTo>
                    <a:pt x="2738905" y="1586866"/>
                  </a:lnTo>
                  <a:lnTo>
                    <a:pt x="2737320" y="1588771"/>
                  </a:lnTo>
                  <a:lnTo>
                    <a:pt x="2735417" y="1589723"/>
                  </a:lnTo>
                  <a:lnTo>
                    <a:pt x="2732879" y="1590993"/>
                  </a:lnTo>
                  <a:lnTo>
                    <a:pt x="2730024" y="1591946"/>
                  </a:lnTo>
                  <a:lnTo>
                    <a:pt x="2725901" y="1592898"/>
                  </a:lnTo>
                  <a:lnTo>
                    <a:pt x="2721143" y="1593216"/>
                  </a:lnTo>
                  <a:lnTo>
                    <a:pt x="2715117" y="1593533"/>
                  </a:lnTo>
                  <a:lnTo>
                    <a:pt x="2710042" y="1593533"/>
                  </a:lnTo>
                  <a:lnTo>
                    <a:pt x="2704650" y="1593216"/>
                  </a:lnTo>
                  <a:lnTo>
                    <a:pt x="2699575" y="1592581"/>
                  </a:lnTo>
                  <a:lnTo>
                    <a:pt x="2694500" y="1591628"/>
                  </a:lnTo>
                  <a:lnTo>
                    <a:pt x="2690060" y="1590676"/>
                  </a:lnTo>
                  <a:lnTo>
                    <a:pt x="2685619" y="1589088"/>
                  </a:lnTo>
                  <a:lnTo>
                    <a:pt x="2681496" y="1587501"/>
                  </a:lnTo>
                  <a:lnTo>
                    <a:pt x="2673566" y="1584326"/>
                  </a:lnTo>
                  <a:lnTo>
                    <a:pt x="2665954" y="1579563"/>
                  </a:lnTo>
                  <a:lnTo>
                    <a:pt x="2658659" y="1575118"/>
                  </a:lnTo>
                  <a:lnTo>
                    <a:pt x="2651681" y="1570038"/>
                  </a:lnTo>
                  <a:lnTo>
                    <a:pt x="2648826" y="1568133"/>
                  </a:lnTo>
                  <a:lnTo>
                    <a:pt x="2646606" y="1567181"/>
                  </a:lnTo>
                  <a:lnTo>
                    <a:pt x="2645337" y="1567181"/>
                  </a:lnTo>
                  <a:lnTo>
                    <a:pt x="2644386" y="1567498"/>
                  </a:lnTo>
                  <a:lnTo>
                    <a:pt x="2643434" y="1569403"/>
                  </a:lnTo>
                  <a:lnTo>
                    <a:pt x="2643117" y="1570356"/>
                  </a:lnTo>
                  <a:lnTo>
                    <a:pt x="2642165" y="1570673"/>
                  </a:lnTo>
                  <a:lnTo>
                    <a:pt x="2633602" y="1570356"/>
                  </a:lnTo>
                  <a:lnTo>
                    <a:pt x="2629161" y="1570038"/>
                  </a:lnTo>
                  <a:lnTo>
                    <a:pt x="2627258" y="1569403"/>
                  </a:lnTo>
                  <a:lnTo>
                    <a:pt x="2626306" y="1569086"/>
                  </a:lnTo>
                  <a:lnTo>
                    <a:pt x="2624720" y="1562101"/>
                  </a:lnTo>
                  <a:lnTo>
                    <a:pt x="2624086" y="1556386"/>
                  </a:lnTo>
                  <a:lnTo>
                    <a:pt x="2623452" y="1551941"/>
                  </a:lnTo>
                  <a:lnTo>
                    <a:pt x="2623135" y="1548131"/>
                  </a:lnTo>
                  <a:lnTo>
                    <a:pt x="2623452" y="1544003"/>
                  </a:lnTo>
                  <a:lnTo>
                    <a:pt x="2624086" y="1542733"/>
                  </a:lnTo>
                  <a:lnTo>
                    <a:pt x="2622817" y="1540511"/>
                  </a:lnTo>
                  <a:lnTo>
                    <a:pt x="2671029" y="1540511"/>
                  </a:lnTo>
                  <a:lnTo>
                    <a:pt x="2656439" y="1526223"/>
                  </a:lnTo>
                  <a:lnTo>
                    <a:pt x="2615839" y="1526223"/>
                  </a:lnTo>
                  <a:lnTo>
                    <a:pt x="2612033" y="1499236"/>
                  </a:lnTo>
                  <a:lnTo>
                    <a:pt x="2595857" y="1498283"/>
                  </a:lnTo>
                  <a:lnTo>
                    <a:pt x="2579046" y="1497966"/>
                  </a:lnTo>
                  <a:close/>
                  <a:moveTo>
                    <a:pt x="400303" y="1460500"/>
                  </a:moveTo>
                  <a:lnTo>
                    <a:pt x="487363" y="1590373"/>
                  </a:lnTo>
                  <a:lnTo>
                    <a:pt x="477269" y="1597025"/>
                  </a:lnTo>
                  <a:lnTo>
                    <a:pt x="390525" y="1467152"/>
                  </a:lnTo>
                  <a:lnTo>
                    <a:pt x="400303" y="1460500"/>
                  </a:lnTo>
                  <a:close/>
                  <a:moveTo>
                    <a:pt x="2575557" y="1210946"/>
                  </a:moveTo>
                  <a:lnTo>
                    <a:pt x="2570165" y="1211581"/>
                  </a:lnTo>
                  <a:lnTo>
                    <a:pt x="2565408" y="1211898"/>
                  </a:lnTo>
                  <a:lnTo>
                    <a:pt x="2561919" y="1211581"/>
                  </a:lnTo>
                  <a:lnTo>
                    <a:pt x="2558747" y="1211263"/>
                  </a:lnTo>
                  <a:lnTo>
                    <a:pt x="2527663" y="1469708"/>
                  </a:lnTo>
                  <a:lnTo>
                    <a:pt x="2540350" y="1468756"/>
                  </a:lnTo>
                  <a:lnTo>
                    <a:pt x="2553038" y="1468438"/>
                  </a:lnTo>
                  <a:lnTo>
                    <a:pt x="2565725" y="1468121"/>
                  </a:lnTo>
                  <a:lnTo>
                    <a:pt x="2579046" y="1467486"/>
                  </a:lnTo>
                  <a:lnTo>
                    <a:pt x="2593637" y="1468121"/>
                  </a:lnTo>
                  <a:lnTo>
                    <a:pt x="2608227" y="1468438"/>
                  </a:lnTo>
                  <a:lnTo>
                    <a:pt x="2575557" y="1210946"/>
                  </a:lnTo>
                  <a:close/>
                  <a:moveTo>
                    <a:pt x="309562" y="1149350"/>
                  </a:moveTo>
                  <a:lnTo>
                    <a:pt x="361753" y="1149350"/>
                  </a:lnTo>
                  <a:lnTo>
                    <a:pt x="369977" y="1155018"/>
                  </a:lnTo>
                  <a:lnTo>
                    <a:pt x="377884" y="1160685"/>
                  </a:lnTo>
                  <a:lnTo>
                    <a:pt x="381680" y="1164149"/>
                  </a:lnTo>
                  <a:lnTo>
                    <a:pt x="385476" y="1167298"/>
                  </a:lnTo>
                  <a:lnTo>
                    <a:pt x="388639" y="1170761"/>
                  </a:lnTo>
                  <a:lnTo>
                    <a:pt x="391169" y="1174225"/>
                  </a:lnTo>
                  <a:lnTo>
                    <a:pt x="392751" y="1177059"/>
                  </a:lnTo>
                  <a:lnTo>
                    <a:pt x="393700" y="1178633"/>
                  </a:lnTo>
                  <a:lnTo>
                    <a:pt x="393700" y="1180208"/>
                  </a:lnTo>
                  <a:lnTo>
                    <a:pt x="393067" y="1181467"/>
                  </a:lnTo>
                  <a:lnTo>
                    <a:pt x="392751" y="1182727"/>
                  </a:lnTo>
                  <a:lnTo>
                    <a:pt x="391802" y="1183671"/>
                  </a:lnTo>
                  <a:lnTo>
                    <a:pt x="390537" y="1184616"/>
                  </a:lnTo>
                  <a:lnTo>
                    <a:pt x="388639" y="1185561"/>
                  </a:lnTo>
                  <a:lnTo>
                    <a:pt x="386425" y="1186505"/>
                  </a:lnTo>
                  <a:lnTo>
                    <a:pt x="383578" y="1186820"/>
                  </a:lnTo>
                  <a:lnTo>
                    <a:pt x="380098" y="1187135"/>
                  </a:lnTo>
                  <a:lnTo>
                    <a:pt x="375986" y="1187450"/>
                  </a:lnTo>
                  <a:lnTo>
                    <a:pt x="372191" y="1187450"/>
                  </a:lnTo>
                  <a:lnTo>
                    <a:pt x="364599" y="1186820"/>
                  </a:lnTo>
                  <a:lnTo>
                    <a:pt x="357957" y="1185246"/>
                  </a:lnTo>
                  <a:lnTo>
                    <a:pt x="351631" y="1183042"/>
                  </a:lnTo>
                  <a:lnTo>
                    <a:pt x="345937" y="1180523"/>
                  </a:lnTo>
                  <a:lnTo>
                    <a:pt x="340244" y="1177374"/>
                  </a:lnTo>
                  <a:lnTo>
                    <a:pt x="335499" y="1174225"/>
                  </a:lnTo>
                  <a:lnTo>
                    <a:pt x="330122" y="1170761"/>
                  </a:lnTo>
                  <a:lnTo>
                    <a:pt x="328540" y="1169187"/>
                  </a:lnTo>
                  <a:lnTo>
                    <a:pt x="326959" y="1168557"/>
                  </a:lnTo>
                  <a:lnTo>
                    <a:pt x="325693" y="1168557"/>
                  </a:lnTo>
                  <a:lnTo>
                    <a:pt x="325061" y="1168872"/>
                  </a:lnTo>
                  <a:lnTo>
                    <a:pt x="324745" y="1170447"/>
                  </a:lnTo>
                  <a:lnTo>
                    <a:pt x="324112" y="1170761"/>
                  </a:lnTo>
                  <a:lnTo>
                    <a:pt x="323479" y="1171076"/>
                  </a:lnTo>
                  <a:lnTo>
                    <a:pt x="317469" y="1170761"/>
                  </a:lnTo>
                  <a:lnTo>
                    <a:pt x="313990" y="1170447"/>
                  </a:lnTo>
                  <a:lnTo>
                    <a:pt x="312409" y="1170132"/>
                  </a:lnTo>
                  <a:lnTo>
                    <a:pt x="311143" y="1164779"/>
                  </a:lnTo>
                  <a:lnTo>
                    <a:pt x="310511" y="1160685"/>
                  </a:lnTo>
                  <a:lnTo>
                    <a:pt x="309878" y="1155018"/>
                  </a:lnTo>
                  <a:lnTo>
                    <a:pt x="310511" y="1152184"/>
                  </a:lnTo>
                  <a:lnTo>
                    <a:pt x="310827" y="1150924"/>
                  </a:lnTo>
                  <a:lnTo>
                    <a:pt x="309562" y="1149350"/>
                  </a:lnTo>
                  <a:close/>
                  <a:moveTo>
                    <a:pt x="178239" y="1149350"/>
                  </a:moveTo>
                  <a:lnTo>
                    <a:pt x="230188" y="1149350"/>
                  </a:lnTo>
                  <a:lnTo>
                    <a:pt x="229550" y="1150924"/>
                  </a:lnTo>
                  <a:lnTo>
                    <a:pt x="229869" y="1152184"/>
                  </a:lnTo>
                  <a:lnTo>
                    <a:pt x="229869" y="1155018"/>
                  </a:lnTo>
                  <a:lnTo>
                    <a:pt x="229550" y="1160685"/>
                  </a:lnTo>
                  <a:lnTo>
                    <a:pt x="229232" y="1164779"/>
                  </a:lnTo>
                  <a:lnTo>
                    <a:pt x="227957" y="1170132"/>
                  </a:lnTo>
                  <a:lnTo>
                    <a:pt x="225726" y="1170447"/>
                  </a:lnTo>
                  <a:lnTo>
                    <a:pt x="222858" y="1170761"/>
                  </a:lnTo>
                  <a:lnTo>
                    <a:pt x="216802" y="1171076"/>
                  </a:lnTo>
                  <a:lnTo>
                    <a:pt x="215846" y="1170761"/>
                  </a:lnTo>
                  <a:lnTo>
                    <a:pt x="215527" y="1170447"/>
                  </a:lnTo>
                  <a:lnTo>
                    <a:pt x="214890" y="1168872"/>
                  </a:lnTo>
                  <a:lnTo>
                    <a:pt x="214571" y="1168557"/>
                  </a:lnTo>
                  <a:lnTo>
                    <a:pt x="213296" y="1168557"/>
                  </a:lnTo>
                  <a:lnTo>
                    <a:pt x="211703" y="1169187"/>
                  </a:lnTo>
                  <a:lnTo>
                    <a:pt x="209472" y="1170761"/>
                  </a:lnTo>
                  <a:lnTo>
                    <a:pt x="204691" y="1174225"/>
                  </a:lnTo>
                  <a:lnTo>
                    <a:pt x="199273" y="1177374"/>
                  </a:lnTo>
                  <a:lnTo>
                    <a:pt x="194174" y="1180523"/>
                  </a:lnTo>
                  <a:lnTo>
                    <a:pt x="188119" y="1183042"/>
                  </a:lnTo>
                  <a:lnTo>
                    <a:pt x="182063" y="1185246"/>
                  </a:lnTo>
                  <a:lnTo>
                    <a:pt x="175371" y="1186820"/>
                  </a:lnTo>
                  <a:lnTo>
                    <a:pt x="167722" y="1187450"/>
                  </a:lnTo>
                  <a:lnTo>
                    <a:pt x="163579" y="1187450"/>
                  </a:lnTo>
                  <a:lnTo>
                    <a:pt x="159435" y="1187135"/>
                  </a:lnTo>
                  <a:lnTo>
                    <a:pt x="155930" y="1186820"/>
                  </a:lnTo>
                  <a:lnTo>
                    <a:pt x="153380" y="1186505"/>
                  </a:lnTo>
                  <a:lnTo>
                    <a:pt x="151149" y="1185561"/>
                  </a:lnTo>
                  <a:lnTo>
                    <a:pt x="149237" y="1184616"/>
                  </a:lnTo>
                  <a:lnTo>
                    <a:pt x="147643" y="1183671"/>
                  </a:lnTo>
                  <a:lnTo>
                    <a:pt x="147006" y="1182727"/>
                  </a:lnTo>
                  <a:lnTo>
                    <a:pt x="146050" y="1181467"/>
                  </a:lnTo>
                  <a:lnTo>
                    <a:pt x="146050" y="1180208"/>
                  </a:lnTo>
                  <a:lnTo>
                    <a:pt x="146050" y="1178633"/>
                  </a:lnTo>
                  <a:lnTo>
                    <a:pt x="146368" y="1177059"/>
                  </a:lnTo>
                  <a:lnTo>
                    <a:pt x="148281" y="1174225"/>
                  </a:lnTo>
                  <a:lnTo>
                    <a:pt x="151149" y="1170761"/>
                  </a:lnTo>
                  <a:lnTo>
                    <a:pt x="154017" y="1167298"/>
                  </a:lnTo>
                  <a:lnTo>
                    <a:pt x="157842" y="1164149"/>
                  </a:lnTo>
                  <a:lnTo>
                    <a:pt x="161985" y="1160685"/>
                  </a:lnTo>
                  <a:lnTo>
                    <a:pt x="169634" y="1155018"/>
                  </a:lnTo>
                  <a:lnTo>
                    <a:pt x="178239" y="1149350"/>
                  </a:lnTo>
                  <a:close/>
                  <a:moveTo>
                    <a:pt x="1364001" y="1136650"/>
                  </a:moveTo>
                  <a:lnTo>
                    <a:pt x="1375444" y="1136650"/>
                  </a:lnTo>
                  <a:lnTo>
                    <a:pt x="1386888" y="1137285"/>
                  </a:lnTo>
                  <a:lnTo>
                    <a:pt x="1398332" y="1138872"/>
                  </a:lnTo>
                  <a:lnTo>
                    <a:pt x="1409457" y="1140777"/>
                  </a:lnTo>
                  <a:lnTo>
                    <a:pt x="1421219" y="1143000"/>
                  </a:lnTo>
                  <a:lnTo>
                    <a:pt x="1432663" y="1146175"/>
                  </a:lnTo>
                  <a:lnTo>
                    <a:pt x="1443788" y="1149032"/>
                  </a:lnTo>
                  <a:lnTo>
                    <a:pt x="1455232" y="1152842"/>
                  </a:lnTo>
                  <a:lnTo>
                    <a:pt x="1466040" y="1156652"/>
                  </a:lnTo>
                  <a:lnTo>
                    <a:pt x="1476848" y="1161097"/>
                  </a:lnTo>
                  <a:lnTo>
                    <a:pt x="1487338" y="1165542"/>
                  </a:lnTo>
                  <a:lnTo>
                    <a:pt x="1498146" y="1169987"/>
                  </a:lnTo>
                  <a:lnTo>
                    <a:pt x="1508318" y="1175067"/>
                  </a:lnTo>
                  <a:lnTo>
                    <a:pt x="1518490" y="1180147"/>
                  </a:lnTo>
                  <a:lnTo>
                    <a:pt x="1527709" y="1185545"/>
                  </a:lnTo>
                  <a:lnTo>
                    <a:pt x="1537245" y="1190942"/>
                  </a:lnTo>
                  <a:lnTo>
                    <a:pt x="1545828" y="1196022"/>
                  </a:lnTo>
                  <a:lnTo>
                    <a:pt x="1554410" y="1201420"/>
                  </a:lnTo>
                  <a:lnTo>
                    <a:pt x="1569987" y="1211897"/>
                  </a:lnTo>
                  <a:lnTo>
                    <a:pt x="1583020" y="1222057"/>
                  </a:lnTo>
                  <a:lnTo>
                    <a:pt x="1594463" y="1231265"/>
                  </a:lnTo>
                  <a:lnTo>
                    <a:pt x="1599231" y="1235710"/>
                  </a:lnTo>
                  <a:lnTo>
                    <a:pt x="1603046" y="1239837"/>
                  </a:lnTo>
                  <a:lnTo>
                    <a:pt x="1606543" y="1243330"/>
                  </a:lnTo>
                  <a:lnTo>
                    <a:pt x="1609086" y="1246822"/>
                  </a:lnTo>
                  <a:lnTo>
                    <a:pt x="1610993" y="1249997"/>
                  </a:lnTo>
                  <a:lnTo>
                    <a:pt x="1611947" y="1252220"/>
                  </a:lnTo>
                  <a:lnTo>
                    <a:pt x="1612582" y="1256347"/>
                  </a:lnTo>
                  <a:lnTo>
                    <a:pt x="1612900" y="1261427"/>
                  </a:lnTo>
                  <a:lnTo>
                    <a:pt x="1612900" y="1276985"/>
                  </a:lnTo>
                  <a:lnTo>
                    <a:pt x="1612582" y="1297305"/>
                  </a:lnTo>
                  <a:lnTo>
                    <a:pt x="1611311" y="1322387"/>
                  </a:lnTo>
                  <a:lnTo>
                    <a:pt x="1609404" y="1351280"/>
                  </a:lnTo>
                  <a:lnTo>
                    <a:pt x="1607178" y="1383347"/>
                  </a:lnTo>
                  <a:lnTo>
                    <a:pt x="1601774" y="1455102"/>
                  </a:lnTo>
                  <a:lnTo>
                    <a:pt x="1595099" y="1531937"/>
                  </a:lnTo>
                  <a:lnTo>
                    <a:pt x="1588106" y="1608772"/>
                  </a:lnTo>
                  <a:lnTo>
                    <a:pt x="1580159" y="1680845"/>
                  </a:lnTo>
                  <a:lnTo>
                    <a:pt x="1576344" y="1713230"/>
                  </a:lnTo>
                  <a:lnTo>
                    <a:pt x="1572847" y="1742122"/>
                  </a:lnTo>
                  <a:lnTo>
                    <a:pt x="1568397" y="1774825"/>
                  </a:lnTo>
                  <a:lnTo>
                    <a:pt x="1566172" y="1787842"/>
                  </a:lnTo>
                  <a:lnTo>
                    <a:pt x="1564265" y="1798955"/>
                  </a:lnTo>
                  <a:lnTo>
                    <a:pt x="1551232" y="1804035"/>
                  </a:lnTo>
                  <a:lnTo>
                    <a:pt x="1539152" y="1808162"/>
                  </a:lnTo>
                  <a:lnTo>
                    <a:pt x="1527073" y="1811655"/>
                  </a:lnTo>
                  <a:lnTo>
                    <a:pt x="1515947" y="1813877"/>
                  </a:lnTo>
                  <a:lnTo>
                    <a:pt x="1505775" y="1815465"/>
                  </a:lnTo>
                  <a:lnTo>
                    <a:pt x="1501325" y="1815782"/>
                  </a:lnTo>
                  <a:lnTo>
                    <a:pt x="1496874" y="1815782"/>
                  </a:lnTo>
                  <a:lnTo>
                    <a:pt x="1492742" y="1815782"/>
                  </a:lnTo>
                  <a:lnTo>
                    <a:pt x="1488609" y="1814830"/>
                  </a:lnTo>
                  <a:lnTo>
                    <a:pt x="1485113" y="1814195"/>
                  </a:lnTo>
                  <a:lnTo>
                    <a:pt x="1481934" y="1813242"/>
                  </a:lnTo>
                  <a:lnTo>
                    <a:pt x="1482888" y="1798955"/>
                  </a:lnTo>
                  <a:lnTo>
                    <a:pt x="1484159" y="1778952"/>
                  </a:lnTo>
                  <a:lnTo>
                    <a:pt x="1486384" y="1724025"/>
                  </a:lnTo>
                  <a:lnTo>
                    <a:pt x="1487338" y="1671637"/>
                  </a:lnTo>
                  <a:lnTo>
                    <a:pt x="1488927" y="1614487"/>
                  </a:lnTo>
                  <a:lnTo>
                    <a:pt x="1489881" y="1556067"/>
                  </a:lnTo>
                  <a:lnTo>
                    <a:pt x="1490199" y="1498600"/>
                  </a:lnTo>
                  <a:lnTo>
                    <a:pt x="1473033" y="1530667"/>
                  </a:lnTo>
                  <a:lnTo>
                    <a:pt x="1462543" y="1524952"/>
                  </a:lnTo>
                  <a:lnTo>
                    <a:pt x="1490199" y="1472882"/>
                  </a:lnTo>
                  <a:lnTo>
                    <a:pt x="1489881" y="1423035"/>
                  </a:lnTo>
                  <a:lnTo>
                    <a:pt x="1489245" y="1402080"/>
                  </a:lnTo>
                  <a:lnTo>
                    <a:pt x="1488609" y="1384300"/>
                  </a:lnTo>
                  <a:lnTo>
                    <a:pt x="1487974" y="1370012"/>
                  </a:lnTo>
                  <a:lnTo>
                    <a:pt x="1486702" y="1360170"/>
                  </a:lnTo>
                  <a:lnTo>
                    <a:pt x="1486066" y="1356677"/>
                  </a:lnTo>
                  <a:lnTo>
                    <a:pt x="1485113" y="1354455"/>
                  </a:lnTo>
                  <a:lnTo>
                    <a:pt x="1484477" y="1353502"/>
                  </a:lnTo>
                  <a:lnTo>
                    <a:pt x="1484159" y="1353502"/>
                  </a:lnTo>
                  <a:lnTo>
                    <a:pt x="1483841" y="1354137"/>
                  </a:lnTo>
                  <a:lnTo>
                    <a:pt x="1477166" y="1362392"/>
                  </a:lnTo>
                  <a:lnTo>
                    <a:pt x="1470808" y="1371282"/>
                  </a:lnTo>
                  <a:lnTo>
                    <a:pt x="1469537" y="1373505"/>
                  </a:lnTo>
                  <a:lnTo>
                    <a:pt x="1449192" y="1674812"/>
                  </a:lnTo>
                  <a:lnTo>
                    <a:pt x="1443788" y="1731962"/>
                  </a:lnTo>
                  <a:lnTo>
                    <a:pt x="1437431" y="1803400"/>
                  </a:lnTo>
                  <a:lnTo>
                    <a:pt x="1434252" y="1830705"/>
                  </a:lnTo>
                  <a:lnTo>
                    <a:pt x="1433934" y="1834515"/>
                  </a:lnTo>
                  <a:lnTo>
                    <a:pt x="1431709" y="1841817"/>
                  </a:lnTo>
                  <a:lnTo>
                    <a:pt x="1429166" y="1848485"/>
                  </a:lnTo>
                  <a:lnTo>
                    <a:pt x="1426623" y="1855152"/>
                  </a:lnTo>
                  <a:lnTo>
                    <a:pt x="1423126" y="1861820"/>
                  </a:lnTo>
                  <a:lnTo>
                    <a:pt x="1419630" y="1868805"/>
                  </a:lnTo>
                  <a:lnTo>
                    <a:pt x="1415815" y="1875155"/>
                  </a:lnTo>
                  <a:lnTo>
                    <a:pt x="1411683" y="1881822"/>
                  </a:lnTo>
                  <a:lnTo>
                    <a:pt x="1407232" y="1888172"/>
                  </a:lnTo>
                  <a:lnTo>
                    <a:pt x="1400557" y="1978660"/>
                  </a:lnTo>
                  <a:lnTo>
                    <a:pt x="1376398" y="2298382"/>
                  </a:lnTo>
                  <a:lnTo>
                    <a:pt x="1388795" y="2301557"/>
                  </a:lnTo>
                  <a:lnTo>
                    <a:pt x="1400875" y="2305050"/>
                  </a:lnTo>
                  <a:lnTo>
                    <a:pt x="1412954" y="2308225"/>
                  </a:lnTo>
                  <a:lnTo>
                    <a:pt x="1424080" y="2312035"/>
                  </a:lnTo>
                  <a:lnTo>
                    <a:pt x="1435524" y="2315845"/>
                  </a:lnTo>
                  <a:lnTo>
                    <a:pt x="1446014" y="2319972"/>
                  </a:lnTo>
                  <a:lnTo>
                    <a:pt x="1456504" y="2324100"/>
                  </a:lnTo>
                  <a:lnTo>
                    <a:pt x="1466358" y="2328545"/>
                  </a:lnTo>
                  <a:lnTo>
                    <a:pt x="1529298" y="2288857"/>
                  </a:lnTo>
                  <a:lnTo>
                    <a:pt x="1535656" y="2299017"/>
                  </a:lnTo>
                  <a:lnTo>
                    <a:pt x="1479073" y="2334895"/>
                  </a:lnTo>
                  <a:lnTo>
                    <a:pt x="1489881" y="2340610"/>
                  </a:lnTo>
                  <a:lnTo>
                    <a:pt x="1499417" y="2346325"/>
                  </a:lnTo>
                  <a:lnTo>
                    <a:pt x="1508954" y="2352675"/>
                  </a:lnTo>
                  <a:lnTo>
                    <a:pt x="1517536" y="2358707"/>
                  </a:lnTo>
                  <a:lnTo>
                    <a:pt x="1525483" y="2365057"/>
                  </a:lnTo>
                  <a:lnTo>
                    <a:pt x="1533112" y="2371725"/>
                  </a:lnTo>
                  <a:lnTo>
                    <a:pt x="1539788" y="2378710"/>
                  </a:lnTo>
                  <a:lnTo>
                    <a:pt x="1546146" y="2385695"/>
                  </a:lnTo>
                  <a:lnTo>
                    <a:pt x="1551867" y="2392997"/>
                  </a:lnTo>
                  <a:lnTo>
                    <a:pt x="1556636" y="2400300"/>
                  </a:lnTo>
                  <a:lnTo>
                    <a:pt x="1560768" y="2407920"/>
                  </a:lnTo>
                  <a:lnTo>
                    <a:pt x="1564265" y="2415857"/>
                  </a:lnTo>
                  <a:lnTo>
                    <a:pt x="1566808" y="2423477"/>
                  </a:lnTo>
                  <a:lnTo>
                    <a:pt x="1568715" y="2431732"/>
                  </a:lnTo>
                  <a:lnTo>
                    <a:pt x="1569987" y="2439670"/>
                  </a:lnTo>
                  <a:lnTo>
                    <a:pt x="1570304" y="2447925"/>
                  </a:lnTo>
                  <a:lnTo>
                    <a:pt x="1569987" y="2455545"/>
                  </a:lnTo>
                  <a:lnTo>
                    <a:pt x="1569033" y="2463165"/>
                  </a:lnTo>
                  <a:lnTo>
                    <a:pt x="1567126" y="2470785"/>
                  </a:lnTo>
                  <a:lnTo>
                    <a:pt x="1564900" y="2477770"/>
                  </a:lnTo>
                  <a:lnTo>
                    <a:pt x="1562040" y="2485390"/>
                  </a:lnTo>
                  <a:lnTo>
                    <a:pt x="1558225" y="2492057"/>
                  </a:lnTo>
                  <a:lnTo>
                    <a:pt x="1554093" y="2499360"/>
                  </a:lnTo>
                  <a:lnTo>
                    <a:pt x="1549324" y="2506027"/>
                  </a:lnTo>
                  <a:lnTo>
                    <a:pt x="1543920" y="2512695"/>
                  </a:lnTo>
                  <a:lnTo>
                    <a:pt x="1537881" y="2519362"/>
                  </a:lnTo>
                  <a:lnTo>
                    <a:pt x="1531523" y="2525712"/>
                  </a:lnTo>
                  <a:lnTo>
                    <a:pt x="1524212" y="2531745"/>
                  </a:lnTo>
                  <a:lnTo>
                    <a:pt x="1516901" y="2537778"/>
                  </a:lnTo>
                  <a:lnTo>
                    <a:pt x="1508636" y="2543810"/>
                  </a:lnTo>
                  <a:lnTo>
                    <a:pt x="1500053" y="2549208"/>
                  </a:lnTo>
                  <a:lnTo>
                    <a:pt x="1490517" y="2554923"/>
                  </a:lnTo>
                  <a:lnTo>
                    <a:pt x="1480980" y="2560320"/>
                  </a:lnTo>
                  <a:lnTo>
                    <a:pt x="1470808" y="2565083"/>
                  </a:lnTo>
                  <a:lnTo>
                    <a:pt x="1460318" y="2569845"/>
                  </a:lnTo>
                  <a:lnTo>
                    <a:pt x="1449192" y="2574608"/>
                  </a:lnTo>
                  <a:lnTo>
                    <a:pt x="1437749" y="2579053"/>
                  </a:lnTo>
                  <a:lnTo>
                    <a:pt x="1425669" y="2583180"/>
                  </a:lnTo>
                  <a:lnTo>
                    <a:pt x="1413272" y="2587308"/>
                  </a:lnTo>
                  <a:lnTo>
                    <a:pt x="1400557" y="2591118"/>
                  </a:lnTo>
                  <a:lnTo>
                    <a:pt x="1387206" y="2594293"/>
                  </a:lnTo>
                  <a:lnTo>
                    <a:pt x="1373855" y="2597785"/>
                  </a:lnTo>
                  <a:lnTo>
                    <a:pt x="1360186" y="2600960"/>
                  </a:lnTo>
                  <a:lnTo>
                    <a:pt x="1345882" y="2603500"/>
                  </a:lnTo>
                  <a:lnTo>
                    <a:pt x="1331259" y="2606040"/>
                  </a:lnTo>
                  <a:lnTo>
                    <a:pt x="1316319" y="2608263"/>
                  </a:lnTo>
                  <a:lnTo>
                    <a:pt x="1301061" y="2610168"/>
                  </a:lnTo>
                  <a:lnTo>
                    <a:pt x="1285802" y="2612073"/>
                  </a:lnTo>
                  <a:lnTo>
                    <a:pt x="1381166" y="2755265"/>
                  </a:lnTo>
                  <a:lnTo>
                    <a:pt x="1370994" y="2762250"/>
                  </a:lnTo>
                  <a:lnTo>
                    <a:pt x="1271816" y="2613343"/>
                  </a:lnTo>
                  <a:lnTo>
                    <a:pt x="1254968" y="2614613"/>
                  </a:lnTo>
                  <a:lnTo>
                    <a:pt x="1237167" y="2615565"/>
                  </a:lnTo>
                  <a:lnTo>
                    <a:pt x="1219366" y="2615883"/>
                  </a:lnTo>
                  <a:lnTo>
                    <a:pt x="1201246" y="2616200"/>
                  </a:lnTo>
                  <a:lnTo>
                    <a:pt x="1181856" y="2615883"/>
                  </a:lnTo>
                  <a:lnTo>
                    <a:pt x="1162465" y="2615565"/>
                  </a:lnTo>
                  <a:lnTo>
                    <a:pt x="1143710" y="2614295"/>
                  </a:lnTo>
                  <a:lnTo>
                    <a:pt x="1124955" y="2612708"/>
                  </a:lnTo>
                  <a:lnTo>
                    <a:pt x="1106836" y="2611120"/>
                  </a:lnTo>
                  <a:lnTo>
                    <a:pt x="1089035" y="2609215"/>
                  </a:lnTo>
                  <a:lnTo>
                    <a:pt x="1071870" y="2606358"/>
                  </a:lnTo>
                  <a:lnTo>
                    <a:pt x="1055022" y="2603500"/>
                  </a:lnTo>
                  <a:lnTo>
                    <a:pt x="1038492" y="2600008"/>
                  </a:lnTo>
                  <a:lnTo>
                    <a:pt x="1022598" y="2596833"/>
                  </a:lnTo>
                  <a:lnTo>
                    <a:pt x="1007022" y="2592705"/>
                  </a:lnTo>
                  <a:lnTo>
                    <a:pt x="992082" y="2588260"/>
                  </a:lnTo>
                  <a:lnTo>
                    <a:pt x="977777" y="2583498"/>
                  </a:lnTo>
                  <a:lnTo>
                    <a:pt x="963791" y="2578735"/>
                  </a:lnTo>
                  <a:lnTo>
                    <a:pt x="950757" y="2573338"/>
                  </a:lnTo>
                  <a:lnTo>
                    <a:pt x="937724" y="2568258"/>
                  </a:lnTo>
                  <a:lnTo>
                    <a:pt x="925645" y="2562225"/>
                  </a:lnTo>
                  <a:lnTo>
                    <a:pt x="914519" y="2556193"/>
                  </a:lnTo>
                  <a:lnTo>
                    <a:pt x="903711" y="2550160"/>
                  </a:lnTo>
                  <a:lnTo>
                    <a:pt x="893857" y="2543175"/>
                  </a:lnTo>
                  <a:lnTo>
                    <a:pt x="884321" y="2536508"/>
                  </a:lnTo>
                  <a:lnTo>
                    <a:pt x="875738" y="2529523"/>
                  </a:lnTo>
                  <a:lnTo>
                    <a:pt x="867473" y="2522220"/>
                  </a:lnTo>
                  <a:lnTo>
                    <a:pt x="860162" y="2514600"/>
                  </a:lnTo>
                  <a:lnTo>
                    <a:pt x="853804" y="2506662"/>
                  </a:lnTo>
                  <a:lnTo>
                    <a:pt x="848400" y="2499042"/>
                  </a:lnTo>
                  <a:lnTo>
                    <a:pt x="843632" y="2491105"/>
                  </a:lnTo>
                  <a:lnTo>
                    <a:pt x="839500" y="2482850"/>
                  </a:lnTo>
                  <a:lnTo>
                    <a:pt x="836639" y="2473960"/>
                  </a:lnTo>
                  <a:lnTo>
                    <a:pt x="834414" y="2465387"/>
                  </a:lnTo>
                  <a:lnTo>
                    <a:pt x="833460" y="2461260"/>
                  </a:lnTo>
                  <a:lnTo>
                    <a:pt x="832824" y="2456815"/>
                  </a:lnTo>
                  <a:lnTo>
                    <a:pt x="832506" y="2452370"/>
                  </a:lnTo>
                  <a:lnTo>
                    <a:pt x="832506" y="2447925"/>
                  </a:lnTo>
                  <a:lnTo>
                    <a:pt x="832824" y="2440305"/>
                  </a:lnTo>
                  <a:lnTo>
                    <a:pt x="833460" y="2432685"/>
                  </a:lnTo>
                  <a:lnTo>
                    <a:pt x="835367" y="2425700"/>
                  </a:lnTo>
                  <a:lnTo>
                    <a:pt x="837592" y="2418397"/>
                  </a:lnTo>
                  <a:lnTo>
                    <a:pt x="840453" y="2411412"/>
                  </a:lnTo>
                  <a:lnTo>
                    <a:pt x="844268" y="2404110"/>
                  </a:lnTo>
                  <a:lnTo>
                    <a:pt x="847765" y="2397442"/>
                  </a:lnTo>
                  <a:lnTo>
                    <a:pt x="852851" y="2390775"/>
                  </a:lnTo>
                  <a:lnTo>
                    <a:pt x="857937" y="2384107"/>
                  </a:lnTo>
                  <a:lnTo>
                    <a:pt x="863659" y="2377757"/>
                  </a:lnTo>
                  <a:lnTo>
                    <a:pt x="870016" y="2371407"/>
                  </a:lnTo>
                  <a:lnTo>
                    <a:pt x="877009" y="2365375"/>
                  </a:lnTo>
                  <a:lnTo>
                    <a:pt x="884321" y="2359342"/>
                  </a:lnTo>
                  <a:lnTo>
                    <a:pt x="892268" y="2353945"/>
                  </a:lnTo>
                  <a:lnTo>
                    <a:pt x="900533" y="2348230"/>
                  </a:lnTo>
                  <a:lnTo>
                    <a:pt x="909115" y="2342515"/>
                  </a:lnTo>
                  <a:lnTo>
                    <a:pt x="921513" y="2335847"/>
                  </a:lnTo>
                  <a:lnTo>
                    <a:pt x="934546" y="2329497"/>
                  </a:lnTo>
                  <a:lnTo>
                    <a:pt x="947897" y="2323465"/>
                  </a:lnTo>
                  <a:lnTo>
                    <a:pt x="962201" y="2317750"/>
                  </a:lnTo>
                  <a:lnTo>
                    <a:pt x="957751" y="2310765"/>
                  </a:lnTo>
                  <a:lnTo>
                    <a:pt x="915791" y="2248217"/>
                  </a:lnTo>
                  <a:lnTo>
                    <a:pt x="925645" y="2241232"/>
                  </a:lnTo>
                  <a:lnTo>
                    <a:pt x="969194" y="2306002"/>
                  </a:lnTo>
                  <a:lnTo>
                    <a:pt x="974281" y="2313622"/>
                  </a:lnTo>
                  <a:lnTo>
                    <a:pt x="984453" y="2310130"/>
                  </a:lnTo>
                  <a:lnTo>
                    <a:pt x="994625" y="2306637"/>
                  </a:lnTo>
                  <a:lnTo>
                    <a:pt x="1005115" y="2303780"/>
                  </a:lnTo>
                  <a:lnTo>
                    <a:pt x="1016241" y="2300922"/>
                  </a:lnTo>
                  <a:lnTo>
                    <a:pt x="1035949" y="2296160"/>
                  </a:lnTo>
                  <a:lnTo>
                    <a:pt x="1004797" y="1881505"/>
                  </a:lnTo>
                  <a:lnTo>
                    <a:pt x="998439" y="1871980"/>
                  </a:lnTo>
                  <a:lnTo>
                    <a:pt x="992718" y="1862455"/>
                  </a:lnTo>
                  <a:lnTo>
                    <a:pt x="988903" y="1856105"/>
                  </a:lnTo>
                  <a:lnTo>
                    <a:pt x="985724" y="1849120"/>
                  </a:lnTo>
                  <a:lnTo>
                    <a:pt x="982545" y="1842135"/>
                  </a:lnTo>
                  <a:lnTo>
                    <a:pt x="980002" y="1835150"/>
                  </a:lnTo>
                  <a:lnTo>
                    <a:pt x="979685" y="1830705"/>
                  </a:lnTo>
                  <a:lnTo>
                    <a:pt x="976506" y="1798955"/>
                  </a:lnTo>
                  <a:lnTo>
                    <a:pt x="968559" y="1715452"/>
                  </a:lnTo>
                  <a:lnTo>
                    <a:pt x="963791" y="1658620"/>
                  </a:lnTo>
                  <a:lnTo>
                    <a:pt x="958704" y="1594485"/>
                  </a:lnTo>
                  <a:lnTo>
                    <a:pt x="943128" y="1365567"/>
                  </a:lnTo>
                  <a:lnTo>
                    <a:pt x="939950" y="1363027"/>
                  </a:lnTo>
                  <a:lnTo>
                    <a:pt x="937089" y="1360487"/>
                  </a:lnTo>
                  <a:lnTo>
                    <a:pt x="930731" y="1354137"/>
                  </a:lnTo>
                  <a:lnTo>
                    <a:pt x="930413" y="1353502"/>
                  </a:lnTo>
                  <a:lnTo>
                    <a:pt x="930095" y="1354137"/>
                  </a:lnTo>
                  <a:lnTo>
                    <a:pt x="929460" y="1355725"/>
                  </a:lnTo>
                  <a:lnTo>
                    <a:pt x="928824" y="1358900"/>
                  </a:lnTo>
                  <a:lnTo>
                    <a:pt x="928506" y="1363345"/>
                  </a:lnTo>
                  <a:lnTo>
                    <a:pt x="928188" y="1376997"/>
                  </a:lnTo>
                  <a:lnTo>
                    <a:pt x="928188" y="1395095"/>
                  </a:lnTo>
                  <a:lnTo>
                    <a:pt x="928506" y="1417320"/>
                  </a:lnTo>
                  <a:lnTo>
                    <a:pt x="928824" y="1442720"/>
                  </a:lnTo>
                  <a:lnTo>
                    <a:pt x="930731" y="1502092"/>
                  </a:lnTo>
                  <a:lnTo>
                    <a:pt x="933274" y="1568450"/>
                  </a:lnTo>
                  <a:lnTo>
                    <a:pt x="936453" y="1636077"/>
                  </a:lnTo>
                  <a:lnTo>
                    <a:pt x="939632" y="1699895"/>
                  </a:lnTo>
                  <a:lnTo>
                    <a:pt x="942811" y="1755140"/>
                  </a:lnTo>
                  <a:lnTo>
                    <a:pt x="945036" y="1791652"/>
                  </a:lnTo>
                  <a:lnTo>
                    <a:pt x="946943" y="1815465"/>
                  </a:lnTo>
                  <a:lnTo>
                    <a:pt x="938996" y="1815782"/>
                  </a:lnTo>
                  <a:lnTo>
                    <a:pt x="929142" y="1815782"/>
                  </a:lnTo>
                  <a:lnTo>
                    <a:pt x="918016" y="1815782"/>
                  </a:lnTo>
                  <a:lnTo>
                    <a:pt x="904983" y="1814512"/>
                  </a:lnTo>
                  <a:lnTo>
                    <a:pt x="898625" y="1813877"/>
                  </a:lnTo>
                  <a:lnTo>
                    <a:pt x="891950" y="1812607"/>
                  </a:lnTo>
                  <a:lnTo>
                    <a:pt x="884639" y="1811337"/>
                  </a:lnTo>
                  <a:lnTo>
                    <a:pt x="877963" y="1809115"/>
                  </a:lnTo>
                  <a:lnTo>
                    <a:pt x="870970" y="1806575"/>
                  </a:lnTo>
                  <a:lnTo>
                    <a:pt x="863659" y="1804035"/>
                  </a:lnTo>
                  <a:lnTo>
                    <a:pt x="856983" y="1800542"/>
                  </a:lnTo>
                  <a:lnTo>
                    <a:pt x="849990" y="1797050"/>
                  </a:lnTo>
                  <a:lnTo>
                    <a:pt x="847765" y="1783397"/>
                  </a:lnTo>
                  <a:lnTo>
                    <a:pt x="845222" y="1766887"/>
                  </a:lnTo>
                  <a:lnTo>
                    <a:pt x="842996" y="1747520"/>
                  </a:lnTo>
                  <a:lnTo>
                    <a:pt x="840453" y="1725930"/>
                  </a:lnTo>
                  <a:lnTo>
                    <a:pt x="837592" y="1697672"/>
                  </a:lnTo>
                  <a:lnTo>
                    <a:pt x="834732" y="1666875"/>
                  </a:lnTo>
                  <a:lnTo>
                    <a:pt x="829010" y="1599565"/>
                  </a:lnTo>
                  <a:lnTo>
                    <a:pt x="824242" y="1529080"/>
                  </a:lnTo>
                  <a:lnTo>
                    <a:pt x="820109" y="1460182"/>
                  </a:lnTo>
                  <a:lnTo>
                    <a:pt x="816612" y="1395730"/>
                  </a:lnTo>
                  <a:lnTo>
                    <a:pt x="815659" y="1367155"/>
                  </a:lnTo>
                  <a:lnTo>
                    <a:pt x="814705" y="1341120"/>
                  </a:lnTo>
                  <a:lnTo>
                    <a:pt x="814387" y="1318895"/>
                  </a:lnTo>
                  <a:lnTo>
                    <a:pt x="814387" y="1300480"/>
                  </a:lnTo>
                  <a:lnTo>
                    <a:pt x="814705" y="1286827"/>
                  </a:lnTo>
                  <a:lnTo>
                    <a:pt x="815023" y="1281747"/>
                  </a:lnTo>
                  <a:lnTo>
                    <a:pt x="815659" y="1277937"/>
                  </a:lnTo>
                  <a:lnTo>
                    <a:pt x="816295" y="1270635"/>
                  </a:lnTo>
                  <a:lnTo>
                    <a:pt x="818202" y="1263332"/>
                  </a:lnTo>
                  <a:lnTo>
                    <a:pt x="820427" y="1256347"/>
                  </a:lnTo>
                  <a:lnTo>
                    <a:pt x="823288" y="1249362"/>
                  </a:lnTo>
                  <a:lnTo>
                    <a:pt x="827102" y="1242695"/>
                  </a:lnTo>
                  <a:lnTo>
                    <a:pt x="831553" y="1236345"/>
                  </a:lnTo>
                  <a:lnTo>
                    <a:pt x="836957" y="1229995"/>
                  </a:lnTo>
                  <a:lnTo>
                    <a:pt x="842679" y="1223962"/>
                  </a:lnTo>
                  <a:lnTo>
                    <a:pt x="849036" y="1218247"/>
                  </a:lnTo>
                  <a:lnTo>
                    <a:pt x="856029" y="1212532"/>
                  </a:lnTo>
                  <a:lnTo>
                    <a:pt x="863659" y="1207452"/>
                  </a:lnTo>
                  <a:lnTo>
                    <a:pt x="871606" y="1202055"/>
                  </a:lnTo>
                  <a:lnTo>
                    <a:pt x="879870" y="1197292"/>
                  </a:lnTo>
                  <a:lnTo>
                    <a:pt x="888771" y="1192847"/>
                  </a:lnTo>
                  <a:lnTo>
                    <a:pt x="897990" y="1188085"/>
                  </a:lnTo>
                  <a:lnTo>
                    <a:pt x="907844" y="1183640"/>
                  </a:lnTo>
                  <a:lnTo>
                    <a:pt x="917380" y="1179512"/>
                  </a:lnTo>
                  <a:lnTo>
                    <a:pt x="928188" y="1175385"/>
                  </a:lnTo>
                  <a:lnTo>
                    <a:pt x="938360" y="1171575"/>
                  </a:lnTo>
                  <a:lnTo>
                    <a:pt x="949168" y="1168400"/>
                  </a:lnTo>
                  <a:lnTo>
                    <a:pt x="971420" y="1161415"/>
                  </a:lnTo>
                  <a:lnTo>
                    <a:pt x="993989" y="1155382"/>
                  </a:lnTo>
                  <a:lnTo>
                    <a:pt x="1016876" y="1150302"/>
                  </a:lnTo>
                  <a:lnTo>
                    <a:pt x="1040399" y="1145540"/>
                  </a:lnTo>
                  <a:lnTo>
                    <a:pt x="1063287" y="1141412"/>
                  </a:lnTo>
                  <a:lnTo>
                    <a:pt x="1085856" y="1138237"/>
                  </a:lnTo>
                  <a:lnTo>
                    <a:pt x="1090942" y="1137920"/>
                  </a:lnTo>
                  <a:lnTo>
                    <a:pt x="1096346" y="1138237"/>
                  </a:lnTo>
                  <a:lnTo>
                    <a:pt x="1169776" y="1409700"/>
                  </a:lnTo>
                  <a:lnTo>
                    <a:pt x="1171366" y="1398587"/>
                  </a:lnTo>
                  <a:lnTo>
                    <a:pt x="1196796" y="1212532"/>
                  </a:lnTo>
                  <a:lnTo>
                    <a:pt x="1189803" y="1194117"/>
                  </a:lnTo>
                  <a:lnTo>
                    <a:pt x="1203472" y="1169670"/>
                  </a:lnTo>
                  <a:lnTo>
                    <a:pt x="1235895" y="1169670"/>
                  </a:lnTo>
                  <a:lnTo>
                    <a:pt x="1249246" y="1194117"/>
                  </a:lnTo>
                  <a:lnTo>
                    <a:pt x="1242889" y="1216025"/>
                  </a:lnTo>
                  <a:lnTo>
                    <a:pt x="1265776" y="1412557"/>
                  </a:lnTo>
                  <a:lnTo>
                    <a:pt x="1325855" y="1146810"/>
                  </a:lnTo>
                  <a:lnTo>
                    <a:pt x="1332849" y="1143317"/>
                  </a:lnTo>
                  <a:lnTo>
                    <a:pt x="1337935" y="1141095"/>
                  </a:lnTo>
                  <a:lnTo>
                    <a:pt x="1341113" y="1139190"/>
                  </a:lnTo>
                  <a:lnTo>
                    <a:pt x="1341749" y="1138555"/>
                  </a:lnTo>
                  <a:lnTo>
                    <a:pt x="1341749" y="1138237"/>
                  </a:lnTo>
                  <a:lnTo>
                    <a:pt x="1352557" y="1136967"/>
                  </a:lnTo>
                  <a:lnTo>
                    <a:pt x="1364001" y="1136650"/>
                  </a:lnTo>
                  <a:close/>
                  <a:moveTo>
                    <a:pt x="276860" y="1112205"/>
                  </a:moveTo>
                  <a:lnTo>
                    <a:pt x="257810" y="1112523"/>
                  </a:lnTo>
                  <a:lnTo>
                    <a:pt x="239395" y="1114113"/>
                  </a:lnTo>
                  <a:lnTo>
                    <a:pt x="236537" y="1138913"/>
                  </a:lnTo>
                  <a:lnTo>
                    <a:pt x="176212" y="1139866"/>
                  </a:lnTo>
                  <a:lnTo>
                    <a:pt x="175260" y="1124923"/>
                  </a:lnTo>
                  <a:lnTo>
                    <a:pt x="166687" y="1127784"/>
                  </a:lnTo>
                  <a:lnTo>
                    <a:pt x="158432" y="1130328"/>
                  </a:lnTo>
                  <a:lnTo>
                    <a:pt x="151130" y="1132872"/>
                  </a:lnTo>
                  <a:lnTo>
                    <a:pt x="143827" y="1136051"/>
                  </a:lnTo>
                  <a:lnTo>
                    <a:pt x="137160" y="1138913"/>
                  </a:lnTo>
                  <a:lnTo>
                    <a:pt x="130810" y="1142410"/>
                  </a:lnTo>
                  <a:lnTo>
                    <a:pt x="125095" y="1145271"/>
                  </a:lnTo>
                  <a:lnTo>
                    <a:pt x="119697" y="1148769"/>
                  </a:lnTo>
                  <a:lnTo>
                    <a:pt x="115252" y="1152584"/>
                  </a:lnTo>
                  <a:lnTo>
                    <a:pt x="111125" y="1155763"/>
                  </a:lnTo>
                  <a:lnTo>
                    <a:pt x="107315" y="1159261"/>
                  </a:lnTo>
                  <a:lnTo>
                    <a:pt x="104457" y="1163076"/>
                  </a:lnTo>
                  <a:lnTo>
                    <a:pt x="102235" y="1166891"/>
                  </a:lnTo>
                  <a:lnTo>
                    <a:pt x="100647" y="1170071"/>
                  </a:lnTo>
                  <a:lnTo>
                    <a:pt x="99377" y="1173886"/>
                  </a:lnTo>
                  <a:lnTo>
                    <a:pt x="99060" y="1177384"/>
                  </a:lnTo>
                  <a:lnTo>
                    <a:pt x="99377" y="1180245"/>
                  </a:lnTo>
                  <a:lnTo>
                    <a:pt x="100330" y="1183425"/>
                  </a:lnTo>
                  <a:lnTo>
                    <a:pt x="101282" y="1186286"/>
                  </a:lnTo>
                  <a:lnTo>
                    <a:pt x="102870" y="1189148"/>
                  </a:lnTo>
                  <a:lnTo>
                    <a:pt x="104775" y="1192009"/>
                  </a:lnTo>
                  <a:lnTo>
                    <a:pt x="106997" y="1195188"/>
                  </a:lnTo>
                  <a:lnTo>
                    <a:pt x="109537" y="1197732"/>
                  </a:lnTo>
                  <a:lnTo>
                    <a:pt x="112712" y="1200593"/>
                  </a:lnTo>
                  <a:lnTo>
                    <a:pt x="116205" y="1203455"/>
                  </a:lnTo>
                  <a:lnTo>
                    <a:pt x="119697" y="1206316"/>
                  </a:lnTo>
                  <a:lnTo>
                    <a:pt x="124460" y="1208860"/>
                  </a:lnTo>
                  <a:lnTo>
                    <a:pt x="128905" y="1211721"/>
                  </a:lnTo>
                  <a:lnTo>
                    <a:pt x="138747" y="1216809"/>
                  </a:lnTo>
                  <a:lnTo>
                    <a:pt x="149860" y="1221896"/>
                  </a:lnTo>
                  <a:lnTo>
                    <a:pt x="162242" y="1226347"/>
                  </a:lnTo>
                  <a:lnTo>
                    <a:pt x="175895" y="1230162"/>
                  </a:lnTo>
                  <a:lnTo>
                    <a:pt x="190500" y="1233977"/>
                  </a:lnTo>
                  <a:lnTo>
                    <a:pt x="206375" y="1236839"/>
                  </a:lnTo>
                  <a:lnTo>
                    <a:pt x="222885" y="1239383"/>
                  </a:lnTo>
                  <a:lnTo>
                    <a:pt x="240030" y="1241290"/>
                  </a:lnTo>
                  <a:lnTo>
                    <a:pt x="258127" y="1242562"/>
                  </a:lnTo>
                  <a:lnTo>
                    <a:pt x="276860" y="1242880"/>
                  </a:lnTo>
                  <a:lnTo>
                    <a:pt x="295910" y="1242562"/>
                  </a:lnTo>
                  <a:lnTo>
                    <a:pt x="313690" y="1241290"/>
                  </a:lnTo>
                  <a:lnTo>
                    <a:pt x="331153" y="1239383"/>
                  </a:lnTo>
                  <a:lnTo>
                    <a:pt x="347663" y="1236839"/>
                  </a:lnTo>
                  <a:lnTo>
                    <a:pt x="363220" y="1233977"/>
                  </a:lnTo>
                  <a:lnTo>
                    <a:pt x="377825" y="1230162"/>
                  </a:lnTo>
                  <a:lnTo>
                    <a:pt x="391160" y="1226347"/>
                  </a:lnTo>
                  <a:lnTo>
                    <a:pt x="403860" y="1221896"/>
                  </a:lnTo>
                  <a:lnTo>
                    <a:pt x="414973" y="1216809"/>
                  </a:lnTo>
                  <a:lnTo>
                    <a:pt x="425133" y="1211721"/>
                  </a:lnTo>
                  <a:lnTo>
                    <a:pt x="429578" y="1208860"/>
                  </a:lnTo>
                  <a:lnTo>
                    <a:pt x="433705" y="1206316"/>
                  </a:lnTo>
                  <a:lnTo>
                    <a:pt x="437515" y="1203455"/>
                  </a:lnTo>
                  <a:lnTo>
                    <a:pt x="441008" y="1200593"/>
                  </a:lnTo>
                  <a:lnTo>
                    <a:pt x="444183" y="1197732"/>
                  </a:lnTo>
                  <a:lnTo>
                    <a:pt x="447040" y="1195188"/>
                  </a:lnTo>
                  <a:lnTo>
                    <a:pt x="449263" y="1192009"/>
                  </a:lnTo>
                  <a:lnTo>
                    <a:pt x="451168" y="1189148"/>
                  </a:lnTo>
                  <a:lnTo>
                    <a:pt x="452438" y="1186286"/>
                  </a:lnTo>
                  <a:lnTo>
                    <a:pt x="453708" y="1183425"/>
                  </a:lnTo>
                  <a:lnTo>
                    <a:pt x="454343" y="1180245"/>
                  </a:lnTo>
                  <a:lnTo>
                    <a:pt x="454343" y="1177384"/>
                  </a:lnTo>
                  <a:lnTo>
                    <a:pt x="454025" y="1173568"/>
                  </a:lnTo>
                  <a:lnTo>
                    <a:pt x="453073" y="1169435"/>
                  </a:lnTo>
                  <a:lnTo>
                    <a:pt x="450850" y="1165620"/>
                  </a:lnTo>
                  <a:lnTo>
                    <a:pt x="447993" y="1161486"/>
                  </a:lnTo>
                  <a:lnTo>
                    <a:pt x="444183" y="1157671"/>
                  </a:lnTo>
                  <a:lnTo>
                    <a:pt x="440055" y="1153538"/>
                  </a:lnTo>
                  <a:lnTo>
                    <a:pt x="435293" y="1149723"/>
                  </a:lnTo>
                  <a:lnTo>
                    <a:pt x="429578" y="1146225"/>
                  </a:lnTo>
                  <a:lnTo>
                    <a:pt x="423228" y="1142728"/>
                  </a:lnTo>
                  <a:lnTo>
                    <a:pt x="416560" y="1138913"/>
                  </a:lnTo>
                  <a:lnTo>
                    <a:pt x="408940" y="1135415"/>
                  </a:lnTo>
                  <a:lnTo>
                    <a:pt x="400685" y="1132554"/>
                  </a:lnTo>
                  <a:lnTo>
                    <a:pt x="392113" y="1129692"/>
                  </a:lnTo>
                  <a:lnTo>
                    <a:pt x="382905" y="1126513"/>
                  </a:lnTo>
                  <a:lnTo>
                    <a:pt x="373380" y="1123969"/>
                  </a:lnTo>
                  <a:lnTo>
                    <a:pt x="363220" y="1121744"/>
                  </a:lnTo>
                  <a:lnTo>
                    <a:pt x="361633" y="1139866"/>
                  </a:lnTo>
                  <a:lnTo>
                    <a:pt x="304165" y="1139866"/>
                  </a:lnTo>
                  <a:lnTo>
                    <a:pt x="300673" y="1113477"/>
                  </a:lnTo>
                  <a:lnTo>
                    <a:pt x="288925" y="1112523"/>
                  </a:lnTo>
                  <a:lnTo>
                    <a:pt x="276860" y="1112205"/>
                  </a:lnTo>
                  <a:close/>
                  <a:moveTo>
                    <a:pt x="1696009" y="1087438"/>
                  </a:moveTo>
                  <a:lnTo>
                    <a:pt x="1706562" y="1093141"/>
                  </a:lnTo>
                  <a:lnTo>
                    <a:pt x="1628215" y="1238251"/>
                  </a:lnTo>
                  <a:lnTo>
                    <a:pt x="1617662" y="1232865"/>
                  </a:lnTo>
                  <a:lnTo>
                    <a:pt x="1696009" y="1087438"/>
                  </a:lnTo>
                  <a:close/>
                  <a:moveTo>
                    <a:pt x="2290762" y="1082675"/>
                  </a:moveTo>
                  <a:lnTo>
                    <a:pt x="2349183" y="1093734"/>
                  </a:lnTo>
                  <a:lnTo>
                    <a:pt x="2351088" y="1094049"/>
                  </a:lnTo>
                  <a:lnTo>
                    <a:pt x="2352993" y="1095313"/>
                  </a:lnTo>
                  <a:lnTo>
                    <a:pt x="2354580" y="1096893"/>
                  </a:lnTo>
                  <a:lnTo>
                    <a:pt x="2356168" y="1098473"/>
                  </a:lnTo>
                  <a:lnTo>
                    <a:pt x="2357438" y="1101001"/>
                  </a:lnTo>
                  <a:lnTo>
                    <a:pt x="2358708" y="1103528"/>
                  </a:lnTo>
                  <a:lnTo>
                    <a:pt x="2360613" y="1109848"/>
                  </a:lnTo>
                  <a:lnTo>
                    <a:pt x="2362200" y="1116483"/>
                  </a:lnTo>
                  <a:lnTo>
                    <a:pt x="2363470" y="1124066"/>
                  </a:lnTo>
                  <a:lnTo>
                    <a:pt x="2365058" y="1138600"/>
                  </a:lnTo>
                  <a:lnTo>
                    <a:pt x="2365375" y="1141760"/>
                  </a:lnTo>
                  <a:lnTo>
                    <a:pt x="2365058" y="1143971"/>
                  </a:lnTo>
                  <a:lnTo>
                    <a:pt x="2364740" y="1144919"/>
                  </a:lnTo>
                  <a:lnTo>
                    <a:pt x="2363470" y="1145867"/>
                  </a:lnTo>
                  <a:lnTo>
                    <a:pt x="2362835" y="1145235"/>
                  </a:lnTo>
                  <a:lnTo>
                    <a:pt x="2361248" y="1144603"/>
                  </a:lnTo>
                  <a:lnTo>
                    <a:pt x="2359660" y="1143655"/>
                  </a:lnTo>
                  <a:lnTo>
                    <a:pt x="2358708" y="1142076"/>
                  </a:lnTo>
                  <a:lnTo>
                    <a:pt x="2355533" y="1137968"/>
                  </a:lnTo>
                  <a:lnTo>
                    <a:pt x="2352993" y="1133545"/>
                  </a:lnTo>
                  <a:lnTo>
                    <a:pt x="2351088" y="1128489"/>
                  </a:lnTo>
                  <a:lnTo>
                    <a:pt x="2350453" y="1126593"/>
                  </a:lnTo>
                  <a:lnTo>
                    <a:pt x="2350453" y="1124698"/>
                  </a:lnTo>
                  <a:lnTo>
                    <a:pt x="2350135" y="1121854"/>
                  </a:lnTo>
                  <a:lnTo>
                    <a:pt x="2349183" y="1119958"/>
                  </a:lnTo>
                  <a:lnTo>
                    <a:pt x="2347913" y="1118694"/>
                  </a:lnTo>
                  <a:lnTo>
                    <a:pt x="2346960" y="1118378"/>
                  </a:lnTo>
                  <a:lnTo>
                    <a:pt x="2346643" y="1118378"/>
                  </a:lnTo>
                  <a:lnTo>
                    <a:pt x="2346008" y="1118378"/>
                  </a:lnTo>
                  <a:lnTo>
                    <a:pt x="2345055" y="1119326"/>
                  </a:lnTo>
                  <a:lnTo>
                    <a:pt x="2344420" y="1119958"/>
                  </a:lnTo>
                  <a:lnTo>
                    <a:pt x="2343785" y="1120906"/>
                  </a:lnTo>
                  <a:lnTo>
                    <a:pt x="2342833" y="1124066"/>
                  </a:lnTo>
                  <a:lnTo>
                    <a:pt x="2342515" y="1128173"/>
                  </a:lnTo>
                  <a:lnTo>
                    <a:pt x="2342198" y="1132597"/>
                  </a:lnTo>
                  <a:lnTo>
                    <a:pt x="2341245" y="1136704"/>
                  </a:lnTo>
                  <a:lnTo>
                    <a:pt x="2340293" y="1140180"/>
                  </a:lnTo>
                  <a:lnTo>
                    <a:pt x="2339023" y="1141760"/>
                  </a:lnTo>
                  <a:lnTo>
                    <a:pt x="2338070" y="1143023"/>
                  </a:lnTo>
                  <a:lnTo>
                    <a:pt x="2336800" y="1144287"/>
                  </a:lnTo>
                  <a:lnTo>
                    <a:pt x="2335530" y="1145235"/>
                  </a:lnTo>
                  <a:lnTo>
                    <a:pt x="2333625" y="1146183"/>
                  </a:lnTo>
                  <a:lnTo>
                    <a:pt x="2331720" y="1146815"/>
                  </a:lnTo>
                  <a:lnTo>
                    <a:pt x="2329815" y="1147131"/>
                  </a:lnTo>
                  <a:lnTo>
                    <a:pt x="2326957" y="1147763"/>
                  </a:lnTo>
                  <a:lnTo>
                    <a:pt x="2321877" y="1147763"/>
                  </a:lnTo>
                  <a:lnTo>
                    <a:pt x="2319655" y="1147131"/>
                  </a:lnTo>
                  <a:lnTo>
                    <a:pt x="2317432" y="1146499"/>
                  </a:lnTo>
                  <a:lnTo>
                    <a:pt x="2315210" y="1145235"/>
                  </a:lnTo>
                  <a:lnTo>
                    <a:pt x="2313305" y="1144287"/>
                  </a:lnTo>
                  <a:lnTo>
                    <a:pt x="2311400" y="1142392"/>
                  </a:lnTo>
                  <a:lnTo>
                    <a:pt x="2309495" y="1140812"/>
                  </a:lnTo>
                  <a:lnTo>
                    <a:pt x="2306002" y="1136388"/>
                  </a:lnTo>
                  <a:lnTo>
                    <a:pt x="2303145" y="1131649"/>
                  </a:lnTo>
                  <a:lnTo>
                    <a:pt x="2300922" y="1125962"/>
                  </a:lnTo>
                  <a:lnTo>
                    <a:pt x="2298382" y="1120274"/>
                  </a:lnTo>
                  <a:lnTo>
                    <a:pt x="2296795" y="1114271"/>
                  </a:lnTo>
                  <a:lnTo>
                    <a:pt x="2295207" y="1108268"/>
                  </a:lnTo>
                  <a:lnTo>
                    <a:pt x="2293620" y="1102580"/>
                  </a:lnTo>
                  <a:lnTo>
                    <a:pt x="2291715" y="1092470"/>
                  </a:lnTo>
                  <a:lnTo>
                    <a:pt x="2291080" y="1085519"/>
                  </a:lnTo>
                  <a:lnTo>
                    <a:pt x="2290762" y="1082675"/>
                  </a:lnTo>
                  <a:close/>
                  <a:moveTo>
                    <a:pt x="2847975" y="1081088"/>
                  </a:moveTo>
                  <a:lnTo>
                    <a:pt x="2847658" y="1083616"/>
                  </a:lnTo>
                  <a:lnTo>
                    <a:pt x="2846705" y="1090883"/>
                  </a:lnTo>
                  <a:lnTo>
                    <a:pt x="2844800" y="1100993"/>
                  </a:lnTo>
                  <a:lnTo>
                    <a:pt x="2843530" y="1106997"/>
                  </a:lnTo>
                  <a:lnTo>
                    <a:pt x="2842260" y="1113000"/>
                  </a:lnTo>
                  <a:lnTo>
                    <a:pt x="2840355" y="1119003"/>
                  </a:lnTo>
                  <a:lnTo>
                    <a:pt x="2838133" y="1124375"/>
                  </a:lnTo>
                  <a:lnTo>
                    <a:pt x="2835275" y="1130062"/>
                  </a:lnTo>
                  <a:lnTo>
                    <a:pt x="2832735" y="1134801"/>
                  </a:lnTo>
                  <a:lnTo>
                    <a:pt x="2829243" y="1139225"/>
                  </a:lnTo>
                  <a:lnTo>
                    <a:pt x="2827338" y="1140805"/>
                  </a:lnTo>
                  <a:lnTo>
                    <a:pt x="2825433" y="1142384"/>
                  </a:lnTo>
                  <a:lnTo>
                    <a:pt x="2823845" y="1143964"/>
                  </a:lnTo>
                  <a:lnTo>
                    <a:pt x="2821305" y="1144596"/>
                  </a:lnTo>
                  <a:lnTo>
                    <a:pt x="2819083" y="1145544"/>
                  </a:lnTo>
                  <a:lnTo>
                    <a:pt x="2816860" y="1145860"/>
                  </a:lnTo>
                  <a:lnTo>
                    <a:pt x="2811145" y="1146176"/>
                  </a:lnTo>
                  <a:lnTo>
                    <a:pt x="2808922" y="1145860"/>
                  </a:lnTo>
                  <a:lnTo>
                    <a:pt x="2807017" y="1145544"/>
                  </a:lnTo>
                  <a:lnTo>
                    <a:pt x="2804795" y="1144596"/>
                  </a:lnTo>
                  <a:lnTo>
                    <a:pt x="2803525" y="1143964"/>
                  </a:lnTo>
                  <a:lnTo>
                    <a:pt x="2801937" y="1142700"/>
                  </a:lnTo>
                  <a:lnTo>
                    <a:pt x="2800667" y="1141752"/>
                  </a:lnTo>
                  <a:lnTo>
                    <a:pt x="2799715" y="1140173"/>
                  </a:lnTo>
                  <a:lnTo>
                    <a:pt x="2798445" y="1138593"/>
                  </a:lnTo>
                  <a:lnTo>
                    <a:pt x="2796857" y="1135433"/>
                  </a:lnTo>
                  <a:lnTo>
                    <a:pt x="2796222" y="1131326"/>
                  </a:lnTo>
                  <a:lnTo>
                    <a:pt x="2796222" y="1126586"/>
                  </a:lnTo>
                  <a:lnTo>
                    <a:pt x="2795905" y="1122163"/>
                  </a:lnTo>
                  <a:lnTo>
                    <a:pt x="2794635" y="1119319"/>
                  </a:lnTo>
                  <a:lnTo>
                    <a:pt x="2794317" y="1118371"/>
                  </a:lnTo>
                  <a:lnTo>
                    <a:pt x="2793682" y="1117423"/>
                  </a:lnTo>
                  <a:lnTo>
                    <a:pt x="2792730" y="1117107"/>
                  </a:lnTo>
                  <a:lnTo>
                    <a:pt x="2792095" y="1117107"/>
                  </a:lnTo>
                  <a:lnTo>
                    <a:pt x="2791460" y="1117107"/>
                  </a:lnTo>
                  <a:lnTo>
                    <a:pt x="2790507" y="1117107"/>
                  </a:lnTo>
                  <a:lnTo>
                    <a:pt x="2789555" y="1118371"/>
                  </a:lnTo>
                  <a:lnTo>
                    <a:pt x="2788602" y="1120267"/>
                  </a:lnTo>
                  <a:lnTo>
                    <a:pt x="2788285" y="1123427"/>
                  </a:lnTo>
                  <a:lnTo>
                    <a:pt x="2787967" y="1125322"/>
                  </a:lnTo>
                  <a:lnTo>
                    <a:pt x="2787650" y="1127218"/>
                  </a:lnTo>
                  <a:lnTo>
                    <a:pt x="2785745" y="1131642"/>
                  </a:lnTo>
                  <a:lnTo>
                    <a:pt x="2783205" y="1136381"/>
                  </a:lnTo>
                  <a:lnTo>
                    <a:pt x="2780030" y="1140489"/>
                  </a:lnTo>
                  <a:lnTo>
                    <a:pt x="2778442" y="1142068"/>
                  </a:lnTo>
                  <a:lnTo>
                    <a:pt x="2777490" y="1143332"/>
                  </a:lnTo>
                  <a:lnTo>
                    <a:pt x="2775902" y="1143964"/>
                  </a:lnTo>
                  <a:lnTo>
                    <a:pt x="2774950" y="1143964"/>
                  </a:lnTo>
                  <a:lnTo>
                    <a:pt x="2773997" y="1143648"/>
                  </a:lnTo>
                  <a:lnTo>
                    <a:pt x="2773680" y="1142384"/>
                  </a:lnTo>
                  <a:lnTo>
                    <a:pt x="2773362" y="1140173"/>
                  </a:lnTo>
                  <a:lnTo>
                    <a:pt x="2773362" y="1137329"/>
                  </a:lnTo>
                  <a:lnTo>
                    <a:pt x="2775267" y="1122479"/>
                  </a:lnTo>
                  <a:lnTo>
                    <a:pt x="2776220" y="1115212"/>
                  </a:lnTo>
                  <a:lnTo>
                    <a:pt x="2777807" y="1108261"/>
                  </a:lnTo>
                  <a:lnTo>
                    <a:pt x="2780030" y="1101941"/>
                  </a:lnTo>
                  <a:lnTo>
                    <a:pt x="2781300" y="1099414"/>
                  </a:lnTo>
                  <a:lnTo>
                    <a:pt x="2782252" y="1097202"/>
                  </a:lnTo>
                  <a:lnTo>
                    <a:pt x="2783840" y="1095306"/>
                  </a:lnTo>
                  <a:lnTo>
                    <a:pt x="2785427" y="1093410"/>
                  </a:lnTo>
                  <a:lnTo>
                    <a:pt x="2787332" y="1092778"/>
                  </a:lnTo>
                  <a:lnTo>
                    <a:pt x="2789237" y="1092147"/>
                  </a:lnTo>
                  <a:lnTo>
                    <a:pt x="2847975" y="1081088"/>
                  </a:lnTo>
                  <a:close/>
                  <a:moveTo>
                    <a:pt x="2154535" y="1031875"/>
                  </a:moveTo>
                  <a:lnTo>
                    <a:pt x="2276475" y="1148694"/>
                  </a:lnTo>
                  <a:lnTo>
                    <a:pt x="2268240" y="1157288"/>
                  </a:lnTo>
                  <a:lnTo>
                    <a:pt x="2146300" y="1040469"/>
                  </a:lnTo>
                  <a:lnTo>
                    <a:pt x="2154535" y="1031875"/>
                  </a:lnTo>
                  <a:close/>
                  <a:moveTo>
                    <a:pt x="951225" y="992188"/>
                  </a:moveTo>
                  <a:lnTo>
                    <a:pt x="954087" y="1004130"/>
                  </a:lnTo>
                  <a:lnTo>
                    <a:pt x="747081" y="1054101"/>
                  </a:lnTo>
                  <a:lnTo>
                    <a:pt x="744537" y="1042158"/>
                  </a:lnTo>
                  <a:lnTo>
                    <a:pt x="951225" y="992188"/>
                  </a:lnTo>
                  <a:close/>
                  <a:moveTo>
                    <a:pt x="263208" y="913173"/>
                  </a:moveTo>
                  <a:lnTo>
                    <a:pt x="242887" y="1082955"/>
                  </a:lnTo>
                  <a:lnTo>
                    <a:pt x="259715" y="1082001"/>
                  </a:lnTo>
                  <a:lnTo>
                    <a:pt x="276860" y="1081683"/>
                  </a:lnTo>
                  <a:lnTo>
                    <a:pt x="296863" y="1082001"/>
                  </a:lnTo>
                  <a:lnTo>
                    <a:pt x="275590" y="913173"/>
                  </a:lnTo>
                  <a:lnTo>
                    <a:pt x="271780" y="913491"/>
                  </a:lnTo>
                  <a:lnTo>
                    <a:pt x="267970" y="913491"/>
                  </a:lnTo>
                  <a:lnTo>
                    <a:pt x="265748" y="913491"/>
                  </a:lnTo>
                  <a:lnTo>
                    <a:pt x="263208" y="913173"/>
                  </a:lnTo>
                  <a:close/>
                  <a:moveTo>
                    <a:pt x="1967124" y="852488"/>
                  </a:moveTo>
                  <a:lnTo>
                    <a:pt x="2032000" y="915353"/>
                  </a:lnTo>
                  <a:lnTo>
                    <a:pt x="2023538" y="923926"/>
                  </a:lnTo>
                  <a:lnTo>
                    <a:pt x="1958975" y="861378"/>
                  </a:lnTo>
                  <a:lnTo>
                    <a:pt x="1967124" y="852488"/>
                  </a:lnTo>
                  <a:close/>
                  <a:moveTo>
                    <a:pt x="71437" y="820738"/>
                  </a:moveTo>
                  <a:lnTo>
                    <a:pt x="113846" y="828515"/>
                  </a:lnTo>
                  <a:lnTo>
                    <a:pt x="115452" y="828826"/>
                  </a:lnTo>
                  <a:lnTo>
                    <a:pt x="116737" y="829759"/>
                  </a:lnTo>
                  <a:lnTo>
                    <a:pt x="117701" y="830692"/>
                  </a:lnTo>
                  <a:lnTo>
                    <a:pt x="118986" y="832247"/>
                  </a:lnTo>
                  <a:lnTo>
                    <a:pt x="120914" y="835669"/>
                  </a:lnTo>
                  <a:lnTo>
                    <a:pt x="121878" y="840024"/>
                  </a:lnTo>
                  <a:lnTo>
                    <a:pt x="123163" y="844690"/>
                  </a:lnTo>
                  <a:lnTo>
                    <a:pt x="124127" y="850289"/>
                  </a:lnTo>
                  <a:lnTo>
                    <a:pt x="125412" y="860555"/>
                  </a:lnTo>
                  <a:lnTo>
                    <a:pt x="125412" y="862732"/>
                  </a:lnTo>
                  <a:lnTo>
                    <a:pt x="125412" y="863976"/>
                  </a:lnTo>
                  <a:lnTo>
                    <a:pt x="125090" y="864909"/>
                  </a:lnTo>
                  <a:lnTo>
                    <a:pt x="124127" y="865532"/>
                  </a:lnTo>
                  <a:lnTo>
                    <a:pt x="123484" y="865532"/>
                  </a:lnTo>
                  <a:lnTo>
                    <a:pt x="122842" y="864598"/>
                  </a:lnTo>
                  <a:lnTo>
                    <a:pt x="120271" y="862732"/>
                  </a:lnTo>
                  <a:lnTo>
                    <a:pt x="118344" y="859932"/>
                  </a:lnTo>
                  <a:lnTo>
                    <a:pt x="116737" y="856511"/>
                  </a:lnTo>
                  <a:lnTo>
                    <a:pt x="115131" y="853089"/>
                  </a:lnTo>
                  <a:lnTo>
                    <a:pt x="114810" y="850600"/>
                  </a:lnTo>
                  <a:lnTo>
                    <a:pt x="114167" y="848423"/>
                  </a:lnTo>
                  <a:lnTo>
                    <a:pt x="113846" y="846868"/>
                  </a:lnTo>
                  <a:lnTo>
                    <a:pt x="112882" y="846245"/>
                  </a:lnTo>
                  <a:lnTo>
                    <a:pt x="111597" y="846245"/>
                  </a:lnTo>
                  <a:lnTo>
                    <a:pt x="110954" y="846556"/>
                  </a:lnTo>
                  <a:lnTo>
                    <a:pt x="109669" y="847801"/>
                  </a:lnTo>
                  <a:lnTo>
                    <a:pt x="109348" y="849978"/>
                  </a:lnTo>
                  <a:lnTo>
                    <a:pt x="109026" y="852778"/>
                  </a:lnTo>
                  <a:lnTo>
                    <a:pt x="108705" y="856200"/>
                  </a:lnTo>
                  <a:lnTo>
                    <a:pt x="108384" y="858999"/>
                  </a:lnTo>
                  <a:lnTo>
                    <a:pt x="107099" y="861799"/>
                  </a:lnTo>
                  <a:lnTo>
                    <a:pt x="105492" y="863665"/>
                  </a:lnTo>
                  <a:lnTo>
                    <a:pt x="103565" y="864909"/>
                  </a:lnTo>
                  <a:lnTo>
                    <a:pt x="100994" y="866154"/>
                  </a:lnTo>
                  <a:lnTo>
                    <a:pt x="98103" y="866776"/>
                  </a:lnTo>
                  <a:lnTo>
                    <a:pt x="93926" y="866465"/>
                  </a:lnTo>
                  <a:lnTo>
                    <a:pt x="92320" y="866465"/>
                  </a:lnTo>
                  <a:lnTo>
                    <a:pt x="90392" y="865843"/>
                  </a:lnTo>
                  <a:lnTo>
                    <a:pt x="87822" y="864287"/>
                  </a:lnTo>
                  <a:lnTo>
                    <a:pt x="84931" y="861799"/>
                  </a:lnTo>
                  <a:lnTo>
                    <a:pt x="82360" y="858688"/>
                  </a:lnTo>
                  <a:lnTo>
                    <a:pt x="80433" y="855577"/>
                  </a:lnTo>
                  <a:lnTo>
                    <a:pt x="78505" y="851534"/>
                  </a:lnTo>
                  <a:lnTo>
                    <a:pt x="76899" y="847490"/>
                  </a:lnTo>
                  <a:lnTo>
                    <a:pt x="75613" y="843446"/>
                  </a:lnTo>
                  <a:lnTo>
                    <a:pt x="73686" y="834736"/>
                  </a:lnTo>
                  <a:lnTo>
                    <a:pt x="72079" y="827892"/>
                  </a:lnTo>
                  <a:lnTo>
                    <a:pt x="71437" y="820738"/>
                  </a:lnTo>
                  <a:close/>
                  <a:moveTo>
                    <a:pt x="471487" y="819150"/>
                  </a:moveTo>
                  <a:lnTo>
                    <a:pt x="470534" y="826277"/>
                  </a:lnTo>
                  <a:lnTo>
                    <a:pt x="468947" y="833729"/>
                  </a:lnTo>
                  <a:lnTo>
                    <a:pt x="467042" y="842152"/>
                  </a:lnTo>
                  <a:lnTo>
                    <a:pt x="465772" y="846688"/>
                  </a:lnTo>
                  <a:lnTo>
                    <a:pt x="464184" y="850900"/>
                  </a:lnTo>
                  <a:lnTo>
                    <a:pt x="462279" y="854788"/>
                  </a:lnTo>
                  <a:lnTo>
                    <a:pt x="460374" y="858675"/>
                  </a:lnTo>
                  <a:lnTo>
                    <a:pt x="457834" y="861591"/>
                  </a:lnTo>
                  <a:lnTo>
                    <a:pt x="455294" y="864507"/>
                  </a:lnTo>
                  <a:lnTo>
                    <a:pt x="452119" y="865803"/>
                  </a:lnTo>
                  <a:lnTo>
                    <a:pt x="450532" y="866451"/>
                  </a:lnTo>
                  <a:lnTo>
                    <a:pt x="449262" y="866775"/>
                  </a:lnTo>
                  <a:lnTo>
                    <a:pt x="445134" y="866775"/>
                  </a:lnTo>
                  <a:lnTo>
                    <a:pt x="441959" y="866451"/>
                  </a:lnTo>
                  <a:lnTo>
                    <a:pt x="439419" y="865155"/>
                  </a:lnTo>
                  <a:lnTo>
                    <a:pt x="437514" y="863535"/>
                  </a:lnTo>
                  <a:lnTo>
                    <a:pt x="435927" y="861267"/>
                  </a:lnTo>
                  <a:lnTo>
                    <a:pt x="434974" y="858999"/>
                  </a:lnTo>
                  <a:lnTo>
                    <a:pt x="434022" y="856084"/>
                  </a:lnTo>
                  <a:lnTo>
                    <a:pt x="434022" y="852520"/>
                  </a:lnTo>
                  <a:lnTo>
                    <a:pt x="433704" y="849280"/>
                  </a:lnTo>
                  <a:lnTo>
                    <a:pt x="433387" y="847012"/>
                  </a:lnTo>
                  <a:lnTo>
                    <a:pt x="432117" y="846040"/>
                  </a:lnTo>
                  <a:lnTo>
                    <a:pt x="431482" y="845068"/>
                  </a:lnTo>
                  <a:lnTo>
                    <a:pt x="430212" y="845716"/>
                  </a:lnTo>
                  <a:lnTo>
                    <a:pt x="429259" y="846364"/>
                  </a:lnTo>
                  <a:lnTo>
                    <a:pt x="428942" y="847984"/>
                  </a:lnTo>
                  <a:lnTo>
                    <a:pt x="428624" y="850252"/>
                  </a:lnTo>
                  <a:lnTo>
                    <a:pt x="427989" y="852844"/>
                  </a:lnTo>
                  <a:lnTo>
                    <a:pt x="426719" y="856408"/>
                  </a:lnTo>
                  <a:lnTo>
                    <a:pt x="424814" y="859647"/>
                  </a:lnTo>
                  <a:lnTo>
                    <a:pt x="422592" y="862563"/>
                  </a:lnTo>
                  <a:lnTo>
                    <a:pt x="420687" y="864831"/>
                  </a:lnTo>
                  <a:lnTo>
                    <a:pt x="419734" y="865155"/>
                  </a:lnTo>
                  <a:lnTo>
                    <a:pt x="419099" y="865479"/>
                  </a:lnTo>
                  <a:lnTo>
                    <a:pt x="418464" y="865155"/>
                  </a:lnTo>
                  <a:lnTo>
                    <a:pt x="417829" y="863859"/>
                  </a:lnTo>
                  <a:lnTo>
                    <a:pt x="417512" y="862563"/>
                  </a:lnTo>
                  <a:lnTo>
                    <a:pt x="417829" y="860619"/>
                  </a:lnTo>
                  <a:lnTo>
                    <a:pt x="419099" y="849280"/>
                  </a:lnTo>
                  <a:lnTo>
                    <a:pt x="419734" y="844096"/>
                  </a:lnTo>
                  <a:lnTo>
                    <a:pt x="421004" y="838913"/>
                  </a:lnTo>
                  <a:lnTo>
                    <a:pt x="422592" y="834377"/>
                  </a:lnTo>
                  <a:lnTo>
                    <a:pt x="424179" y="830489"/>
                  </a:lnTo>
                  <a:lnTo>
                    <a:pt x="425449" y="829193"/>
                  </a:lnTo>
                  <a:lnTo>
                    <a:pt x="426719" y="828221"/>
                  </a:lnTo>
                  <a:lnTo>
                    <a:pt x="427672" y="827573"/>
                  </a:lnTo>
                  <a:lnTo>
                    <a:pt x="429259" y="827249"/>
                  </a:lnTo>
                  <a:lnTo>
                    <a:pt x="471487" y="819150"/>
                  </a:lnTo>
                  <a:close/>
                  <a:moveTo>
                    <a:pt x="1825625" y="773113"/>
                  </a:moveTo>
                  <a:lnTo>
                    <a:pt x="1867021" y="773113"/>
                  </a:lnTo>
                  <a:lnTo>
                    <a:pt x="1873657" y="778074"/>
                  </a:lnTo>
                  <a:lnTo>
                    <a:pt x="1879660" y="782704"/>
                  </a:lnTo>
                  <a:lnTo>
                    <a:pt x="1885664" y="787996"/>
                  </a:lnTo>
                  <a:lnTo>
                    <a:pt x="1888192" y="790972"/>
                  </a:lnTo>
                  <a:lnTo>
                    <a:pt x="1890404" y="793618"/>
                  </a:lnTo>
                  <a:lnTo>
                    <a:pt x="1891668" y="796264"/>
                  </a:lnTo>
                  <a:lnTo>
                    <a:pt x="1891984" y="797587"/>
                  </a:lnTo>
                  <a:lnTo>
                    <a:pt x="1892300" y="798579"/>
                  </a:lnTo>
                  <a:lnTo>
                    <a:pt x="1891984" y="799902"/>
                  </a:lnTo>
                  <a:lnTo>
                    <a:pt x="1891668" y="801225"/>
                  </a:lnTo>
                  <a:lnTo>
                    <a:pt x="1891036" y="801886"/>
                  </a:lnTo>
                  <a:lnTo>
                    <a:pt x="1889772" y="802548"/>
                  </a:lnTo>
                  <a:lnTo>
                    <a:pt x="1888192" y="803540"/>
                  </a:lnTo>
                  <a:lnTo>
                    <a:pt x="1886296" y="804201"/>
                  </a:lnTo>
                  <a:lnTo>
                    <a:pt x="1881556" y="804863"/>
                  </a:lnTo>
                  <a:lnTo>
                    <a:pt x="1875237" y="804863"/>
                  </a:lnTo>
                  <a:lnTo>
                    <a:pt x="1869233" y="804201"/>
                  </a:lnTo>
                  <a:lnTo>
                    <a:pt x="1863861" y="802878"/>
                  </a:lnTo>
                  <a:lnTo>
                    <a:pt x="1859121" y="801556"/>
                  </a:lnTo>
                  <a:lnTo>
                    <a:pt x="1854697" y="799240"/>
                  </a:lnTo>
                  <a:lnTo>
                    <a:pt x="1849957" y="796595"/>
                  </a:lnTo>
                  <a:lnTo>
                    <a:pt x="1846481" y="793949"/>
                  </a:lnTo>
                  <a:lnTo>
                    <a:pt x="1842373" y="790972"/>
                  </a:lnTo>
                  <a:lnTo>
                    <a:pt x="1840477" y="789649"/>
                  </a:lnTo>
                  <a:lnTo>
                    <a:pt x="1839213" y="789319"/>
                  </a:lnTo>
                  <a:lnTo>
                    <a:pt x="1838581" y="789319"/>
                  </a:lnTo>
                  <a:lnTo>
                    <a:pt x="1838265" y="789649"/>
                  </a:lnTo>
                  <a:lnTo>
                    <a:pt x="1837317" y="790972"/>
                  </a:lnTo>
                  <a:lnTo>
                    <a:pt x="1837317" y="791303"/>
                  </a:lnTo>
                  <a:lnTo>
                    <a:pt x="1836685" y="791303"/>
                  </a:lnTo>
                  <a:lnTo>
                    <a:pt x="1832261" y="791303"/>
                  </a:lnTo>
                  <a:lnTo>
                    <a:pt x="1829417" y="790972"/>
                  </a:lnTo>
                  <a:lnTo>
                    <a:pt x="1827521" y="790642"/>
                  </a:lnTo>
                  <a:lnTo>
                    <a:pt x="1826573" y="782704"/>
                  </a:lnTo>
                  <a:lnTo>
                    <a:pt x="1826257" y="778074"/>
                  </a:lnTo>
                  <a:lnTo>
                    <a:pt x="1826573" y="775759"/>
                  </a:lnTo>
                  <a:lnTo>
                    <a:pt x="1826573" y="774767"/>
                  </a:lnTo>
                  <a:lnTo>
                    <a:pt x="1825625" y="773113"/>
                  </a:lnTo>
                  <a:close/>
                  <a:moveTo>
                    <a:pt x="1722120" y="773113"/>
                  </a:moveTo>
                  <a:lnTo>
                    <a:pt x="1763712" y="773113"/>
                  </a:lnTo>
                  <a:lnTo>
                    <a:pt x="1762760" y="774767"/>
                  </a:lnTo>
                  <a:lnTo>
                    <a:pt x="1763077" y="775759"/>
                  </a:lnTo>
                  <a:lnTo>
                    <a:pt x="1763077" y="778074"/>
                  </a:lnTo>
                  <a:lnTo>
                    <a:pt x="1762760" y="782704"/>
                  </a:lnTo>
                  <a:lnTo>
                    <a:pt x="1761807" y="790642"/>
                  </a:lnTo>
                  <a:lnTo>
                    <a:pt x="1759902" y="790972"/>
                  </a:lnTo>
                  <a:lnTo>
                    <a:pt x="1757680" y="791303"/>
                  </a:lnTo>
                  <a:lnTo>
                    <a:pt x="1752600" y="791303"/>
                  </a:lnTo>
                  <a:lnTo>
                    <a:pt x="1752282" y="791303"/>
                  </a:lnTo>
                  <a:lnTo>
                    <a:pt x="1751965" y="790972"/>
                  </a:lnTo>
                  <a:lnTo>
                    <a:pt x="1751330" y="789649"/>
                  </a:lnTo>
                  <a:lnTo>
                    <a:pt x="1750695" y="789319"/>
                  </a:lnTo>
                  <a:lnTo>
                    <a:pt x="1750060" y="789319"/>
                  </a:lnTo>
                  <a:lnTo>
                    <a:pt x="1748790" y="789649"/>
                  </a:lnTo>
                  <a:lnTo>
                    <a:pt x="1747202" y="790972"/>
                  </a:lnTo>
                  <a:lnTo>
                    <a:pt x="1743392" y="793949"/>
                  </a:lnTo>
                  <a:lnTo>
                    <a:pt x="1739265" y="796595"/>
                  </a:lnTo>
                  <a:lnTo>
                    <a:pt x="1734502" y="799240"/>
                  </a:lnTo>
                  <a:lnTo>
                    <a:pt x="1730057" y="801556"/>
                  </a:lnTo>
                  <a:lnTo>
                    <a:pt x="1725295" y="802878"/>
                  </a:lnTo>
                  <a:lnTo>
                    <a:pt x="1719897" y="804201"/>
                  </a:lnTo>
                  <a:lnTo>
                    <a:pt x="1713865" y="804863"/>
                  </a:lnTo>
                  <a:lnTo>
                    <a:pt x="1707515" y="804863"/>
                  </a:lnTo>
                  <a:lnTo>
                    <a:pt x="1702752" y="804201"/>
                  </a:lnTo>
                  <a:lnTo>
                    <a:pt x="1700847" y="803540"/>
                  </a:lnTo>
                  <a:lnTo>
                    <a:pt x="1699260" y="802548"/>
                  </a:lnTo>
                  <a:lnTo>
                    <a:pt x="1698307" y="801886"/>
                  </a:lnTo>
                  <a:lnTo>
                    <a:pt x="1697355" y="801225"/>
                  </a:lnTo>
                  <a:lnTo>
                    <a:pt x="1697037" y="799902"/>
                  </a:lnTo>
                  <a:lnTo>
                    <a:pt x="1697037" y="798579"/>
                  </a:lnTo>
                  <a:lnTo>
                    <a:pt x="1697037" y="797587"/>
                  </a:lnTo>
                  <a:lnTo>
                    <a:pt x="1697355" y="796264"/>
                  </a:lnTo>
                  <a:lnTo>
                    <a:pt x="1698625" y="793618"/>
                  </a:lnTo>
                  <a:lnTo>
                    <a:pt x="1700847" y="790972"/>
                  </a:lnTo>
                  <a:lnTo>
                    <a:pt x="1703387" y="787996"/>
                  </a:lnTo>
                  <a:lnTo>
                    <a:pt x="1709420" y="782704"/>
                  </a:lnTo>
                  <a:lnTo>
                    <a:pt x="1715452" y="778074"/>
                  </a:lnTo>
                  <a:lnTo>
                    <a:pt x="1722120" y="773113"/>
                  </a:lnTo>
                  <a:close/>
                  <a:moveTo>
                    <a:pt x="1800322" y="754463"/>
                  </a:moveTo>
                  <a:lnTo>
                    <a:pt x="1784168" y="754780"/>
                  </a:lnTo>
                  <a:lnTo>
                    <a:pt x="1768964" y="756049"/>
                  </a:lnTo>
                  <a:lnTo>
                    <a:pt x="1767697" y="764936"/>
                  </a:lnTo>
                  <a:lnTo>
                    <a:pt x="1720500" y="765888"/>
                  </a:lnTo>
                  <a:lnTo>
                    <a:pt x="1720183" y="764618"/>
                  </a:lnTo>
                  <a:lnTo>
                    <a:pt x="1713215" y="766522"/>
                  </a:lnTo>
                  <a:lnTo>
                    <a:pt x="1706880" y="768744"/>
                  </a:lnTo>
                  <a:lnTo>
                    <a:pt x="1700861" y="770966"/>
                  </a:lnTo>
                  <a:lnTo>
                    <a:pt x="1695476" y="773187"/>
                  </a:lnTo>
                  <a:lnTo>
                    <a:pt x="1690092" y="776043"/>
                  </a:lnTo>
                  <a:lnTo>
                    <a:pt x="1685340" y="778265"/>
                  </a:lnTo>
                  <a:lnTo>
                    <a:pt x="1680589" y="780804"/>
                  </a:lnTo>
                  <a:lnTo>
                    <a:pt x="1676471" y="783343"/>
                  </a:lnTo>
                  <a:lnTo>
                    <a:pt x="1673304" y="786199"/>
                  </a:lnTo>
                  <a:lnTo>
                    <a:pt x="1670136" y="789055"/>
                  </a:lnTo>
                  <a:lnTo>
                    <a:pt x="1667602" y="791594"/>
                  </a:lnTo>
                  <a:lnTo>
                    <a:pt x="1665385" y="794451"/>
                  </a:lnTo>
                  <a:lnTo>
                    <a:pt x="1663484" y="796989"/>
                  </a:lnTo>
                  <a:lnTo>
                    <a:pt x="1662217" y="799528"/>
                  </a:lnTo>
                  <a:lnTo>
                    <a:pt x="1661584" y="802067"/>
                  </a:lnTo>
                  <a:lnTo>
                    <a:pt x="1661267" y="804924"/>
                  </a:lnTo>
                  <a:lnTo>
                    <a:pt x="1661584" y="806828"/>
                  </a:lnTo>
                  <a:lnTo>
                    <a:pt x="1661900" y="808732"/>
                  </a:lnTo>
                  <a:lnTo>
                    <a:pt x="1662534" y="810954"/>
                  </a:lnTo>
                  <a:lnTo>
                    <a:pt x="1663801" y="813175"/>
                  </a:lnTo>
                  <a:lnTo>
                    <a:pt x="1665068" y="815079"/>
                  </a:lnTo>
                  <a:lnTo>
                    <a:pt x="1666969" y="817301"/>
                  </a:lnTo>
                  <a:lnTo>
                    <a:pt x="1671086" y="821427"/>
                  </a:lnTo>
                  <a:lnTo>
                    <a:pt x="1676154" y="825870"/>
                  </a:lnTo>
                  <a:lnTo>
                    <a:pt x="1682490" y="829995"/>
                  </a:lnTo>
                  <a:lnTo>
                    <a:pt x="1690092" y="833804"/>
                  </a:lnTo>
                  <a:lnTo>
                    <a:pt x="1698644" y="837930"/>
                  </a:lnTo>
                  <a:lnTo>
                    <a:pt x="1708147" y="841421"/>
                  </a:lnTo>
                  <a:lnTo>
                    <a:pt x="1718600" y="844594"/>
                  </a:lnTo>
                  <a:lnTo>
                    <a:pt x="1729686" y="847768"/>
                  </a:lnTo>
                  <a:lnTo>
                    <a:pt x="1742356" y="849989"/>
                  </a:lnTo>
                  <a:lnTo>
                    <a:pt x="1755660" y="852211"/>
                  </a:lnTo>
                  <a:lnTo>
                    <a:pt x="1769597" y="853798"/>
                  </a:lnTo>
                  <a:lnTo>
                    <a:pt x="1784485" y="854750"/>
                  </a:lnTo>
                  <a:lnTo>
                    <a:pt x="1800322" y="854750"/>
                  </a:lnTo>
                  <a:lnTo>
                    <a:pt x="1816477" y="854750"/>
                  </a:lnTo>
                  <a:lnTo>
                    <a:pt x="1831048" y="853798"/>
                  </a:lnTo>
                  <a:lnTo>
                    <a:pt x="1845302" y="852211"/>
                  </a:lnTo>
                  <a:lnTo>
                    <a:pt x="1858605" y="849989"/>
                  </a:lnTo>
                  <a:lnTo>
                    <a:pt x="1870959" y="847768"/>
                  </a:lnTo>
                  <a:lnTo>
                    <a:pt x="1882362" y="844594"/>
                  </a:lnTo>
                  <a:lnTo>
                    <a:pt x="1893132" y="841421"/>
                  </a:lnTo>
                  <a:lnTo>
                    <a:pt x="1902318" y="837930"/>
                  </a:lnTo>
                  <a:lnTo>
                    <a:pt x="1910870" y="833804"/>
                  </a:lnTo>
                  <a:lnTo>
                    <a:pt x="1918472" y="829995"/>
                  </a:lnTo>
                  <a:lnTo>
                    <a:pt x="1924807" y="825870"/>
                  </a:lnTo>
                  <a:lnTo>
                    <a:pt x="1930192" y="821427"/>
                  </a:lnTo>
                  <a:lnTo>
                    <a:pt x="1934310" y="817301"/>
                  </a:lnTo>
                  <a:lnTo>
                    <a:pt x="1935894" y="815079"/>
                  </a:lnTo>
                  <a:lnTo>
                    <a:pt x="1937161" y="813175"/>
                  </a:lnTo>
                  <a:lnTo>
                    <a:pt x="1938428" y="810954"/>
                  </a:lnTo>
                  <a:lnTo>
                    <a:pt x="1939061" y="808732"/>
                  </a:lnTo>
                  <a:lnTo>
                    <a:pt x="1939378" y="806828"/>
                  </a:lnTo>
                  <a:lnTo>
                    <a:pt x="1939378" y="804924"/>
                  </a:lnTo>
                  <a:lnTo>
                    <a:pt x="1939378" y="801750"/>
                  </a:lnTo>
                  <a:lnTo>
                    <a:pt x="1938428" y="799211"/>
                  </a:lnTo>
                  <a:lnTo>
                    <a:pt x="1936844" y="796037"/>
                  </a:lnTo>
                  <a:lnTo>
                    <a:pt x="1934627" y="793181"/>
                  </a:lnTo>
                  <a:lnTo>
                    <a:pt x="1932093" y="790325"/>
                  </a:lnTo>
                  <a:lnTo>
                    <a:pt x="1928925" y="787151"/>
                  </a:lnTo>
                  <a:lnTo>
                    <a:pt x="1924807" y="784295"/>
                  </a:lnTo>
                  <a:lnTo>
                    <a:pt x="1920689" y="781121"/>
                  </a:lnTo>
                  <a:lnTo>
                    <a:pt x="1915938" y="778265"/>
                  </a:lnTo>
                  <a:lnTo>
                    <a:pt x="1910236" y="775409"/>
                  </a:lnTo>
                  <a:lnTo>
                    <a:pt x="1904218" y="772870"/>
                  </a:lnTo>
                  <a:lnTo>
                    <a:pt x="1897883" y="770331"/>
                  </a:lnTo>
                  <a:lnTo>
                    <a:pt x="1890914" y="767475"/>
                  </a:lnTo>
                  <a:lnTo>
                    <a:pt x="1883629" y="765253"/>
                  </a:lnTo>
                  <a:lnTo>
                    <a:pt x="1875710" y="763349"/>
                  </a:lnTo>
                  <a:lnTo>
                    <a:pt x="1867158" y="761127"/>
                  </a:lnTo>
                  <a:lnTo>
                    <a:pt x="1867158" y="765888"/>
                  </a:lnTo>
                  <a:lnTo>
                    <a:pt x="1821228" y="765888"/>
                  </a:lnTo>
                  <a:lnTo>
                    <a:pt x="1820278" y="755097"/>
                  </a:lnTo>
                  <a:lnTo>
                    <a:pt x="1810459" y="754780"/>
                  </a:lnTo>
                  <a:lnTo>
                    <a:pt x="1800322" y="754463"/>
                  </a:lnTo>
                  <a:close/>
                  <a:moveTo>
                    <a:pt x="2034836" y="711200"/>
                  </a:moveTo>
                  <a:lnTo>
                    <a:pt x="2039938" y="721912"/>
                  </a:lnTo>
                  <a:lnTo>
                    <a:pt x="1973603" y="752475"/>
                  </a:lnTo>
                  <a:lnTo>
                    <a:pt x="1968500" y="741762"/>
                  </a:lnTo>
                  <a:lnTo>
                    <a:pt x="2034836" y="711200"/>
                  </a:lnTo>
                  <a:close/>
                  <a:moveTo>
                    <a:pt x="1625600" y="692150"/>
                  </a:moveTo>
                  <a:lnTo>
                    <a:pt x="1697038" y="735585"/>
                  </a:lnTo>
                  <a:lnTo>
                    <a:pt x="1690688" y="746125"/>
                  </a:lnTo>
                  <a:lnTo>
                    <a:pt x="1619250" y="702689"/>
                  </a:lnTo>
                  <a:lnTo>
                    <a:pt x="1625600" y="692150"/>
                  </a:lnTo>
                  <a:close/>
                  <a:moveTo>
                    <a:pt x="1231408" y="690563"/>
                  </a:moveTo>
                  <a:lnTo>
                    <a:pt x="1244414" y="691513"/>
                  </a:lnTo>
                  <a:lnTo>
                    <a:pt x="1256468" y="692463"/>
                  </a:lnTo>
                  <a:lnTo>
                    <a:pt x="1267888" y="694046"/>
                  </a:lnTo>
                  <a:lnTo>
                    <a:pt x="1279308" y="696262"/>
                  </a:lnTo>
                  <a:lnTo>
                    <a:pt x="1289776" y="698795"/>
                  </a:lnTo>
                  <a:lnTo>
                    <a:pt x="1299927" y="702277"/>
                  </a:lnTo>
                  <a:lnTo>
                    <a:pt x="1309761" y="705760"/>
                  </a:lnTo>
                  <a:lnTo>
                    <a:pt x="1318643" y="708926"/>
                  </a:lnTo>
                  <a:lnTo>
                    <a:pt x="1327208" y="713042"/>
                  </a:lnTo>
                  <a:lnTo>
                    <a:pt x="1335773" y="716841"/>
                  </a:lnTo>
                  <a:lnTo>
                    <a:pt x="1343069" y="720957"/>
                  </a:lnTo>
                  <a:lnTo>
                    <a:pt x="1350047" y="725073"/>
                  </a:lnTo>
                  <a:lnTo>
                    <a:pt x="1356392" y="729189"/>
                  </a:lnTo>
                  <a:lnTo>
                    <a:pt x="1367494" y="737104"/>
                  </a:lnTo>
                  <a:lnTo>
                    <a:pt x="1376059" y="744386"/>
                  </a:lnTo>
                  <a:lnTo>
                    <a:pt x="1382721" y="749769"/>
                  </a:lnTo>
                  <a:lnTo>
                    <a:pt x="1387479" y="754834"/>
                  </a:lnTo>
                  <a:lnTo>
                    <a:pt x="1385893" y="758634"/>
                  </a:lnTo>
                  <a:lnTo>
                    <a:pt x="1383672" y="762750"/>
                  </a:lnTo>
                  <a:lnTo>
                    <a:pt x="1380183" y="768132"/>
                  </a:lnTo>
                  <a:lnTo>
                    <a:pt x="1376694" y="774147"/>
                  </a:lnTo>
                  <a:lnTo>
                    <a:pt x="1371301" y="780796"/>
                  </a:lnTo>
                  <a:lnTo>
                    <a:pt x="1365274" y="787445"/>
                  </a:lnTo>
                  <a:lnTo>
                    <a:pt x="1361784" y="790928"/>
                  </a:lnTo>
                  <a:lnTo>
                    <a:pt x="1358295" y="793777"/>
                  </a:lnTo>
                  <a:lnTo>
                    <a:pt x="1354488" y="796627"/>
                  </a:lnTo>
                  <a:lnTo>
                    <a:pt x="1350047" y="799793"/>
                  </a:lnTo>
                  <a:lnTo>
                    <a:pt x="1345924" y="802326"/>
                  </a:lnTo>
                  <a:lnTo>
                    <a:pt x="1340848" y="804542"/>
                  </a:lnTo>
                  <a:lnTo>
                    <a:pt x="1336090" y="806758"/>
                  </a:lnTo>
                  <a:lnTo>
                    <a:pt x="1330380" y="808658"/>
                  </a:lnTo>
                  <a:lnTo>
                    <a:pt x="1324987" y="809924"/>
                  </a:lnTo>
                  <a:lnTo>
                    <a:pt x="1318960" y="810874"/>
                  </a:lnTo>
                  <a:lnTo>
                    <a:pt x="1312616" y="811507"/>
                  </a:lnTo>
                  <a:lnTo>
                    <a:pt x="1306271" y="811507"/>
                  </a:lnTo>
                  <a:lnTo>
                    <a:pt x="1299610" y="810557"/>
                  </a:lnTo>
                  <a:lnTo>
                    <a:pt x="1292948" y="809608"/>
                  </a:lnTo>
                  <a:lnTo>
                    <a:pt x="1285335" y="807708"/>
                  </a:lnTo>
                  <a:lnTo>
                    <a:pt x="1277405" y="805492"/>
                  </a:lnTo>
                  <a:lnTo>
                    <a:pt x="1269474" y="802009"/>
                  </a:lnTo>
                  <a:lnTo>
                    <a:pt x="1261227" y="798210"/>
                  </a:lnTo>
                  <a:lnTo>
                    <a:pt x="1251710" y="793777"/>
                  </a:lnTo>
                  <a:lnTo>
                    <a:pt x="1242194" y="789345"/>
                  </a:lnTo>
                  <a:lnTo>
                    <a:pt x="1281529" y="808341"/>
                  </a:lnTo>
                  <a:lnTo>
                    <a:pt x="1300244" y="816890"/>
                  </a:lnTo>
                  <a:lnTo>
                    <a:pt x="1309444" y="820689"/>
                  </a:lnTo>
                  <a:lnTo>
                    <a:pt x="1318009" y="823855"/>
                  </a:lnTo>
                  <a:lnTo>
                    <a:pt x="1326256" y="826388"/>
                  </a:lnTo>
                  <a:lnTo>
                    <a:pt x="1334187" y="828287"/>
                  </a:lnTo>
                  <a:lnTo>
                    <a:pt x="1341483" y="829870"/>
                  </a:lnTo>
                  <a:lnTo>
                    <a:pt x="1348779" y="830187"/>
                  </a:lnTo>
                  <a:lnTo>
                    <a:pt x="1352268" y="830187"/>
                  </a:lnTo>
                  <a:lnTo>
                    <a:pt x="1355440" y="829870"/>
                  </a:lnTo>
                  <a:lnTo>
                    <a:pt x="1358929" y="828921"/>
                  </a:lnTo>
                  <a:lnTo>
                    <a:pt x="1361784" y="828287"/>
                  </a:lnTo>
                  <a:lnTo>
                    <a:pt x="1364957" y="827021"/>
                  </a:lnTo>
                  <a:lnTo>
                    <a:pt x="1367494" y="826071"/>
                  </a:lnTo>
                  <a:lnTo>
                    <a:pt x="1370032" y="824488"/>
                  </a:lnTo>
                  <a:lnTo>
                    <a:pt x="1372887" y="822272"/>
                  </a:lnTo>
                  <a:lnTo>
                    <a:pt x="1373521" y="829554"/>
                  </a:lnTo>
                  <a:lnTo>
                    <a:pt x="1374473" y="835886"/>
                  </a:lnTo>
                  <a:lnTo>
                    <a:pt x="1374790" y="848234"/>
                  </a:lnTo>
                  <a:lnTo>
                    <a:pt x="1374790" y="860265"/>
                  </a:lnTo>
                  <a:lnTo>
                    <a:pt x="1373839" y="871346"/>
                  </a:lnTo>
                  <a:lnTo>
                    <a:pt x="1376059" y="869130"/>
                  </a:lnTo>
                  <a:lnTo>
                    <a:pt x="1377328" y="868813"/>
                  </a:lnTo>
                  <a:lnTo>
                    <a:pt x="1377962" y="868497"/>
                  </a:lnTo>
                  <a:lnTo>
                    <a:pt x="1379549" y="868813"/>
                  </a:lnTo>
                  <a:lnTo>
                    <a:pt x="1381135" y="869446"/>
                  </a:lnTo>
                  <a:lnTo>
                    <a:pt x="1382721" y="871030"/>
                  </a:lnTo>
                  <a:lnTo>
                    <a:pt x="1383672" y="872929"/>
                  </a:lnTo>
                  <a:lnTo>
                    <a:pt x="1384941" y="875462"/>
                  </a:lnTo>
                  <a:lnTo>
                    <a:pt x="1385893" y="878628"/>
                  </a:lnTo>
                  <a:lnTo>
                    <a:pt x="1388113" y="885277"/>
                  </a:lnTo>
                  <a:lnTo>
                    <a:pt x="1390017" y="893825"/>
                  </a:lnTo>
                  <a:lnTo>
                    <a:pt x="1391286" y="903640"/>
                  </a:lnTo>
                  <a:lnTo>
                    <a:pt x="1391920" y="914405"/>
                  </a:lnTo>
                  <a:lnTo>
                    <a:pt x="1392237" y="926119"/>
                  </a:lnTo>
                  <a:lnTo>
                    <a:pt x="1391920" y="937834"/>
                  </a:lnTo>
                  <a:lnTo>
                    <a:pt x="1391286" y="948599"/>
                  </a:lnTo>
                  <a:lnTo>
                    <a:pt x="1390017" y="958413"/>
                  </a:lnTo>
                  <a:lnTo>
                    <a:pt x="1388113" y="966645"/>
                  </a:lnTo>
                  <a:lnTo>
                    <a:pt x="1385893" y="973611"/>
                  </a:lnTo>
                  <a:lnTo>
                    <a:pt x="1384941" y="976777"/>
                  </a:lnTo>
                  <a:lnTo>
                    <a:pt x="1383672" y="978993"/>
                  </a:lnTo>
                  <a:lnTo>
                    <a:pt x="1382721" y="980893"/>
                  </a:lnTo>
                  <a:lnTo>
                    <a:pt x="1381135" y="982476"/>
                  </a:lnTo>
                  <a:lnTo>
                    <a:pt x="1379549" y="983425"/>
                  </a:lnTo>
                  <a:lnTo>
                    <a:pt x="1377962" y="983425"/>
                  </a:lnTo>
                  <a:lnTo>
                    <a:pt x="1376694" y="983425"/>
                  </a:lnTo>
                  <a:lnTo>
                    <a:pt x="1375425" y="982476"/>
                  </a:lnTo>
                  <a:lnTo>
                    <a:pt x="1373839" y="980893"/>
                  </a:lnTo>
                  <a:lnTo>
                    <a:pt x="1372570" y="978676"/>
                  </a:lnTo>
                  <a:lnTo>
                    <a:pt x="1371301" y="976143"/>
                  </a:lnTo>
                  <a:lnTo>
                    <a:pt x="1370032" y="972977"/>
                  </a:lnTo>
                  <a:lnTo>
                    <a:pt x="1367812" y="965379"/>
                  </a:lnTo>
                  <a:lnTo>
                    <a:pt x="1366860" y="975194"/>
                  </a:lnTo>
                  <a:lnTo>
                    <a:pt x="1364957" y="985325"/>
                  </a:lnTo>
                  <a:lnTo>
                    <a:pt x="1363053" y="994823"/>
                  </a:lnTo>
                  <a:lnTo>
                    <a:pt x="1360516" y="1004005"/>
                  </a:lnTo>
                  <a:lnTo>
                    <a:pt x="1357661" y="1013187"/>
                  </a:lnTo>
                  <a:lnTo>
                    <a:pt x="1354806" y="1021735"/>
                  </a:lnTo>
                  <a:lnTo>
                    <a:pt x="1351316" y="1030283"/>
                  </a:lnTo>
                  <a:lnTo>
                    <a:pt x="1347510" y="1038515"/>
                  </a:lnTo>
                  <a:lnTo>
                    <a:pt x="1343386" y="1046430"/>
                  </a:lnTo>
                  <a:lnTo>
                    <a:pt x="1339262" y="1054346"/>
                  </a:lnTo>
                  <a:lnTo>
                    <a:pt x="1334821" y="1061628"/>
                  </a:lnTo>
                  <a:lnTo>
                    <a:pt x="1330380" y="1068593"/>
                  </a:lnTo>
                  <a:lnTo>
                    <a:pt x="1325622" y="1075242"/>
                  </a:lnTo>
                  <a:lnTo>
                    <a:pt x="1320546" y="1081891"/>
                  </a:lnTo>
                  <a:lnTo>
                    <a:pt x="1315471" y="1088223"/>
                  </a:lnTo>
                  <a:lnTo>
                    <a:pt x="1309761" y="1094238"/>
                  </a:lnTo>
                  <a:lnTo>
                    <a:pt x="1304368" y="1099304"/>
                  </a:lnTo>
                  <a:lnTo>
                    <a:pt x="1298658" y="1104686"/>
                  </a:lnTo>
                  <a:lnTo>
                    <a:pt x="1293266" y="1109435"/>
                  </a:lnTo>
                  <a:lnTo>
                    <a:pt x="1287238" y="1113868"/>
                  </a:lnTo>
                  <a:lnTo>
                    <a:pt x="1281211" y="1118617"/>
                  </a:lnTo>
                  <a:lnTo>
                    <a:pt x="1275501" y="1122100"/>
                  </a:lnTo>
                  <a:lnTo>
                    <a:pt x="1269474" y="1125899"/>
                  </a:lnTo>
                  <a:lnTo>
                    <a:pt x="1263447" y="1129065"/>
                  </a:lnTo>
                  <a:lnTo>
                    <a:pt x="1257420" y="1131915"/>
                  </a:lnTo>
                  <a:lnTo>
                    <a:pt x="1251393" y="1134131"/>
                  </a:lnTo>
                  <a:lnTo>
                    <a:pt x="1245366" y="1136347"/>
                  </a:lnTo>
                  <a:lnTo>
                    <a:pt x="1239339" y="1137930"/>
                  </a:lnTo>
                  <a:lnTo>
                    <a:pt x="1233312" y="1139513"/>
                  </a:lnTo>
                  <a:lnTo>
                    <a:pt x="1227919" y="1140463"/>
                  </a:lnTo>
                  <a:lnTo>
                    <a:pt x="1222209" y="1141096"/>
                  </a:lnTo>
                  <a:lnTo>
                    <a:pt x="1216499" y="1141413"/>
                  </a:lnTo>
                  <a:lnTo>
                    <a:pt x="1212058" y="1141096"/>
                  </a:lnTo>
                  <a:lnTo>
                    <a:pt x="1207617" y="1140146"/>
                  </a:lnTo>
                  <a:lnTo>
                    <a:pt x="1202542" y="1139513"/>
                  </a:lnTo>
                  <a:lnTo>
                    <a:pt x="1197466" y="1137930"/>
                  </a:lnTo>
                  <a:lnTo>
                    <a:pt x="1192073" y="1136031"/>
                  </a:lnTo>
                  <a:lnTo>
                    <a:pt x="1186998" y="1133814"/>
                  </a:lnTo>
                  <a:lnTo>
                    <a:pt x="1181288" y="1131281"/>
                  </a:lnTo>
                  <a:lnTo>
                    <a:pt x="1175895" y="1128749"/>
                  </a:lnTo>
                  <a:lnTo>
                    <a:pt x="1170186" y="1125266"/>
                  </a:lnTo>
                  <a:lnTo>
                    <a:pt x="1164476" y="1121467"/>
                  </a:lnTo>
                  <a:lnTo>
                    <a:pt x="1158766" y="1117667"/>
                  </a:lnTo>
                  <a:lnTo>
                    <a:pt x="1153056" y="1113235"/>
                  </a:lnTo>
                  <a:lnTo>
                    <a:pt x="1147029" y="1108802"/>
                  </a:lnTo>
                  <a:lnTo>
                    <a:pt x="1141319" y="1103736"/>
                  </a:lnTo>
                  <a:lnTo>
                    <a:pt x="1135926" y="1098671"/>
                  </a:lnTo>
                  <a:lnTo>
                    <a:pt x="1130216" y="1092972"/>
                  </a:lnTo>
                  <a:lnTo>
                    <a:pt x="1124506" y="1087273"/>
                  </a:lnTo>
                  <a:lnTo>
                    <a:pt x="1118796" y="1080941"/>
                  </a:lnTo>
                  <a:lnTo>
                    <a:pt x="1113721" y="1074925"/>
                  </a:lnTo>
                  <a:lnTo>
                    <a:pt x="1108011" y="1068276"/>
                  </a:lnTo>
                  <a:lnTo>
                    <a:pt x="1102936" y="1061628"/>
                  </a:lnTo>
                  <a:lnTo>
                    <a:pt x="1097860" y="1054346"/>
                  </a:lnTo>
                  <a:lnTo>
                    <a:pt x="1092785" y="1046747"/>
                  </a:lnTo>
                  <a:lnTo>
                    <a:pt x="1088344" y="1039465"/>
                  </a:lnTo>
                  <a:lnTo>
                    <a:pt x="1083903" y="1031550"/>
                  </a:lnTo>
                  <a:lnTo>
                    <a:pt x="1079779" y="1023635"/>
                  </a:lnTo>
                  <a:lnTo>
                    <a:pt x="1075655" y="1015403"/>
                  </a:lnTo>
                  <a:lnTo>
                    <a:pt x="1071848" y="1007171"/>
                  </a:lnTo>
                  <a:lnTo>
                    <a:pt x="1068676" y="998623"/>
                  </a:lnTo>
                  <a:lnTo>
                    <a:pt x="1065187" y="989758"/>
                  </a:lnTo>
                  <a:lnTo>
                    <a:pt x="1062649" y="980893"/>
                  </a:lnTo>
                  <a:lnTo>
                    <a:pt x="1059794" y="972028"/>
                  </a:lnTo>
                  <a:lnTo>
                    <a:pt x="1057891" y="977726"/>
                  </a:lnTo>
                  <a:lnTo>
                    <a:pt x="1055670" y="982476"/>
                  </a:lnTo>
                  <a:lnTo>
                    <a:pt x="1054719" y="984375"/>
                  </a:lnTo>
                  <a:lnTo>
                    <a:pt x="1053133" y="985325"/>
                  </a:lnTo>
                  <a:lnTo>
                    <a:pt x="1051864" y="986275"/>
                  </a:lnTo>
                  <a:lnTo>
                    <a:pt x="1050595" y="986591"/>
                  </a:lnTo>
                  <a:lnTo>
                    <a:pt x="1049326" y="986275"/>
                  </a:lnTo>
                  <a:lnTo>
                    <a:pt x="1047740" y="985325"/>
                  </a:lnTo>
                  <a:lnTo>
                    <a:pt x="1046471" y="983742"/>
                  </a:lnTo>
                  <a:lnTo>
                    <a:pt x="1045202" y="982159"/>
                  </a:lnTo>
                  <a:lnTo>
                    <a:pt x="1044250" y="979309"/>
                  </a:lnTo>
                  <a:lnTo>
                    <a:pt x="1042664" y="976460"/>
                  </a:lnTo>
                  <a:lnTo>
                    <a:pt x="1040761" y="969495"/>
                  </a:lnTo>
                  <a:lnTo>
                    <a:pt x="1038858" y="960946"/>
                  </a:lnTo>
                  <a:lnTo>
                    <a:pt x="1037589" y="951131"/>
                  </a:lnTo>
                  <a:lnTo>
                    <a:pt x="1036954" y="940367"/>
                  </a:lnTo>
                  <a:lnTo>
                    <a:pt x="1036637" y="928652"/>
                  </a:lnTo>
                  <a:lnTo>
                    <a:pt x="1036954" y="917254"/>
                  </a:lnTo>
                  <a:lnTo>
                    <a:pt x="1037589" y="906173"/>
                  </a:lnTo>
                  <a:lnTo>
                    <a:pt x="1038858" y="896358"/>
                  </a:lnTo>
                  <a:lnTo>
                    <a:pt x="1040761" y="888126"/>
                  </a:lnTo>
                  <a:lnTo>
                    <a:pt x="1042664" y="881161"/>
                  </a:lnTo>
                  <a:lnTo>
                    <a:pt x="1044250" y="877995"/>
                  </a:lnTo>
                  <a:lnTo>
                    <a:pt x="1045202" y="875779"/>
                  </a:lnTo>
                  <a:lnTo>
                    <a:pt x="1046471" y="873879"/>
                  </a:lnTo>
                  <a:lnTo>
                    <a:pt x="1047740" y="872613"/>
                  </a:lnTo>
                  <a:lnTo>
                    <a:pt x="1049326" y="871346"/>
                  </a:lnTo>
                  <a:lnTo>
                    <a:pt x="1050595" y="871346"/>
                  </a:lnTo>
                  <a:lnTo>
                    <a:pt x="1051546" y="871346"/>
                  </a:lnTo>
                  <a:lnTo>
                    <a:pt x="1052498" y="871663"/>
                  </a:lnTo>
                  <a:lnTo>
                    <a:pt x="1052815" y="864381"/>
                  </a:lnTo>
                  <a:lnTo>
                    <a:pt x="1053133" y="856782"/>
                  </a:lnTo>
                  <a:lnTo>
                    <a:pt x="1053767" y="850133"/>
                  </a:lnTo>
                  <a:lnTo>
                    <a:pt x="1055036" y="843801"/>
                  </a:lnTo>
                  <a:lnTo>
                    <a:pt x="1054719" y="835886"/>
                  </a:lnTo>
                  <a:lnTo>
                    <a:pt x="1054401" y="827971"/>
                  </a:lnTo>
                  <a:lnTo>
                    <a:pt x="1054401" y="820689"/>
                  </a:lnTo>
                  <a:lnTo>
                    <a:pt x="1054401" y="814040"/>
                  </a:lnTo>
                  <a:lnTo>
                    <a:pt x="1055036" y="807708"/>
                  </a:lnTo>
                  <a:lnTo>
                    <a:pt x="1055670" y="801692"/>
                  </a:lnTo>
                  <a:lnTo>
                    <a:pt x="1057256" y="796310"/>
                  </a:lnTo>
                  <a:lnTo>
                    <a:pt x="1058842" y="791244"/>
                  </a:lnTo>
                  <a:lnTo>
                    <a:pt x="1060746" y="786179"/>
                  </a:lnTo>
                  <a:lnTo>
                    <a:pt x="1062649" y="781746"/>
                  </a:lnTo>
                  <a:lnTo>
                    <a:pt x="1064870" y="777630"/>
                  </a:lnTo>
                  <a:lnTo>
                    <a:pt x="1067407" y="773831"/>
                  </a:lnTo>
                  <a:lnTo>
                    <a:pt x="1070262" y="770665"/>
                  </a:lnTo>
                  <a:lnTo>
                    <a:pt x="1073434" y="767499"/>
                  </a:lnTo>
                  <a:lnTo>
                    <a:pt x="1076924" y="764649"/>
                  </a:lnTo>
                  <a:lnTo>
                    <a:pt x="1080096" y="762433"/>
                  </a:lnTo>
                  <a:lnTo>
                    <a:pt x="1064235" y="762433"/>
                  </a:lnTo>
                  <a:lnTo>
                    <a:pt x="1052498" y="762750"/>
                  </a:lnTo>
                  <a:lnTo>
                    <a:pt x="1041713" y="763383"/>
                  </a:lnTo>
                  <a:lnTo>
                    <a:pt x="1049009" y="759583"/>
                  </a:lnTo>
                  <a:lnTo>
                    <a:pt x="1056622" y="754834"/>
                  </a:lnTo>
                  <a:lnTo>
                    <a:pt x="1063918" y="749452"/>
                  </a:lnTo>
                  <a:lnTo>
                    <a:pt x="1071531" y="743753"/>
                  </a:lnTo>
                  <a:lnTo>
                    <a:pt x="1085806" y="733305"/>
                  </a:lnTo>
                  <a:lnTo>
                    <a:pt x="1092150" y="728872"/>
                  </a:lnTo>
                  <a:lnTo>
                    <a:pt x="1098495" y="725073"/>
                  </a:lnTo>
                  <a:lnTo>
                    <a:pt x="1106742" y="720957"/>
                  </a:lnTo>
                  <a:lnTo>
                    <a:pt x="1114990" y="717158"/>
                  </a:lnTo>
                  <a:lnTo>
                    <a:pt x="1122920" y="713675"/>
                  </a:lnTo>
                  <a:lnTo>
                    <a:pt x="1130851" y="710193"/>
                  </a:lnTo>
                  <a:lnTo>
                    <a:pt x="1138781" y="707660"/>
                  </a:lnTo>
                  <a:lnTo>
                    <a:pt x="1146711" y="704494"/>
                  </a:lnTo>
                  <a:lnTo>
                    <a:pt x="1161938" y="700061"/>
                  </a:lnTo>
                  <a:lnTo>
                    <a:pt x="1176847" y="696262"/>
                  </a:lnTo>
                  <a:lnTo>
                    <a:pt x="1191439" y="693729"/>
                  </a:lnTo>
                  <a:lnTo>
                    <a:pt x="1205397" y="692146"/>
                  </a:lnTo>
                  <a:lnTo>
                    <a:pt x="1218720" y="691196"/>
                  </a:lnTo>
                  <a:lnTo>
                    <a:pt x="1231408" y="690563"/>
                  </a:lnTo>
                  <a:close/>
                  <a:moveTo>
                    <a:pt x="1798422" y="585942"/>
                  </a:moveTo>
                  <a:lnTo>
                    <a:pt x="1795888" y="586577"/>
                  </a:lnTo>
                  <a:lnTo>
                    <a:pt x="1792720" y="586577"/>
                  </a:lnTo>
                  <a:lnTo>
                    <a:pt x="1789236" y="586577"/>
                  </a:lnTo>
                  <a:lnTo>
                    <a:pt x="1771814" y="728756"/>
                  </a:lnTo>
                  <a:lnTo>
                    <a:pt x="1786068" y="727804"/>
                  </a:lnTo>
                  <a:lnTo>
                    <a:pt x="1800322" y="727487"/>
                  </a:lnTo>
                  <a:lnTo>
                    <a:pt x="1808558" y="727804"/>
                  </a:lnTo>
                  <a:lnTo>
                    <a:pt x="1816477" y="728121"/>
                  </a:lnTo>
                  <a:lnTo>
                    <a:pt x="1798422" y="585942"/>
                  </a:lnTo>
                  <a:close/>
                  <a:moveTo>
                    <a:pt x="2691328" y="534988"/>
                  </a:moveTo>
                  <a:lnTo>
                    <a:pt x="2700209" y="535623"/>
                  </a:lnTo>
                  <a:lnTo>
                    <a:pt x="2709091" y="535940"/>
                  </a:lnTo>
                  <a:lnTo>
                    <a:pt x="2718289" y="536893"/>
                  </a:lnTo>
                  <a:lnTo>
                    <a:pt x="2727170" y="538480"/>
                  </a:lnTo>
                  <a:lnTo>
                    <a:pt x="2736368" y="540385"/>
                  </a:lnTo>
                  <a:lnTo>
                    <a:pt x="2745249" y="542608"/>
                  </a:lnTo>
                  <a:lnTo>
                    <a:pt x="2753813" y="544830"/>
                  </a:lnTo>
                  <a:lnTo>
                    <a:pt x="2763011" y="548005"/>
                  </a:lnTo>
                  <a:lnTo>
                    <a:pt x="2771575" y="550863"/>
                  </a:lnTo>
                  <a:lnTo>
                    <a:pt x="2780139" y="554355"/>
                  </a:lnTo>
                  <a:lnTo>
                    <a:pt x="2789020" y="558165"/>
                  </a:lnTo>
                  <a:lnTo>
                    <a:pt x="2797267" y="561658"/>
                  </a:lnTo>
                  <a:lnTo>
                    <a:pt x="2812809" y="569595"/>
                  </a:lnTo>
                  <a:lnTo>
                    <a:pt x="2827716" y="577850"/>
                  </a:lnTo>
                  <a:lnTo>
                    <a:pt x="2841355" y="586105"/>
                  </a:lnTo>
                  <a:lnTo>
                    <a:pt x="2853408" y="594678"/>
                  </a:lnTo>
                  <a:lnTo>
                    <a:pt x="2864509" y="602933"/>
                  </a:lnTo>
                  <a:lnTo>
                    <a:pt x="2873073" y="609918"/>
                  </a:lnTo>
                  <a:lnTo>
                    <a:pt x="2879734" y="616585"/>
                  </a:lnTo>
                  <a:lnTo>
                    <a:pt x="2882271" y="619760"/>
                  </a:lnTo>
                  <a:lnTo>
                    <a:pt x="2884809" y="622300"/>
                  </a:lnTo>
                  <a:lnTo>
                    <a:pt x="2886077" y="624523"/>
                  </a:lnTo>
                  <a:lnTo>
                    <a:pt x="2887029" y="626428"/>
                  </a:lnTo>
                  <a:lnTo>
                    <a:pt x="2887346" y="630238"/>
                  </a:lnTo>
                  <a:lnTo>
                    <a:pt x="2887663" y="635635"/>
                  </a:lnTo>
                  <a:lnTo>
                    <a:pt x="2887663" y="650875"/>
                  </a:lnTo>
                  <a:lnTo>
                    <a:pt x="2887029" y="671513"/>
                  </a:lnTo>
                  <a:lnTo>
                    <a:pt x="2885443" y="697230"/>
                  </a:lnTo>
                  <a:lnTo>
                    <a:pt x="2883540" y="726123"/>
                  </a:lnTo>
                  <a:lnTo>
                    <a:pt x="2881320" y="758190"/>
                  </a:lnTo>
                  <a:lnTo>
                    <a:pt x="2875610" y="827723"/>
                  </a:lnTo>
                  <a:lnTo>
                    <a:pt x="2868950" y="899161"/>
                  </a:lnTo>
                  <a:lnTo>
                    <a:pt x="2861654" y="965518"/>
                  </a:lnTo>
                  <a:lnTo>
                    <a:pt x="2858483" y="995363"/>
                  </a:lnTo>
                  <a:lnTo>
                    <a:pt x="2854994" y="1021398"/>
                  </a:lnTo>
                  <a:lnTo>
                    <a:pt x="2852139" y="1042671"/>
                  </a:lnTo>
                  <a:lnTo>
                    <a:pt x="2848967" y="1059181"/>
                  </a:lnTo>
                  <a:lnTo>
                    <a:pt x="2838817" y="1062991"/>
                  </a:lnTo>
                  <a:lnTo>
                    <a:pt x="2828985" y="1066483"/>
                  </a:lnTo>
                  <a:lnTo>
                    <a:pt x="2820104" y="1069023"/>
                  </a:lnTo>
                  <a:lnTo>
                    <a:pt x="2810905" y="1070928"/>
                  </a:lnTo>
                  <a:lnTo>
                    <a:pt x="2803293" y="1072198"/>
                  </a:lnTo>
                  <a:lnTo>
                    <a:pt x="2795998" y="1072516"/>
                  </a:lnTo>
                  <a:lnTo>
                    <a:pt x="2792509" y="1072198"/>
                  </a:lnTo>
                  <a:lnTo>
                    <a:pt x="2789654" y="1071563"/>
                  </a:lnTo>
                  <a:lnTo>
                    <a:pt x="2786483" y="1070928"/>
                  </a:lnTo>
                  <a:lnTo>
                    <a:pt x="2784262" y="1070293"/>
                  </a:lnTo>
                  <a:lnTo>
                    <a:pt x="2785214" y="1057911"/>
                  </a:lnTo>
                  <a:lnTo>
                    <a:pt x="2786165" y="1039813"/>
                  </a:lnTo>
                  <a:lnTo>
                    <a:pt x="2787751" y="990918"/>
                  </a:lnTo>
                  <a:lnTo>
                    <a:pt x="2789337" y="930276"/>
                  </a:lnTo>
                  <a:lnTo>
                    <a:pt x="2790289" y="865188"/>
                  </a:lnTo>
                  <a:lnTo>
                    <a:pt x="2790606" y="803593"/>
                  </a:lnTo>
                  <a:lnTo>
                    <a:pt x="2790606" y="775653"/>
                  </a:lnTo>
                  <a:lnTo>
                    <a:pt x="2790289" y="751840"/>
                  </a:lnTo>
                  <a:lnTo>
                    <a:pt x="2789654" y="731838"/>
                  </a:lnTo>
                  <a:lnTo>
                    <a:pt x="2788386" y="717233"/>
                  </a:lnTo>
                  <a:lnTo>
                    <a:pt x="2788068" y="711835"/>
                  </a:lnTo>
                  <a:lnTo>
                    <a:pt x="2787434" y="708343"/>
                  </a:lnTo>
                  <a:lnTo>
                    <a:pt x="2786483" y="707073"/>
                  </a:lnTo>
                  <a:lnTo>
                    <a:pt x="2785848" y="706438"/>
                  </a:lnTo>
                  <a:lnTo>
                    <a:pt x="2785531" y="707073"/>
                  </a:lnTo>
                  <a:lnTo>
                    <a:pt x="2780773" y="713740"/>
                  </a:lnTo>
                  <a:lnTo>
                    <a:pt x="2775381" y="720725"/>
                  </a:lnTo>
                  <a:lnTo>
                    <a:pt x="2774113" y="722630"/>
                  </a:lnTo>
                  <a:lnTo>
                    <a:pt x="2757936" y="960756"/>
                  </a:lnTo>
                  <a:lnTo>
                    <a:pt x="2753813" y="1010921"/>
                  </a:lnTo>
                  <a:lnTo>
                    <a:pt x="2750324" y="1049338"/>
                  </a:lnTo>
                  <a:lnTo>
                    <a:pt x="2746835" y="1083946"/>
                  </a:lnTo>
                  <a:lnTo>
                    <a:pt x="2746518" y="1087438"/>
                  </a:lnTo>
                  <a:lnTo>
                    <a:pt x="2744932" y="1092836"/>
                  </a:lnTo>
                  <a:lnTo>
                    <a:pt x="2742712" y="1097916"/>
                  </a:lnTo>
                  <a:lnTo>
                    <a:pt x="2740491" y="1103631"/>
                  </a:lnTo>
                  <a:lnTo>
                    <a:pt x="2737637" y="1109028"/>
                  </a:lnTo>
                  <a:lnTo>
                    <a:pt x="2732245" y="1119506"/>
                  </a:lnTo>
                  <a:lnTo>
                    <a:pt x="2725267" y="1129666"/>
                  </a:lnTo>
                  <a:lnTo>
                    <a:pt x="2699258" y="1479233"/>
                  </a:lnTo>
                  <a:lnTo>
                    <a:pt x="2716386" y="1483361"/>
                  </a:lnTo>
                  <a:lnTo>
                    <a:pt x="2732879" y="1487488"/>
                  </a:lnTo>
                  <a:lnTo>
                    <a:pt x="2870853" y="1410971"/>
                  </a:lnTo>
                  <a:lnTo>
                    <a:pt x="2876879" y="1421766"/>
                  </a:lnTo>
                  <a:lnTo>
                    <a:pt x="2749055" y="1492886"/>
                  </a:lnTo>
                  <a:lnTo>
                    <a:pt x="2761743" y="1497013"/>
                  </a:lnTo>
                  <a:lnTo>
                    <a:pt x="2773795" y="1501776"/>
                  </a:lnTo>
                  <a:lnTo>
                    <a:pt x="2785214" y="1507173"/>
                  </a:lnTo>
                  <a:lnTo>
                    <a:pt x="2795998" y="1512253"/>
                  </a:lnTo>
                  <a:lnTo>
                    <a:pt x="2805831" y="1517968"/>
                  </a:lnTo>
                  <a:lnTo>
                    <a:pt x="2815029" y="1524001"/>
                  </a:lnTo>
                  <a:lnTo>
                    <a:pt x="2823910" y="1530033"/>
                  </a:lnTo>
                  <a:lnTo>
                    <a:pt x="2831839" y="1536383"/>
                  </a:lnTo>
                  <a:lnTo>
                    <a:pt x="2838500" y="1543051"/>
                  </a:lnTo>
                  <a:lnTo>
                    <a:pt x="2844844" y="1550036"/>
                  </a:lnTo>
                  <a:lnTo>
                    <a:pt x="2850236" y="1557021"/>
                  </a:lnTo>
                  <a:lnTo>
                    <a:pt x="2854359" y="1564323"/>
                  </a:lnTo>
                  <a:lnTo>
                    <a:pt x="2856262" y="1568133"/>
                  </a:lnTo>
                  <a:lnTo>
                    <a:pt x="2857848" y="1571626"/>
                  </a:lnTo>
                  <a:lnTo>
                    <a:pt x="2859117" y="1575436"/>
                  </a:lnTo>
                  <a:lnTo>
                    <a:pt x="2860386" y="1579246"/>
                  </a:lnTo>
                  <a:lnTo>
                    <a:pt x="2861337" y="1583056"/>
                  </a:lnTo>
                  <a:lnTo>
                    <a:pt x="2861654" y="1586866"/>
                  </a:lnTo>
                  <a:lnTo>
                    <a:pt x="2861972" y="1590993"/>
                  </a:lnTo>
                  <a:lnTo>
                    <a:pt x="2862606" y="1594803"/>
                  </a:lnTo>
                  <a:lnTo>
                    <a:pt x="2861972" y="1598931"/>
                  </a:lnTo>
                  <a:lnTo>
                    <a:pt x="2861654" y="1603058"/>
                  </a:lnTo>
                  <a:lnTo>
                    <a:pt x="2861020" y="1607186"/>
                  </a:lnTo>
                  <a:lnTo>
                    <a:pt x="2860386" y="1611313"/>
                  </a:lnTo>
                  <a:lnTo>
                    <a:pt x="2858800" y="1615123"/>
                  </a:lnTo>
                  <a:lnTo>
                    <a:pt x="2857214" y="1619251"/>
                  </a:lnTo>
                  <a:lnTo>
                    <a:pt x="2855628" y="1622743"/>
                  </a:lnTo>
                  <a:lnTo>
                    <a:pt x="2853408" y="1626553"/>
                  </a:lnTo>
                  <a:lnTo>
                    <a:pt x="2851187" y="1630681"/>
                  </a:lnTo>
                  <a:lnTo>
                    <a:pt x="2848967" y="1634491"/>
                  </a:lnTo>
                  <a:lnTo>
                    <a:pt x="2842941" y="1641793"/>
                  </a:lnTo>
                  <a:lnTo>
                    <a:pt x="2836597" y="1648778"/>
                  </a:lnTo>
                  <a:lnTo>
                    <a:pt x="2828668" y="1655763"/>
                  </a:lnTo>
                  <a:lnTo>
                    <a:pt x="2820421" y="1662431"/>
                  </a:lnTo>
                  <a:lnTo>
                    <a:pt x="2810905" y="1668781"/>
                  </a:lnTo>
                  <a:lnTo>
                    <a:pt x="2800756" y="1674813"/>
                  </a:lnTo>
                  <a:lnTo>
                    <a:pt x="2789972" y="1680528"/>
                  </a:lnTo>
                  <a:lnTo>
                    <a:pt x="2778236" y="1685926"/>
                  </a:lnTo>
                  <a:lnTo>
                    <a:pt x="2765866" y="1691006"/>
                  </a:lnTo>
                  <a:lnTo>
                    <a:pt x="2752861" y="1695768"/>
                  </a:lnTo>
                  <a:lnTo>
                    <a:pt x="2739223" y="1700213"/>
                  </a:lnTo>
                  <a:lnTo>
                    <a:pt x="2869267" y="1786891"/>
                  </a:lnTo>
                  <a:lnTo>
                    <a:pt x="2862606" y="1797051"/>
                  </a:lnTo>
                  <a:lnTo>
                    <a:pt x="2723998" y="1704341"/>
                  </a:lnTo>
                  <a:lnTo>
                    <a:pt x="2707822" y="1708151"/>
                  </a:lnTo>
                  <a:lnTo>
                    <a:pt x="2690694" y="1711961"/>
                  </a:lnTo>
                  <a:lnTo>
                    <a:pt x="2673566" y="1715136"/>
                  </a:lnTo>
                  <a:lnTo>
                    <a:pt x="2655487" y="1717358"/>
                  </a:lnTo>
                  <a:lnTo>
                    <a:pt x="2637091" y="1719581"/>
                  </a:lnTo>
                  <a:lnTo>
                    <a:pt x="2618060" y="1720533"/>
                  </a:lnTo>
                  <a:lnTo>
                    <a:pt x="2598712" y="1721803"/>
                  </a:lnTo>
                  <a:lnTo>
                    <a:pt x="2579046" y="1721803"/>
                  </a:lnTo>
                  <a:lnTo>
                    <a:pt x="2563822" y="1721803"/>
                  </a:lnTo>
                  <a:lnTo>
                    <a:pt x="2549549" y="1721486"/>
                  </a:lnTo>
                  <a:lnTo>
                    <a:pt x="2534958" y="1720533"/>
                  </a:lnTo>
                  <a:lnTo>
                    <a:pt x="2521002" y="1719581"/>
                  </a:lnTo>
                  <a:lnTo>
                    <a:pt x="2507046" y="1717993"/>
                  </a:lnTo>
                  <a:lnTo>
                    <a:pt x="2493725" y="1716088"/>
                  </a:lnTo>
                  <a:lnTo>
                    <a:pt x="2480403" y="1714183"/>
                  </a:lnTo>
                  <a:lnTo>
                    <a:pt x="2467399" y="1711961"/>
                  </a:lnTo>
                  <a:lnTo>
                    <a:pt x="2455029" y="1709738"/>
                  </a:lnTo>
                  <a:lnTo>
                    <a:pt x="2442659" y="1706881"/>
                  </a:lnTo>
                  <a:lnTo>
                    <a:pt x="2430923" y="1703706"/>
                  </a:lnTo>
                  <a:lnTo>
                    <a:pt x="2419187" y="1700213"/>
                  </a:lnTo>
                  <a:lnTo>
                    <a:pt x="2408086" y="1697038"/>
                  </a:lnTo>
                  <a:lnTo>
                    <a:pt x="2397619" y="1693228"/>
                  </a:lnTo>
                  <a:lnTo>
                    <a:pt x="2387469" y="1689418"/>
                  </a:lnTo>
                  <a:lnTo>
                    <a:pt x="2377637" y="1684973"/>
                  </a:lnTo>
                  <a:lnTo>
                    <a:pt x="2368121" y="1680846"/>
                  </a:lnTo>
                  <a:lnTo>
                    <a:pt x="2359240" y="1676401"/>
                  </a:lnTo>
                  <a:lnTo>
                    <a:pt x="2350994" y="1671321"/>
                  </a:lnTo>
                  <a:lnTo>
                    <a:pt x="2343064" y="1666558"/>
                  </a:lnTo>
                  <a:lnTo>
                    <a:pt x="2335769" y="1661161"/>
                  </a:lnTo>
                  <a:lnTo>
                    <a:pt x="2329108" y="1656081"/>
                  </a:lnTo>
                  <a:lnTo>
                    <a:pt x="2322764" y="1650366"/>
                  </a:lnTo>
                  <a:lnTo>
                    <a:pt x="2317055" y="1644651"/>
                  </a:lnTo>
                  <a:lnTo>
                    <a:pt x="2312298" y="1638936"/>
                  </a:lnTo>
                  <a:lnTo>
                    <a:pt x="2307857" y="1632903"/>
                  </a:lnTo>
                  <a:lnTo>
                    <a:pt x="2304051" y="1627188"/>
                  </a:lnTo>
                  <a:lnTo>
                    <a:pt x="2300879" y="1620521"/>
                  </a:lnTo>
                  <a:lnTo>
                    <a:pt x="2298659" y="1614171"/>
                  </a:lnTo>
                  <a:lnTo>
                    <a:pt x="2296756" y="1607821"/>
                  </a:lnTo>
                  <a:lnTo>
                    <a:pt x="2295804" y="1601471"/>
                  </a:lnTo>
                  <a:lnTo>
                    <a:pt x="2295170" y="1594803"/>
                  </a:lnTo>
                  <a:lnTo>
                    <a:pt x="2295170" y="1590676"/>
                  </a:lnTo>
                  <a:lnTo>
                    <a:pt x="2296121" y="1585913"/>
                  </a:lnTo>
                  <a:lnTo>
                    <a:pt x="2296756" y="1581468"/>
                  </a:lnTo>
                  <a:lnTo>
                    <a:pt x="2298024" y="1577341"/>
                  </a:lnTo>
                  <a:lnTo>
                    <a:pt x="2299293" y="1573213"/>
                  </a:lnTo>
                  <a:lnTo>
                    <a:pt x="2300879" y="1568768"/>
                  </a:lnTo>
                  <a:lnTo>
                    <a:pt x="2302782" y="1564641"/>
                  </a:lnTo>
                  <a:lnTo>
                    <a:pt x="2305320" y="1560831"/>
                  </a:lnTo>
                  <a:lnTo>
                    <a:pt x="2307857" y="1556703"/>
                  </a:lnTo>
                  <a:lnTo>
                    <a:pt x="2310712" y="1552576"/>
                  </a:lnTo>
                  <a:lnTo>
                    <a:pt x="2313566" y="1548766"/>
                  </a:lnTo>
                  <a:lnTo>
                    <a:pt x="2317372" y="1544956"/>
                  </a:lnTo>
                  <a:lnTo>
                    <a:pt x="2320861" y="1541146"/>
                  </a:lnTo>
                  <a:lnTo>
                    <a:pt x="2324985" y="1537653"/>
                  </a:lnTo>
                  <a:lnTo>
                    <a:pt x="2333549" y="1530351"/>
                  </a:lnTo>
                  <a:lnTo>
                    <a:pt x="2343064" y="1523366"/>
                  </a:lnTo>
                  <a:lnTo>
                    <a:pt x="2353848" y="1517016"/>
                  </a:lnTo>
                  <a:lnTo>
                    <a:pt x="2365267" y="1510348"/>
                  </a:lnTo>
                  <a:lnTo>
                    <a:pt x="2377637" y="1504316"/>
                  </a:lnTo>
                  <a:lnTo>
                    <a:pt x="2390641" y="1499236"/>
                  </a:lnTo>
                  <a:lnTo>
                    <a:pt x="2404597" y="1493838"/>
                  </a:lnTo>
                  <a:lnTo>
                    <a:pt x="2419187" y="1489393"/>
                  </a:lnTo>
                  <a:lnTo>
                    <a:pt x="2434729" y="1484948"/>
                  </a:lnTo>
                  <a:lnTo>
                    <a:pt x="2421090" y="1301751"/>
                  </a:lnTo>
                  <a:lnTo>
                    <a:pt x="2390958" y="1273493"/>
                  </a:lnTo>
                  <a:lnTo>
                    <a:pt x="2399205" y="1264603"/>
                  </a:lnTo>
                  <a:lnTo>
                    <a:pt x="2419505" y="1283653"/>
                  </a:lnTo>
                  <a:lnTo>
                    <a:pt x="2407769" y="1124268"/>
                  </a:lnTo>
                  <a:lnTo>
                    <a:pt x="2401742" y="1115378"/>
                  </a:lnTo>
                  <a:lnTo>
                    <a:pt x="2396350" y="1106171"/>
                  </a:lnTo>
                  <a:lnTo>
                    <a:pt x="2391910" y="1097281"/>
                  </a:lnTo>
                  <a:lnTo>
                    <a:pt x="2390007" y="1092201"/>
                  </a:lnTo>
                  <a:lnTo>
                    <a:pt x="2388104" y="1087756"/>
                  </a:lnTo>
                  <a:lnTo>
                    <a:pt x="2387787" y="1083946"/>
                  </a:lnTo>
                  <a:lnTo>
                    <a:pt x="2382712" y="1029971"/>
                  </a:lnTo>
                  <a:lnTo>
                    <a:pt x="2377320" y="970916"/>
                  </a:lnTo>
                  <a:lnTo>
                    <a:pt x="2371293" y="897573"/>
                  </a:lnTo>
                  <a:lnTo>
                    <a:pt x="2359240" y="716280"/>
                  </a:lnTo>
                  <a:lnTo>
                    <a:pt x="2354165" y="712153"/>
                  </a:lnTo>
                  <a:lnTo>
                    <a:pt x="2349090" y="707073"/>
                  </a:lnTo>
                  <a:lnTo>
                    <a:pt x="2348773" y="707073"/>
                  </a:lnTo>
                  <a:lnTo>
                    <a:pt x="2348773" y="707390"/>
                  </a:lnTo>
                  <a:lnTo>
                    <a:pt x="2347822" y="709295"/>
                  </a:lnTo>
                  <a:lnTo>
                    <a:pt x="2347505" y="713105"/>
                  </a:lnTo>
                  <a:lnTo>
                    <a:pt x="2347187" y="718503"/>
                  </a:lnTo>
                  <a:lnTo>
                    <a:pt x="2347187" y="733743"/>
                  </a:lnTo>
                  <a:lnTo>
                    <a:pt x="2347187" y="754063"/>
                  </a:lnTo>
                  <a:lnTo>
                    <a:pt x="2348773" y="806133"/>
                  </a:lnTo>
                  <a:lnTo>
                    <a:pt x="2350994" y="868363"/>
                  </a:lnTo>
                  <a:lnTo>
                    <a:pt x="2353848" y="932498"/>
                  </a:lnTo>
                  <a:lnTo>
                    <a:pt x="2357020" y="993141"/>
                  </a:lnTo>
                  <a:lnTo>
                    <a:pt x="2359875" y="1041718"/>
                  </a:lnTo>
                  <a:lnTo>
                    <a:pt x="2362095" y="1072198"/>
                  </a:lnTo>
                  <a:lnTo>
                    <a:pt x="2348139" y="1072516"/>
                  </a:lnTo>
                  <a:lnTo>
                    <a:pt x="2339258" y="1072198"/>
                  </a:lnTo>
                  <a:lnTo>
                    <a:pt x="2329108" y="1071246"/>
                  </a:lnTo>
                  <a:lnTo>
                    <a:pt x="2323716" y="1070611"/>
                  </a:lnTo>
                  <a:lnTo>
                    <a:pt x="2318641" y="1069658"/>
                  </a:lnTo>
                  <a:lnTo>
                    <a:pt x="2312932" y="1068706"/>
                  </a:lnTo>
                  <a:lnTo>
                    <a:pt x="2307223" y="1067118"/>
                  </a:lnTo>
                  <a:lnTo>
                    <a:pt x="2302148" y="1065213"/>
                  </a:lnTo>
                  <a:lnTo>
                    <a:pt x="2296438" y="1062991"/>
                  </a:lnTo>
                  <a:lnTo>
                    <a:pt x="2290729" y="1060451"/>
                  </a:lnTo>
                  <a:lnTo>
                    <a:pt x="2285654" y="1057276"/>
                  </a:lnTo>
                  <a:lnTo>
                    <a:pt x="2282800" y="1041718"/>
                  </a:lnTo>
                  <a:lnTo>
                    <a:pt x="2280262" y="1020446"/>
                  </a:lnTo>
                  <a:lnTo>
                    <a:pt x="2277408" y="995681"/>
                  </a:lnTo>
                  <a:lnTo>
                    <a:pt x="2274553" y="967423"/>
                  </a:lnTo>
                  <a:lnTo>
                    <a:pt x="2272016" y="936626"/>
                  </a:lnTo>
                  <a:lnTo>
                    <a:pt x="2269478" y="904241"/>
                  </a:lnTo>
                  <a:lnTo>
                    <a:pt x="2264403" y="836930"/>
                  </a:lnTo>
                  <a:lnTo>
                    <a:pt x="2260597" y="771525"/>
                  </a:lnTo>
                  <a:lnTo>
                    <a:pt x="2259328" y="741680"/>
                  </a:lnTo>
                  <a:lnTo>
                    <a:pt x="2258060" y="714058"/>
                  </a:lnTo>
                  <a:lnTo>
                    <a:pt x="2257425" y="689928"/>
                  </a:lnTo>
                  <a:lnTo>
                    <a:pt x="2257425" y="670560"/>
                  </a:lnTo>
                  <a:lnTo>
                    <a:pt x="2257425" y="655955"/>
                  </a:lnTo>
                  <a:lnTo>
                    <a:pt x="2257742" y="650875"/>
                  </a:lnTo>
                  <a:lnTo>
                    <a:pt x="2258377" y="647065"/>
                  </a:lnTo>
                  <a:lnTo>
                    <a:pt x="2259011" y="641033"/>
                  </a:lnTo>
                  <a:lnTo>
                    <a:pt x="2260280" y="635635"/>
                  </a:lnTo>
                  <a:lnTo>
                    <a:pt x="2262183" y="629920"/>
                  </a:lnTo>
                  <a:lnTo>
                    <a:pt x="2264403" y="624205"/>
                  </a:lnTo>
                  <a:lnTo>
                    <a:pt x="2267575" y="619125"/>
                  </a:lnTo>
                  <a:lnTo>
                    <a:pt x="2271381" y="614045"/>
                  </a:lnTo>
                  <a:lnTo>
                    <a:pt x="2275505" y="609283"/>
                  </a:lnTo>
                  <a:lnTo>
                    <a:pt x="2279945" y="604203"/>
                  </a:lnTo>
                  <a:lnTo>
                    <a:pt x="2284703" y="599758"/>
                  </a:lnTo>
                  <a:lnTo>
                    <a:pt x="2290412" y="595313"/>
                  </a:lnTo>
                  <a:lnTo>
                    <a:pt x="2296121" y="591185"/>
                  </a:lnTo>
                  <a:lnTo>
                    <a:pt x="2302465" y="587058"/>
                  </a:lnTo>
                  <a:lnTo>
                    <a:pt x="2309126" y="583248"/>
                  </a:lnTo>
                  <a:lnTo>
                    <a:pt x="2316104" y="579438"/>
                  </a:lnTo>
                  <a:lnTo>
                    <a:pt x="2323399" y="575628"/>
                  </a:lnTo>
                  <a:lnTo>
                    <a:pt x="2331011" y="572453"/>
                  </a:lnTo>
                  <a:lnTo>
                    <a:pt x="2338941" y="568960"/>
                  </a:lnTo>
                  <a:lnTo>
                    <a:pt x="2347187" y="566103"/>
                  </a:lnTo>
                  <a:lnTo>
                    <a:pt x="2363681" y="560070"/>
                  </a:lnTo>
                  <a:lnTo>
                    <a:pt x="2381443" y="554673"/>
                  </a:lnTo>
                  <a:lnTo>
                    <a:pt x="2399205" y="550228"/>
                  </a:lnTo>
                  <a:lnTo>
                    <a:pt x="2417284" y="546100"/>
                  </a:lnTo>
                  <a:lnTo>
                    <a:pt x="2435681" y="542290"/>
                  </a:lnTo>
                  <a:lnTo>
                    <a:pt x="2453760" y="539115"/>
                  </a:lnTo>
                  <a:lnTo>
                    <a:pt x="2471522" y="536575"/>
                  </a:lnTo>
                  <a:lnTo>
                    <a:pt x="2475646" y="536258"/>
                  </a:lnTo>
                  <a:lnTo>
                    <a:pt x="2479769" y="536258"/>
                  </a:lnTo>
                  <a:lnTo>
                    <a:pt x="2537813" y="750888"/>
                  </a:lnTo>
                  <a:lnTo>
                    <a:pt x="2539082" y="742315"/>
                  </a:lnTo>
                  <a:lnTo>
                    <a:pt x="2559064" y="595313"/>
                  </a:lnTo>
                  <a:lnTo>
                    <a:pt x="2553355" y="580708"/>
                  </a:lnTo>
                  <a:lnTo>
                    <a:pt x="2564773" y="561340"/>
                  </a:lnTo>
                  <a:lnTo>
                    <a:pt x="2590148" y="561340"/>
                  </a:lnTo>
                  <a:lnTo>
                    <a:pt x="2600615" y="580708"/>
                  </a:lnTo>
                  <a:lnTo>
                    <a:pt x="2595857" y="597853"/>
                  </a:lnTo>
                  <a:lnTo>
                    <a:pt x="2613619" y="753110"/>
                  </a:lnTo>
                  <a:lnTo>
                    <a:pt x="2661196" y="542925"/>
                  </a:lnTo>
                  <a:lnTo>
                    <a:pt x="2666271" y="540703"/>
                  </a:lnTo>
                  <a:lnTo>
                    <a:pt x="2670712" y="538480"/>
                  </a:lnTo>
                  <a:lnTo>
                    <a:pt x="2673249" y="536893"/>
                  </a:lnTo>
                  <a:lnTo>
                    <a:pt x="2673566" y="536575"/>
                  </a:lnTo>
                  <a:lnTo>
                    <a:pt x="2682130" y="535623"/>
                  </a:lnTo>
                  <a:lnTo>
                    <a:pt x="2691328" y="534988"/>
                  </a:lnTo>
                  <a:close/>
                  <a:moveTo>
                    <a:pt x="1954213" y="512763"/>
                  </a:moveTo>
                  <a:lnTo>
                    <a:pt x="1953574" y="518429"/>
                  </a:lnTo>
                  <a:lnTo>
                    <a:pt x="1952294" y="524094"/>
                  </a:lnTo>
                  <a:lnTo>
                    <a:pt x="1951015" y="530705"/>
                  </a:lnTo>
                  <a:lnTo>
                    <a:pt x="1948775" y="537629"/>
                  </a:lnTo>
                  <a:lnTo>
                    <a:pt x="1947176" y="540462"/>
                  </a:lnTo>
                  <a:lnTo>
                    <a:pt x="1945577" y="542981"/>
                  </a:lnTo>
                  <a:lnTo>
                    <a:pt x="1943657" y="545813"/>
                  </a:lnTo>
                  <a:lnTo>
                    <a:pt x="1941418" y="547387"/>
                  </a:lnTo>
                  <a:lnTo>
                    <a:pt x="1939179" y="548961"/>
                  </a:lnTo>
                  <a:lnTo>
                    <a:pt x="1936620" y="549276"/>
                  </a:lnTo>
                  <a:lnTo>
                    <a:pt x="1933421" y="549276"/>
                  </a:lnTo>
                  <a:lnTo>
                    <a:pt x="1930863" y="548961"/>
                  </a:lnTo>
                  <a:lnTo>
                    <a:pt x="1928943" y="548332"/>
                  </a:lnTo>
                  <a:lnTo>
                    <a:pt x="1927024" y="547073"/>
                  </a:lnTo>
                  <a:lnTo>
                    <a:pt x="1925745" y="545184"/>
                  </a:lnTo>
                  <a:lnTo>
                    <a:pt x="1925105" y="543295"/>
                  </a:lnTo>
                  <a:lnTo>
                    <a:pt x="1924785" y="541092"/>
                  </a:lnTo>
                  <a:lnTo>
                    <a:pt x="1924785" y="538574"/>
                  </a:lnTo>
                  <a:lnTo>
                    <a:pt x="1924465" y="536056"/>
                  </a:lnTo>
                  <a:lnTo>
                    <a:pt x="1924145" y="534482"/>
                  </a:lnTo>
                  <a:lnTo>
                    <a:pt x="1923186" y="533223"/>
                  </a:lnTo>
                  <a:lnTo>
                    <a:pt x="1922546" y="532908"/>
                  </a:lnTo>
                  <a:lnTo>
                    <a:pt x="1921266" y="532908"/>
                  </a:lnTo>
                  <a:lnTo>
                    <a:pt x="1920627" y="533852"/>
                  </a:lnTo>
                  <a:lnTo>
                    <a:pt x="1920307" y="534797"/>
                  </a:lnTo>
                  <a:lnTo>
                    <a:pt x="1920307" y="536685"/>
                  </a:lnTo>
                  <a:lnTo>
                    <a:pt x="1919987" y="538889"/>
                  </a:lnTo>
                  <a:lnTo>
                    <a:pt x="1918707" y="541721"/>
                  </a:lnTo>
                  <a:lnTo>
                    <a:pt x="1917108" y="544240"/>
                  </a:lnTo>
                  <a:lnTo>
                    <a:pt x="1915189" y="546443"/>
                  </a:lnTo>
                  <a:lnTo>
                    <a:pt x="1913909" y="548017"/>
                  </a:lnTo>
                  <a:lnTo>
                    <a:pt x="1912950" y="548332"/>
                  </a:lnTo>
                  <a:lnTo>
                    <a:pt x="1912310" y="548332"/>
                  </a:lnTo>
                  <a:lnTo>
                    <a:pt x="1911990" y="548332"/>
                  </a:lnTo>
                  <a:lnTo>
                    <a:pt x="1911350" y="547387"/>
                  </a:lnTo>
                  <a:lnTo>
                    <a:pt x="1911350" y="546443"/>
                  </a:lnTo>
                  <a:lnTo>
                    <a:pt x="1911350" y="544554"/>
                  </a:lnTo>
                  <a:lnTo>
                    <a:pt x="1912630" y="536370"/>
                  </a:lnTo>
                  <a:lnTo>
                    <a:pt x="1913269" y="532278"/>
                  </a:lnTo>
                  <a:lnTo>
                    <a:pt x="1914229" y="528186"/>
                  </a:lnTo>
                  <a:lnTo>
                    <a:pt x="1915189" y="524409"/>
                  </a:lnTo>
                  <a:lnTo>
                    <a:pt x="1916788" y="521891"/>
                  </a:lnTo>
                  <a:lnTo>
                    <a:pt x="1917428" y="520632"/>
                  </a:lnTo>
                  <a:lnTo>
                    <a:pt x="1918387" y="520003"/>
                  </a:lnTo>
                  <a:lnTo>
                    <a:pt x="1919347" y="519058"/>
                  </a:lnTo>
                  <a:lnTo>
                    <a:pt x="1920627" y="518743"/>
                  </a:lnTo>
                  <a:lnTo>
                    <a:pt x="1954213" y="512763"/>
                  </a:lnTo>
                  <a:close/>
                  <a:moveTo>
                    <a:pt x="1636712" y="512763"/>
                  </a:moveTo>
                  <a:lnTo>
                    <a:pt x="1670299" y="519003"/>
                  </a:lnTo>
                  <a:lnTo>
                    <a:pt x="1671578" y="519332"/>
                  </a:lnTo>
                  <a:lnTo>
                    <a:pt x="1672218" y="519660"/>
                  </a:lnTo>
                  <a:lnTo>
                    <a:pt x="1673498" y="520974"/>
                  </a:lnTo>
                  <a:lnTo>
                    <a:pt x="1674137" y="521959"/>
                  </a:lnTo>
                  <a:lnTo>
                    <a:pt x="1675737" y="524587"/>
                  </a:lnTo>
                  <a:lnTo>
                    <a:pt x="1676696" y="528528"/>
                  </a:lnTo>
                  <a:lnTo>
                    <a:pt x="1677656" y="532470"/>
                  </a:lnTo>
                  <a:lnTo>
                    <a:pt x="1678296" y="537068"/>
                  </a:lnTo>
                  <a:lnTo>
                    <a:pt x="1679575" y="545608"/>
                  </a:lnTo>
                  <a:lnTo>
                    <a:pt x="1679575" y="547578"/>
                  </a:lnTo>
                  <a:lnTo>
                    <a:pt x="1679575" y="548892"/>
                  </a:lnTo>
                  <a:lnTo>
                    <a:pt x="1679255" y="549549"/>
                  </a:lnTo>
                  <a:lnTo>
                    <a:pt x="1678616" y="549549"/>
                  </a:lnTo>
                  <a:lnTo>
                    <a:pt x="1677976" y="549549"/>
                  </a:lnTo>
                  <a:lnTo>
                    <a:pt x="1677336" y="549221"/>
                  </a:lnTo>
                  <a:lnTo>
                    <a:pt x="1675737" y="547578"/>
                  </a:lnTo>
                  <a:lnTo>
                    <a:pt x="1673818" y="545279"/>
                  </a:lnTo>
                  <a:lnTo>
                    <a:pt x="1672218" y="542323"/>
                  </a:lnTo>
                  <a:lnTo>
                    <a:pt x="1671259" y="539367"/>
                  </a:lnTo>
                  <a:lnTo>
                    <a:pt x="1670939" y="537725"/>
                  </a:lnTo>
                  <a:lnTo>
                    <a:pt x="1670939" y="535754"/>
                  </a:lnTo>
                  <a:lnTo>
                    <a:pt x="1670299" y="534440"/>
                  </a:lnTo>
                  <a:lnTo>
                    <a:pt x="1669659" y="533784"/>
                  </a:lnTo>
                  <a:lnTo>
                    <a:pt x="1668380" y="533784"/>
                  </a:lnTo>
                  <a:lnTo>
                    <a:pt x="1667740" y="534112"/>
                  </a:lnTo>
                  <a:lnTo>
                    <a:pt x="1667100" y="535097"/>
                  </a:lnTo>
                  <a:lnTo>
                    <a:pt x="1666780" y="536740"/>
                  </a:lnTo>
                  <a:lnTo>
                    <a:pt x="1666141" y="539367"/>
                  </a:lnTo>
                  <a:lnTo>
                    <a:pt x="1666141" y="542323"/>
                  </a:lnTo>
                  <a:lnTo>
                    <a:pt x="1665821" y="544622"/>
                  </a:lnTo>
                  <a:lnTo>
                    <a:pt x="1665181" y="546593"/>
                  </a:lnTo>
                  <a:lnTo>
                    <a:pt x="1663901" y="548564"/>
                  </a:lnTo>
                  <a:lnTo>
                    <a:pt x="1661982" y="549549"/>
                  </a:lnTo>
                  <a:lnTo>
                    <a:pt x="1660063" y="550534"/>
                  </a:lnTo>
                  <a:lnTo>
                    <a:pt x="1657504" y="550863"/>
                  </a:lnTo>
                  <a:lnTo>
                    <a:pt x="1654625" y="550863"/>
                  </a:lnTo>
                  <a:lnTo>
                    <a:pt x="1651746" y="549878"/>
                  </a:lnTo>
                  <a:lnTo>
                    <a:pt x="1649507" y="548892"/>
                  </a:lnTo>
                  <a:lnTo>
                    <a:pt x="1647268" y="546921"/>
                  </a:lnTo>
                  <a:lnTo>
                    <a:pt x="1645349" y="544294"/>
                  </a:lnTo>
                  <a:lnTo>
                    <a:pt x="1643749" y="541338"/>
                  </a:lnTo>
                  <a:lnTo>
                    <a:pt x="1642470" y="538053"/>
                  </a:lnTo>
                  <a:lnTo>
                    <a:pt x="1640231" y="531484"/>
                  </a:lnTo>
                  <a:lnTo>
                    <a:pt x="1638631" y="524259"/>
                  </a:lnTo>
                  <a:lnTo>
                    <a:pt x="1637352" y="518018"/>
                  </a:lnTo>
                  <a:lnTo>
                    <a:pt x="1636712" y="512763"/>
                  </a:lnTo>
                  <a:close/>
                  <a:moveTo>
                    <a:pt x="358458" y="427038"/>
                  </a:moveTo>
                  <a:lnTo>
                    <a:pt x="365125" y="427038"/>
                  </a:lnTo>
                  <a:lnTo>
                    <a:pt x="371475" y="427356"/>
                  </a:lnTo>
                  <a:lnTo>
                    <a:pt x="377825" y="427992"/>
                  </a:lnTo>
                  <a:lnTo>
                    <a:pt x="384493" y="429263"/>
                  </a:lnTo>
                  <a:lnTo>
                    <a:pt x="390843" y="430853"/>
                  </a:lnTo>
                  <a:lnTo>
                    <a:pt x="397193" y="432125"/>
                  </a:lnTo>
                  <a:lnTo>
                    <a:pt x="403860" y="434033"/>
                  </a:lnTo>
                  <a:lnTo>
                    <a:pt x="410210" y="435940"/>
                  </a:lnTo>
                  <a:lnTo>
                    <a:pt x="422593" y="441027"/>
                  </a:lnTo>
                  <a:lnTo>
                    <a:pt x="434658" y="446114"/>
                  </a:lnTo>
                  <a:lnTo>
                    <a:pt x="445770" y="451837"/>
                  </a:lnTo>
                  <a:lnTo>
                    <a:pt x="456883" y="457878"/>
                  </a:lnTo>
                  <a:lnTo>
                    <a:pt x="466408" y="463919"/>
                  </a:lnTo>
                  <a:lnTo>
                    <a:pt x="475298" y="469960"/>
                  </a:lnTo>
                  <a:lnTo>
                    <a:pt x="482918" y="475365"/>
                  </a:lnTo>
                  <a:lnTo>
                    <a:pt x="489585" y="480770"/>
                  </a:lnTo>
                  <a:lnTo>
                    <a:pt x="494348" y="485539"/>
                  </a:lnTo>
                  <a:lnTo>
                    <a:pt x="497840" y="489355"/>
                  </a:lnTo>
                  <a:lnTo>
                    <a:pt x="498475" y="491262"/>
                  </a:lnTo>
                  <a:lnTo>
                    <a:pt x="499110" y="492534"/>
                  </a:lnTo>
                  <a:lnTo>
                    <a:pt x="499745" y="495396"/>
                  </a:lnTo>
                  <a:lnTo>
                    <a:pt x="499745" y="499211"/>
                  </a:lnTo>
                  <a:lnTo>
                    <a:pt x="499745" y="510021"/>
                  </a:lnTo>
                  <a:lnTo>
                    <a:pt x="499110" y="525282"/>
                  </a:lnTo>
                  <a:lnTo>
                    <a:pt x="498158" y="543405"/>
                  </a:lnTo>
                  <a:lnTo>
                    <a:pt x="494983" y="587281"/>
                  </a:lnTo>
                  <a:lnTo>
                    <a:pt x="490855" y="637198"/>
                  </a:lnTo>
                  <a:lnTo>
                    <a:pt x="486093" y="688705"/>
                  </a:lnTo>
                  <a:lnTo>
                    <a:pt x="481013" y="736397"/>
                  </a:lnTo>
                  <a:lnTo>
                    <a:pt x="476250" y="776457"/>
                  </a:lnTo>
                  <a:lnTo>
                    <a:pt x="474028" y="792037"/>
                  </a:lnTo>
                  <a:lnTo>
                    <a:pt x="472123" y="803800"/>
                  </a:lnTo>
                  <a:lnTo>
                    <a:pt x="464503" y="806344"/>
                  </a:lnTo>
                  <a:lnTo>
                    <a:pt x="457835" y="808888"/>
                  </a:lnTo>
                  <a:lnTo>
                    <a:pt x="451168" y="810477"/>
                  </a:lnTo>
                  <a:lnTo>
                    <a:pt x="444818" y="812067"/>
                  </a:lnTo>
                  <a:lnTo>
                    <a:pt x="439103" y="813021"/>
                  </a:lnTo>
                  <a:lnTo>
                    <a:pt x="433705" y="813339"/>
                  </a:lnTo>
                  <a:lnTo>
                    <a:pt x="429260" y="813021"/>
                  </a:lnTo>
                  <a:lnTo>
                    <a:pt x="425450" y="811749"/>
                  </a:lnTo>
                  <a:lnTo>
                    <a:pt x="425768" y="802847"/>
                  </a:lnTo>
                  <a:lnTo>
                    <a:pt x="426720" y="789811"/>
                  </a:lnTo>
                  <a:lnTo>
                    <a:pt x="428308" y="754519"/>
                  </a:lnTo>
                  <a:lnTo>
                    <a:pt x="429260" y="710961"/>
                  </a:lnTo>
                  <a:lnTo>
                    <a:pt x="429895" y="664541"/>
                  </a:lnTo>
                  <a:lnTo>
                    <a:pt x="429895" y="619711"/>
                  </a:lnTo>
                  <a:lnTo>
                    <a:pt x="429578" y="582512"/>
                  </a:lnTo>
                  <a:lnTo>
                    <a:pt x="429260" y="568205"/>
                  </a:lnTo>
                  <a:lnTo>
                    <a:pt x="428625" y="557712"/>
                  </a:lnTo>
                  <a:lnTo>
                    <a:pt x="428308" y="554215"/>
                  </a:lnTo>
                  <a:lnTo>
                    <a:pt x="427673" y="551672"/>
                  </a:lnTo>
                  <a:lnTo>
                    <a:pt x="427038" y="550400"/>
                  </a:lnTo>
                  <a:lnTo>
                    <a:pt x="426720" y="550400"/>
                  </a:lnTo>
                  <a:lnTo>
                    <a:pt x="426403" y="550400"/>
                  </a:lnTo>
                  <a:lnTo>
                    <a:pt x="422910" y="555487"/>
                  </a:lnTo>
                  <a:lnTo>
                    <a:pt x="419100" y="560256"/>
                  </a:lnTo>
                  <a:lnTo>
                    <a:pt x="418465" y="561846"/>
                  </a:lnTo>
                  <a:lnTo>
                    <a:pt x="406718" y="733217"/>
                  </a:lnTo>
                  <a:lnTo>
                    <a:pt x="401003" y="796806"/>
                  </a:lnTo>
                  <a:lnTo>
                    <a:pt x="398463" y="821605"/>
                  </a:lnTo>
                  <a:lnTo>
                    <a:pt x="398463" y="823831"/>
                  </a:lnTo>
                  <a:lnTo>
                    <a:pt x="395288" y="831779"/>
                  </a:lnTo>
                  <a:lnTo>
                    <a:pt x="392113" y="839728"/>
                  </a:lnTo>
                  <a:lnTo>
                    <a:pt x="387985" y="847041"/>
                  </a:lnTo>
                  <a:lnTo>
                    <a:pt x="382905" y="854353"/>
                  </a:lnTo>
                  <a:lnTo>
                    <a:pt x="365443" y="1090267"/>
                  </a:lnTo>
                  <a:lnTo>
                    <a:pt x="378778" y="1093447"/>
                  </a:lnTo>
                  <a:lnTo>
                    <a:pt x="391160" y="1096944"/>
                  </a:lnTo>
                  <a:lnTo>
                    <a:pt x="403860" y="1100441"/>
                  </a:lnTo>
                  <a:lnTo>
                    <a:pt x="414973" y="1104575"/>
                  </a:lnTo>
                  <a:lnTo>
                    <a:pt x="425450" y="1109344"/>
                  </a:lnTo>
                  <a:lnTo>
                    <a:pt x="435293" y="1114113"/>
                  </a:lnTo>
                  <a:lnTo>
                    <a:pt x="444818" y="1119518"/>
                  </a:lnTo>
                  <a:lnTo>
                    <a:pt x="453073" y="1124923"/>
                  </a:lnTo>
                  <a:lnTo>
                    <a:pt x="450215" y="1114749"/>
                  </a:lnTo>
                  <a:lnTo>
                    <a:pt x="538480" y="1093447"/>
                  </a:lnTo>
                  <a:lnTo>
                    <a:pt x="541338" y="1105211"/>
                  </a:lnTo>
                  <a:lnTo>
                    <a:pt x="454343" y="1126513"/>
                  </a:lnTo>
                  <a:lnTo>
                    <a:pt x="461645" y="1132236"/>
                  </a:lnTo>
                  <a:lnTo>
                    <a:pt x="467678" y="1137959"/>
                  </a:lnTo>
                  <a:lnTo>
                    <a:pt x="472758" y="1144000"/>
                  </a:lnTo>
                  <a:lnTo>
                    <a:pt x="476885" y="1150358"/>
                  </a:lnTo>
                  <a:lnTo>
                    <a:pt x="478790" y="1153538"/>
                  </a:lnTo>
                  <a:lnTo>
                    <a:pt x="480378" y="1156717"/>
                  </a:lnTo>
                  <a:lnTo>
                    <a:pt x="481965" y="1159897"/>
                  </a:lnTo>
                  <a:lnTo>
                    <a:pt x="482918" y="1163394"/>
                  </a:lnTo>
                  <a:lnTo>
                    <a:pt x="483870" y="1166891"/>
                  </a:lnTo>
                  <a:lnTo>
                    <a:pt x="484505" y="1170707"/>
                  </a:lnTo>
                  <a:lnTo>
                    <a:pt x="484823" y="1173886"/>
                  </a:lnTo>
                  <a:lnTo>
                    <a:pt x="484823" y="1177384"/>
                  </a:lnTo>
                  <a:lnTo>
                    <a:pt x="484823" y="1182789"/>
                  </a:lnTo>
                  <a:lnTo>
                    <a:pt x="484188" y="1187558"/>
                  </a:lnTo>
                  <a:lnTo>
                    <a:pt x="482600" y="1192327"/>
                  </a:lnTo>
                  <a:lnTo>
                    <a:pt x="480695" y="1197414"/>
                  </a:lnTo>
                  <a:lnTo>
                    <a:pt x="478790" y="1201865"/>
                  </a:lnTo>
                  <a:lnTo>
                    <a:pt x="475933" y="1206634"/>
                  </a:lnTo>
                  <a:lnTo>
                    <a:pt x="472758" y="1211404"/>
                  </a:lnTo>
                  <a:lnTo>
                    <a:pt x="469265" y="1215537"/>
                  </a:lnTo>
                  <a:lnTo>
                    <a:pt x="465138" y="1219988"/>
                  </a:lnTo>
                  <a:lnTo>
                    <a:pt x="460375" y="1224121"/>
                  </a:lnTo>
                  <a:lnTo>
                    <a:pt x="455613" y="1227937"/>
                  </a:lnTo>
                  <a:lnTo>
                    <a:pt x="450215" y="1232070"/>
                  </a:lnTo>
                  <a:lnTo>
                    <a:pt x="444818" y="1235249"/>
                  </a:lnTo>
                  <a:lnTo>
                    <a:pt x="438785" y="1239065"/>
                  </a:lnTo>
                  <a:lnTo>
                    <a:pt x="432435" y="1242562"/>
                  </a:lnTo>
                  <a:lnTo>
                    <a:pt x="425450" y="1245741"/>
                  </a:lnTo>
                  <a:lnTo>
                    <a:pt x="418465" y="1248921"/>
                  </a:lnTo>
                  <a:lnTo>
                    <a:pt x="410845" y="1251782"/>
                  </a:lnTo>
                  <a:lnTo>
                    <a:pt x="402908" y="1254644"/>
                  </a:lnTo>
                  <a:lnTo>
                    <a:pt x="394970" y="1257187"/>
                  </a:lnTo>
                  <a:lnTo>
                    <a:pt x="386398" y="1259731"/>
                  </a:lnTo>
                  <a:lnTo>
                    <a:pt x="377825" y="1261956"/>
                  </a:lnTo>
                  <a:lnTo>
                    <a:pt x="368618" y="1263864"/>
                  </a:lnTo>
                  <a:lnTo>
                    <a:pt x="359410" y="1265772"/>
                  </a:lnTo>
                  <a:lnTo>
                    <a:pt x="349885" y="1267679"/>
                  </a:lnTo>
                  <a:lnTo>
                    <a:pt x="340043" y="1269269"/>
                  </a:lnTo>
                  <a:lnTo>
                    <a:pt x="329883" y="1270223"/>
                  </a:lnTo>
                  <a:lnTo>
                    <a:pt x="319723" y="1271495"/>
                  </a:lnTo>
                  <a:lnTo>
                    <a:pt x="309245" y="1272131"/>
                  </a:lnTo>
                  <a:lnTo>
                    <a:pt x="298768" y="1272767"/>
                  </a:lnTo>
                  <a:lnTo>
                    <a:pt x="287973" y="1273085"/>
                  </a:lnTo>
                  <a:lnTo>
                    <a:pt x="276860" y="1273402"/>
                  </a:lnTo>
                  <a:lnTo>
                    <a:pt x="273685" y="1273085"/>
                  </a:lnTo>
                  <a:lnTo>
                    <a:pt x="313055" y="1331268"/>
                  </a:lnTo>
                  <a:lnTo>
                    <a:pt x="302895" y="1338263"/>
                  </a:lnTo>
                  <a:lnTo>
                    <a:pt x="259080" y="1273085"/>
                  </a:lnTo>
                  <a:lnTo>
                    <a:pt x="244157" y="1272131"/>
                  </a:lnTo>
                  <a:lnTo>
                    <a:pt x="230505" y="1271177"/>
                  </a:lnTo>
                  <a:lnTo>
                    <a:pt x="216852" y="1269587"/>
                  </a:lnTo>
                  <a:lnTo>
                    <a:pt x="203835" y="1267362"/>
                  </a:lnTo>
                  <a:lnTo>
                    <a:pt x="190817" y="1265136"/>
                  </a:lnTo>
                  <a:lnTo>
                    <a:pt x="178435" y="1262592"/>
                  </a:lnTo>
                  <a:lnTo>
                    <a:pt x="166687" y="1259413"/>
                  </a:lnTo>
                  <a:lnTo>
                    <a:pt x="155575" y="1255916"/>
                  </a:lnTo>
                  <a:lnTo>
                    <a:pt x="144780" y="1252736"/>
                  </a:lnTo>
                  <a:lnTo>
                    <a:pt x="134937" y="1248603"/>
                  </a:lnTo>
                  <a:lnTo>
                    <a:pt x="125095" y="1244470"/>
                  </a:lnTo>
                  <a:lnTo>
                    <a:pt x="116522" y="1239383"/>
                  </a:lnTo>
                  <a:lnTo>
                    <a:pt x="108267" y="1234931"/>
                  </a:lnTo>
                  <a:lnTo>
                    <a:pt x="100647" y="1229844"/>
                  </a:lnTo>
                  <a:lnTo>
                    <a:pt x="93980" y="1224439"/>
                  </a:lnTo>
                  <a:lnTo>
                    <a:pt x="87947" y="1218716"/>
                  </a:lnTo>
                  <a:lnTo>
                    <a:pt x="2857" y="1238747"/>
                  </a:lnTo>
                  <a:lnTo>
                    <a:pt x="0" y="1226983"/>
                  </a:lnTo>
                  <a:lnTo>
                    <a:pt x="79375" y="1208224"/>
                  </a:lnTo>
                  <a:lnTo>
                    <a:pt x="76835" y="1204727"/>
                  </a:lnTo>
                  <a:lnTo>
                    <a:pt x="74612" y="1201229"/>
                  </a:lnTo>
                  <a:lnTo>
                    <a:pt x="72707" y="1197414"/>
                  </a:lnTo>
                  <a:lnTo>
                    <a:pt x="71437" y="1193599"/>
                  </a:lnTo>
                  <a:lnTo>
                    <a:pt x="70167" y="1189465"/>
                  </a:lnTo>
                  <a:lnTo>
                    <a:pt x="69532" y="1185650"/>
                  </a:lnTo>
                  <a:lnTo>
                    <a:pt x="69215" y="1181517"/>
                  </a:lnTo>
                  <a:lnTo>
                    <a:pt x="68580" y="1177384"/>
                  </a:lnTo>
                  <a:lnTo>
                    <a:pt x="69215" y="1171661"/>
                  </a:lnTo>
                  <a:lnTo>
                    <a:pt x="70167" y="1166574"/>
                  </a:lnTo>
                  <a:lnTo>
                    <a:pt x="71755" y="1161169"/>
                  </a:lnTo>
                  <a:lnTo>
                    <a:pt x="73977" y="1155763"/>
                  </a:lnTo>
                  <a:lnTo>
                    <a:pt x="76517" y="1150676"/>
                  </a:lnTo>
                  <a:lnTo>
                    <a:pt x="80010" y="1145589"/>
                  </a:lnTo>
                  <a:lnTo>
                    <a:pt x="83820" y="1140820"/>
                  </a:lnTo>
                  <a:lnTo>
                    <a:pt x="88265" y="1136051"/>
                  </a:lnTo>
                  <a:lnTo>
                    <a:pt x="93027" y="1131282"/>
                  </a:lnTo>
                  <a:lnTo>
                    <a:pt x="98425" y="1126831"/>
                  </a:lnTo>
                  <a:lnTo>
                    <a:pt x="104457" y="1122697"/>
                  </a:lnTo>
                  <a:lnTo>
                    <a:pt x="110807" y="1118564"/>
                  </a:lnTo>
                  <a:lnTo>
                    <a:pt x="117475" y="1114431"/>
                  </a:lnTo>
                  <a:lnTo>
                    <a:pt x="124777" y="1111251"/>
                  </a:lnTo>
                  <a:lnTo>
                    <a:pt x="132715" y="1107436"/>
                  </a:lnTo>
                  <a:lnTo>
                    <a:pt x="140652" y="1103939"/>
                  </a:lnTo>
                  <a:lnTo>
                    <a:pt x="89852" y="1023817"/>
                  </a:lnTo>
                  <a:lnTo>
                    <a:pt x="100012" y="1017458"/>
                  </a:lnTo>
                  <a:lnTo>
                    <a:pt x="152400" y="1099805"/>
                  </a:lnTo>
                  <a:lnTo>
                    <a:pt x="162242" y="1096944"/>
                  </a:lnTo>
                  <a:lnTo>
                    <a:pt x="172720" y="1093765"/>
                  </a:lnTo>
                  <a:lnTo>
                    <a:pt x="154940" y="850538"/>
                  </a:lnTo>
                  <a:lnTo>
                    <a:pt x="150812" y="844179"/>
                  </a:lnTo>
                  <a:lnTo>
                    <a:pt x="146367" y="837820"/>
                  </a:lnTo>
                  <a:lnTo>
                    <a:pt x="143510" y="830826"/>
                  </a:lnTo>
                  <a:lnTo>
                    <a:pt x="140652" y="824149"/>
                  </a:lnTo>
                  <a:lnTo>
                    <a:pt x="140652" y="821605"/>
                  </a:lnTo>
                  <a:lnTo>
                    <a:pt x="136842" y="782816"/>
                  </a:lnTo>
                  <a:lnTo>
                    <a:pt x="133032" y="740212"/>
                  </a:lnTo>
                  <a:lnTo>
                    <a:pt x="128587" y="687433"/>
                  </a:lnTo>
                  <a:lnTo>
                    <a:pt x="119697" y="557077"/>
                  </a:lnTo>
                  <a:lnTo>
                    <a:pt x="116522" y="554215"/>
                  </a:lnTo>
                  <a:lnTo>
                    <a:pt x="112712" y="550400"/>
                  </a:lnTo>
                  <a:lnTo>
                    <a:pt x="112395" y="550400"/>
                  </a:lnTo>
                  <a:lnTo>
                    <a:pt x="112395" y="550718"/>
                  </a:lnTo>
                  <a:lnTo>
                    <a:pt x="112077" y="552307"/>
                  </a:lnTo>
                  <a:lnTo>
                    <a:pt x="111125" y="558666"/>
                  </a:lnTo>
                  <a:lnTo>
                    <a:pt x="111125" y="569794"/>
                  </a:lnTo>
                  <a:lnTo>
                    <a:pt x="111125" y="584420"/>
                  </a:lnTo>
                  <a:lnTo>
                    <a:pt x="112395" y="621937"/>
                  </a:lnTo>
                  <a:lnTo>
                    <a:pt x="113665" y="666449"/>
                  </a:lnTo>
                  <a:lnTo>
                    <a:pt x="116205" y="712869"/>
                  </a:lnTo>
                  <a:lnTo>
                    <a:pt x="118427" y="756109"/>
                  </a:lnTo>
                  <a:lnTo>
                    <a:pt x="120332" y="791401"/>
                  </a:lnTo>
                  <a:lnTo>
                    <a:pt x="122237" y="813021"/>
                  </a:lnTo>
                  <a:lnTo>
                    <a:pt x="112077" y="813339"/>
                  </a:lnTo>
                  <a:lnTo>
                    <a:pt x="105410" y="813339"/>
                  </a:lnTo>
                  <a:lnTo>
                    <a:pt x="98425" y="812385"/>
                  </a:lnTo>
                  <a:lnTo>
                    <a:pt x="90487" y="811431"/>
                  </a:lnTo>
                  <a:lnTo>
                    <a:pt x="82550" y="809523"/>
                  </a:lnTo>
                  <a:lnTo>
                    <a:pt x="78740" y="807934"/>
                  </a:lnTo>
                  <a:lnTo>
                    <a:pt x="74612" y="806344"/>
                  </a:lnTo>
                  <a:lnTo>
                    <a:pt x="70802" y="804754"/>
                  </a:lnTo>
                  <a:lnTo>
                    <a:pt x="66675" y="802211"/>
                  </a:lnTo>
                  <a:lnTo>
                    <a:pt x="65087" y="791083"/>
                  </a:lnTo>
                  <a:lnTo>
                    <a:pt x="63182" y="776139"/>
                  </a:lnTo>
                  <a:lnTo>
                    <a:pt x="61277" y="758335"/>
                  </a:lnTo>
                  <a:lnTo>
                    <a:pt x="59055" y="737986"/>
                  </a:lnTo>
                  <a:lnTo>
                    <a:pt x="55245" y="692520"/>
                  </a:lnTo>
                  <a:lnTo>
                    <a:pt x="51752" y="643875"/>
                  </a:lnTo>
                  <a:lnTo>
                    <a:pt x="49212" y="596819"/>
                  </a:lnTo>
                  <a:lnTo>
                    <a:pt x="47307" y="555487"/>
                  </a:lnTo>
                  <a:lnTo>
                    <a:pt x="46990" y="538318"/>
                  </a:lnTo>
                  <a:lnTo>
                    <a:pt x="46355" y="524011"/>
                  </a:lnTo>
                  <a:lnTo>
                    <a:pt x="46990" y="513836"/>
                  </a:lnTo>
                  <a:lnTo>
                    <a:pt x="47307" y="507477"/>
                  </a:lnTo>
                  <a:lnTo>
                    <a:pt x="47625" y="503026"/>
                  </a:lnTo>
                  <a:lnTo>
                    <a:pt x="48895" y="498893"/>
                  </a:lnTo>
                  <a:lnTo>
                    <a:pt x="49847" y="495078"/>
                  </a:lnTo>
                  <a:lnTo>
                    <a:pt x="51752" y="490944"/>
                  </a:lnTo>
                  <a:lnTo>
                    <a:pt x="53975" y="487129"/>
                  </a:lnTo>
                  <a:lnTo>
                    <a:pt x="56515" y="483314"/>
                  </a:lnTo>
                  <a:lnTo>
                    <a:pt x="59690" y="480134"/>
                  </a:lnTo>
                  <a:lnTo>
                    <a:pt x="62547" y="476637"/>
                  </a:lnTo>
                  <a:lnTo>
                    <a:pt x="66357" y="473140"/>
                  </a:lnTo>
                  <a:lnTo>
                    <a:pt x="70167" y="470278"/>
                  </a:lnTo>
                  <a:lnTo>
                    <a:pt x="74612" y="467099"/>
                  </a:lnTo>
                  <a:lnTo>
                    <a:pt x="79375" y="464237"/>
                  </a:lnTo>
                  <a:lnTo>
                    <a:pt x="88900" y="458514"/>
                  </a:lnTo>
                  <a:lnTo>
                    <a:pt x="99377" y="453745"/>
                  </a:lnTo>
                  <a:lnTo>
                    <a:pt x="111125" y="449294"/>
                  </a:lnTo>
                  <a:lnTo>
                    <a:pt x="123190" y="444525"/>
                  </a:lnTo>
                  <a:lnTo>
                    <a:pt x="135572" y="441027"/>
                  </a:lnTo>
                  <a:lnTo>
                    <a:pt x="148907" y="437530"/>
                  </a:lnTo>
                  <a:lnTo>
                    <a:pt x="161607" y="434351"/>
                  </a:lnTo>
                  <a:lnTo>
                    <a:pt x="174625" y="431807"/>
                  </a:lnTo>
                  <a:lnTo>
                    <a:pt x="187960" y="429581"/>
                  </a:lnTo>
                  <a:lnTo>
                    <a:pt x="200660" y="427674"/>
                  </a:lnTo>
                  <a:lnTo>
                    <a:pt x="203835" y="427674"/>
                  </a:lnTo>
                  <a:lnTo>
                    <a:pt x="206692" y="427674"/>
                  </a:lnTo>
                  <a:lnTo>
                    <a:pt x="248285" y="582194"/>
                  </a:lnTo>
                  <a:lnTo>
                    <a:pt x="249237" y="576153"/>
                  </a:lnTo>
                  <a:lnTo>
                    <a:pt x="263525" y="470278"/>
                  </a:lnTo>
                  <a:lnTo>
                    <a:pt x="259715" y="459786"/>
                  </a:lnTo>
                  <a:lnTo>
                    <a:pt x="267653" y="445797"/>
                  </a:lnTo>
                  <a:lnTo>
                    <a:pt x="285750" y="445797"/>
                  </a:lnTo>
                  <a:lnTo>
                    <a:pt x="293688" y="459786"/>
                  </a:lnTo>
                  <a:lnTo>
                    <a:pt x="289878" y="472186"/>
                  </a:lnTo>
                  <a:lnTo>
                    <a:pt x="302578" y="584102"/>
                  </a:lnTo>
                  <a:lnTo>
                    <a:pt x="336868" y="432443"/>
                  </a:lnTo>
                  <a:lnTo>
                    <a:pt x="343853" y="429263"/>
                  </a:lnTo>
                  <a:lnTo>
                    <a:pt x="345440" y="428310"/>
                  </a:lnTo>
                  <a:lnTo>
                    <a:pt x="345758" y="427674"/>
                  </a:lnTo>
                  <a:lnTo>
                    <a:pt x="352108" y="427356"/>
                  </a:lnTo>
                  <a:lnTo>
                    <a:pt x="358458" y="427038"/>
                  </a:lnTo>
                  <a:close/>
                  <a:moveTo>
                    <a:pt x="1859239" y="201613"/>
                  </a:moveTo>
                  <a:lnTo>
                    <a:pt x="1864624" y="201613"/>
                  </a:lnTo>
                  <a:lnTo>
                    <a:pt x="1869375" y="201613"/>
                  </a:lnTo>
                  <a:lnTo>
                    <a:pt x="1874760" y="201930"/>
                  </a:lnTo>
                  <a:lnTo>
                    <a:pt x="1879828" y="202248"/>
                  </a:lnTo>
                  <a:lnTo>
                    <a:pt x="1884896" y="203517"/>
                  </a:lnTo>
                  <a:lnTo>
                    <a:pt x="1895349" y="205739"/>
                  </a:lnTo>
                  <a:lnTo>
                    <a:pt x="1905485" y="208595"/>
                  </a:lnTo>
                  <a:lnTo>
                    <a:pt x="1914988" y="212403"/>
                  </a:lnTo>
                  <a:lnTo>
                    <a:pt x="1924490" y="216529"/>
                  </a:lnTo>
                  <a:lnTo>
                    <a:pt x="1933676" y="221290"/>
                  </a:lnTo>
                  <a:lnTo>
                    <a:pt x="1942229" y="225733"/>
                  </a:lnTo>
                  <a:lnTo>
                    <a:pt x="1949514" y="230493"/>
                  </a:lnTo>
                  <a:lnTo>
                    <a:pt x="1956799" y="235571"/>
                  </a:lnTo>
                  <a:lnTo>
                    <a:pt x="1962818" y="240014"/>
                  </a:lnTo>
                  <a:lnTo>
                    <a:pt x="1967886" y="244140"/>
                  </a:lnTo>
                  <a:lnTo>
                    <a:pt x="1971687" y="247948"/>
                  </a:lnTo>
                  <a:lnTo>
                    <a:pt x="1974538" y="251122"/>
                  </a:lnTo>
                  <a:lnTo>
                    <a:pt x="1975488" y="253343"/>
                  </a:lnTo>
                  <a:lnTo>
                    <a:pt x="1976438" y="258739"/>
                  </a:lnTo>
                  <a:lnTo>
                    <a:pt x="1975805" y="267307"/>
                  </a:lnTo>
                  <a:lnTo>
                    <a:pt x="1975488" y="279367"/>
                  </a:lnTo>
                  <a:lnTo>
                    <a:pt x="1974854" y="293649"/>
                  </a:lnTo>
                  <a:lnTo>
                    <a:pt x="1972637" y="328241"/>
                  </a:lnTo>
                  <a:lnTo>
                    <a:pt x="1969153" y="368229"/>
                  </a:lnTo>
                  <a:lnTo>
                    <a:pt x="1965352" y="408852"/>
                  </a:lnTo>
                  <a:lnTo>
                    <a:pt x="1961234" y="446619"/>
                  </a:lnTo>
                  <a:lnTo>
                    <a:pt x="1957433" y="478355"/>
                  </a:lnTo>
                  <a:lnTo>
                    <a:pt x="1956166" y="490732"/>
                  </a:lnTo>
                  <a:lnTo>
                    <a:pt x="1954265" y="499619"/>
                  </a:lnTo>
                  <a:lnTo>
                    <a:pt x="1948564" y="501840"/>
                  </a:lnTo>
                  <a:lnTo>
                    <a:pt x="1942862" y="503744"/>
                  </a:lnTo>
                  <a:lnTo>
                    <a:pt x="1937794" y="505331"/>
                  </a:lnTo>
                  <a:lnTo>
                    <a:pt x="1932726" y="506283"/>
                  </a:lnTo>
                  <a:lnTo>
                    <a:pt x="1928291" y="507235"/>
                  </a:lnTo>
                  <a:lnTo>
                    <a:pt x="1924174" y="507235"/>
                  </a:lnTo>
                  <a:lnTo>
                    <a:pt x="1920373" y="506918"/>
                  </a:lnTo>
                  <a:lnTo>
                    <a:pt x="1917522" y="505966"/>
                  </a:lnTo>
                  <a:lnTo>
                    <a:pt x="1918472" y="488828"/>
                  </a:lnTo>
                  <a:lnTo>
                    <a:pt x="1919422" y="460900"/>
                  </a:lnTo>
                  <a:lnTo>
                    <a:pt x="1920373" y="426307"/>
                  </a:lnTo>
                  <a:lnTo>
                    <a:pt x="1920689" y="389493"/>
                  </a:lnTo>
                  <a:lnTo>
                    <a:pt x="1921006" y="354265"/>
                  </a:lnTo>
                  <a:lnTo>
                    <a:pt x="1920689" y="324750"/>
                  </a:lnTo>
                  <a:lnTo>
                    <a:pt x="1920373" y="313325"/>
                  </a:lnTo>
                  <a:lnTo>
                    <a:pt x="1919739" y="305074"/>
                  </a:lnTo>
                  <a:lnTo>
                    <a:pt x="1918789" y="299996"/>
                  </a:lnTo>
                  <a:lnTo>
                    <a:pt x="1918472" y="299361"/>
                  </a:lnTo>
                  <a:lnTo>
                    <a:pt x="1918472" y="299044"/>
                  </a:lnTo>
                  <a:lnTo>
                    <a:pt x="1918155" y="299361"/>
                  </a:lnTo>
                  <a:lnTo>
                    <a:pt x="1914988" y="303170"/>
                  </a:lnTo>
                  <a:lnTo>
                    <a:pt x="1912454" y="307295"/>
                  </a:lnTo>
                  <a:lnTo>
                    <a:pt x="1911820" y="308247"/>
                  </a:lnTo>
                  <a:lnTo>
                    <a:pt x="1902318" y="443762"/>
                  </a:lnTo>
                  <a:lnTo>
                    <a:pt x="1897883" y="493906"/>
                  </a:lnTo>
                  <a:lnTo>
                    <a:pt x="1895982" y="513900"/>
                  </a:lnTo>
                  <a:lnTo>
                    <a:pt x="1895982" y="515804"/>
                  </a:lnTo>
                  <a:lnTo>
                    <a:pt x="1893765" y="521834"/>
                  </a:lnTo>
                  <a:lnTo>
                    <a:pt x="1891231" y="528181"/>
                  </a:lnTo>
                  <a:lnTo>
                    <a:pt x="1887747" y="534211"/>
                  </a:lnTo>
                  <a:lnTo>
                    <a:pt x="1883946" y="539924"/>
                  </a:lnTo>
                  <a:lnTo>
                    <a:pt x="1869375" y="734151"/>
                  </a:lnTo>
                  <a:lnTo>
                    <a:pt x="1879828" y="736373"/>
                  </a:lnTo>
                  <a:lnTo>
                    <a:pt x="1890281" y="738912"/>
                  </a:lnTo>
                  <a:lnTo>
                    <a:pt x="1899784" y="742403"/>
                  </a:lnTo>
                  <a:lnTo>
                    <a:pt x="1909286" y="745576"/>
                  </a:lnTo>
                  <a:lnTo>
                    <a:pt x="1917839" y="749067"/>
                  </a:lnTo>
                  <a:lnTo>
                    <a:pt x="1925757" y="752876"/>
                  </a:lnTo>
                  <a:lnTo>
                    <a:pt x="1933043" y="757002"/>
                  </a:lnTo>
                  <a:lnTo>
                    <a:pt x="1940011" y="761762"/>
                  </a:lnTo>
                  <a:lnTo>
                    <a:pt x="1946030" y="766522"/>
                  </a:lnTo>
                  <a:lnTo>
                    <a:pt x="1951098" y="771283"/>
                  </a:lnTo>
                  <a:lnTo>
                    <a:pt x="1955532" y="776361"/>
                  </a:lnTo>
                  <a:lnTo>
                    <a:pt x="1959333" y="781439"/>
                  </a:lnTo>
                  <a:lnTo>
                    <a:pt x="1962501" y="787151"/>
                  </a:lnTo>
                  <a:lnTo>
                    <a:pt x="1964718" y="792864"/>
                  </a:lnTo>
                  <a:lnTo>
                    <a:pt x="1966302" y="798894"/>
                  </a:lnTo>
                  <a:lnTo>
                    <a:pt x="1966619" y="801750"/>
                  </a:lnTo>
                  <a:lnTo>
                    <a:pt x="1966619" y="804924"/>
                  </a:lnTo>
                  <a:lnTo>
                    <a:pt x="1966302" y="808732"/>
                  </a:lnTo>
                  <a:lnTo>
                    <a:pt x="1965669" y="812223"/>
                  </a:lnTo>
                  <a:lnTo>
                    <a:pt x="1965035" y="816031"/>
                  </a:lnTo>
                  <a:lnTo>
                    <a:pt x="1963451" y="819522"/>
                  </a:lnTo>
                  <a:lnTo>
                    <a:pt x="1962184" y="823331"/>
                  </a:lnTo>
                  <a:lnTo>
                    <a:pt x="1960284" y="826504"/>
                  </a:lnTo>
                  <a:lnTo>
                    <a:pt x="1958066" y="829995"/>
                  </a:lnTo>
                  <a:lnTo>
                    <a:pt x="1955532" y="833486"/>
                  </a:lnTo>
                  <a:lnTo>
                    <a:pt x="1952682" y="836660"/>
                  </a:lnTo>
                  <a:lnTo>
                    <a:pt x="1949514" y="839834"/>
                  </a:lnTo>
                  <a:lnTo>
                    <a:pt x="1946030" y="842690"/>
                  </a:lnTo>
                  <a:lnTo>
                    <a:pt x="1942545" y="845864"/>
                  </a:lnTo>
                  <a:lnTo>
                    <a:pt x="1938428" y="848720"/>
                  </a:lnTo>
                  <a:lnTo>
                    <a:pt x="1934310" y="851576"/>
                  </a:lnTo>
                  <a:lnTo>
                    <a:pt x="1924807" y="856654"/>
                  </a:lnTo>
                  <a:lnTo>
                    <a:pt x="1914354" y="861732"/>
                  </a:lnTo>
                  <a:lnTo>
                    <a:pt x="1903268" y="865858"/>
                  </a:lnTo>
                  <a:lnTo>
                    <a:pt x="1891231" y="869983"/>
                  </a:lnTo>
                  <a:lnTo>
                    <a:pt x="1878244" y="873157"/>
                  </a:lnTo>
                  <a:lnTo>
                    <a:pt x="1864624" y="876013"/>
                  </a:lnTo>
                  <a:lnTo>
                    <a:pt x="1850370" y="878235"/>
                  </a:lnTo>
                  <a:lnTo>
                    <a:pt x="1835165" y="880139"/>
                  </a:lnTo>
                  <a:lnTo>
                    <a:pt x="1819644" y="881091"/>
                  </a:lnTo>
                  <a:lnTo>
                    <a:pt x="1783851" y="947738"/>
                  </a:lnTo>
                  <a:lnTo>
                    <a:pt x="1773398" y="941708"/>
                  </a:lnTo>
                  <a:lnTo>
                    <a:pt x="1805390" y="881409"/>
                  </a:lnTo>
                  <a:lnTo>
                    <a:pt x="1800322" y="881726"/>
                  </a:lnTo>
                  <a:lnTo>
                    <a:pt x="1787335" y="881409"/>
                  </a:lnTo>
                  <a:lnTo>
                    <a:pt x="1774032" y="881091"/>
                  </a:lnTo>
                  <a:lnTo>
                    <a:pt x="1761678" y="880139"/>
                  </a:lnTo>
                  <a:lnTo>
                    <a:pt x="1749642" y="878552"/>
                  </a:lnTo>
                  <a:lnTo>
                    <a:pt x="1737605" y="876648"/>
                  </a:lnTo>
                  <a:lnTo>
                    <a:pt x="1726518" y="874427"/>
                  </a:lnTo>
                  <a:lnTo>
                    <a:pt x="1716066" y="871888"/>
                  </a:lnTo>
                  <a:lnTo>
                    <a:pt x="1705296" y="868714"/>
                  </a:lnTo>
                  <a:lnTo>
                    <a:pt x="1696110" y="865223"/>
                  </a:lnTo>
                  <a:lnTo>
                    <a:pt x="1686607" y="862049"/>
                  </a:lnTo>
                  <a:lnTo>
                    <a:pt x="1678372" y="857924"/>
                  </a:lnTo>
                  <a:lnTo>
                    <a:pt x="1670453" y="853798"/>
                  </a:lnTo>
                  <a:lnTo>
                    <a:pt x="1663484" y="849037"/>
                  </a:lnTo>
                  <a:lnTo>
                    <a:pt x="1657149" y="844594"/>
                  </a:lnTo>
                  <a:lnTo>
                    <a:pt x="1651448" y="839516"/>
                  </a:lnTo>
                  <a:lnTo>
                    <a:pt x="1646696" y="834439"/>
                  </a:lnTo>
                  <a:lnTo>
                    <a:pt x="1574476" y="851894"/>
                  </a:lnTo>
                  <a:lnTo>
                    <a:pt x="1571625" y="840151"/>
                  </a:lnTo>
                  <a:lnTo>
                    <a:pt x="1639411" y="823648"/>
                  </a:lnTo>
                  <a:lnTo>
                    <a:pt x="1637510" y="819205"/>
                  </a:lnTo>
                  <a:lnTo>
                    <a:pt x="1635927" y="814127"/>
                  </a:lnTo>
                  <a:lnTo>
                    <a:pt x="1634976" y="809684"/>
                  </a:lnTo>
                  <a:lnTo>
                    <a:pt x="1634660" y="804924"/>
                  </a:lnTo>
                  <a:lnTo>
                    <a:pt x="1634976" y="799211"/>
                  </a:lnTo>
                  <a:lnTo>
                    <a:pt x="1635927" y="793816"/>
                  </a:lnTo>
                  <a:lnTo>
                    <a:pt x="1637827" y="788738"/>
                  </a:lnTo>
                  <a:lnTo>
                    <a:pt x="1640678" y="783343"/>
                  </a:lnTo>
                  <a:lnTo>
                    <a:pt x="1643529" y="778582"/>
                  </a:lnTo>
                  <a:lnTo>
                    <a:pt x="1647646" y="773504"/>
                  </a:lnTo>
                  <a:lnTo>
                    <a:pt x="1652081" y="769061"/>
                  </a:lnTo>
                  <a:lnTo>
                    <a:pt x="1657466" y="764618"/>
                  </a:lnTo>
                  <a:lnTo>
                    <a:pt x="1663167" y="760493"/>
                  </a:lnTo>
                  <a:lnTo>
                    <a:pt x="1669503" y="756684"/>
                  </a:lnTo>
                  <a:lnTo>
                    <a:pt x="1676154" y="752876"/>
                  </a:lnTo>
                  <a:lnTo>
                    <a:pt x="1683757" y="749067"/>
                  </a:lnTo>
                  <a:lnTo>
                    <a:pt x="1691675" y="745894"/>
                  </a:lnTo>
                  <a:lnTo>
                    <a:pt x="1700228" y="742720"/>
                  </a:lnTo>
                  <a:lnTo>
                    <a:pt x="1708780" y="740181"/>
                  </a:lnTo>
                  <a:lnTo>
                    <a:pt x="1718283" y="737642"/>
                  </a:lnTo>
                  <a:lnTo>
                    <a:pt x="1703079" y="536750"/>
                  </a:lnTo>
                  <a:lnTo>
                    <a:pt x="1699911" y="531990"/>
                  </a:lnTo>
                  <a:lnTo>
                    <a:pt x="1696744" y="526595"/>
                  </a:lnTo>
                  <a:lnTo>
                    <a:pt x="1694209" y="521517"/>
                  </a:lnTo>
                  <a:lnTo>
                    <a:pt x="1691992" y="516122"/>
                  </a:lnTo>
                  <a:lnTo>
                    <a:pt x="1691992" y="513900"/>
                  </a:lnTo>
                  <a:lnTo>
                    <a:pt x="1688825" y="483116"/>
                  </a:lnTo>
                  <a:lnTo>
                    <a:pt x="1685974" y="449792"/>
                  </a:lnTo>
                  <a:lnTo>
                    <a:pt x="1682490" y="407583"/>
                  </a:lnTo>
                  <a:lnTo>
                    <a:pt x="1675521" y="304439"/>
                  </a:lnTo>
                  <a:lnTo>
                    <a:pt x="1672670" y="302218"/>
                  </a:lnTo>
                  <a:lnTo>
                    <a:pt x="1669819" y="299361"/>
                  </a:lnTo>
                  <a:lnTo>
                    <a:pt x="1669503" y="299361"/>
                  </a:lnTo>
                  <a:lnTo>
                    <a:pt x="1669186" y="300948"/>
                  </a:lnTo>
                  <a:lnTo>
                    <a:pt x="1668552" y="305709"/>
                  </a:lnTo>
                  <a:lnTo>
                    <a:pt x="1668552" y="314277"/>
                  </a:lnTo>
                  <a:lnTo>
                    <a:pt x="1668552" y="326020"/>
                  </a:lnTo>
                  <a:lnTo>
                    <a:pt x="1669503" y="355852"/>
                  </a:lnTo>
                  <a:lnTo>
                    <a:pt x="1671086" y="391080"/>
                  </a:lnTo>
                  <a:lnTo>
                    <a:pt x="1672353" y="427894"/>
                  </a:lnTo>
                  <a:lnTo>
                    <a:pt x="1674254" y="462169"/>
                  </a:lnTo>
                  <a:lnTo>
                    <a:pt x="1675838" y="489780"/>
                  </a:lnTo>
                  <a:lnTo>
                    <a:pt x="1677421" y="507235"/>
                  </a:lnTo>
                  <a:lnTo>
                    <a:pt x="1669503" y="507235"/>
                  </a:lnTo>
                  <a:lnTo>
                    <a:pt x="1664118" y="507235"/>
                  </a:lnTo>
                  <a:lnTo>
                    <a:pt x="1658416" y="506918"/>
                  </a:lnTo>
                  <a:lnTo>
                    <a:pt x="1652715" y="505648"/>
                  </a:lnTo>
                  <a:lnTo>
                    <a:pt x="1646063" y="504062"/>
                  </a:lnTo>
                  <a:lnTo>
                    <a:pt x="1639728" y="501840"/>
                  </a:lnTo>
                  <a:lnTo>
                    <a:pt x="1636877" y="500253"/>
                  </a:lnTo>
                  <a:lnTo>
                    <a:pt x="1633709" y="498984"/>
                  </a:lnTo>
                  <a:lnTo>
                    <a:pt x="1632442" y="489780"/>
                  </a:lnTo>
                  <a:lnTo>
                    <a:pt x="1630858" y="477720"/>
                  </a:lnTo>
                  <a:lnTo>
                    <a:pt x="1627374" y="447888"/>
                  </a:lnTo>
                  <a:lnTo>
                    <a:pt x="1624523" y="411708"/>
                  </a:lnTo>
                  <a:lnTo>
                    <a:pt x="1621673" y="373307"/>
                  </a:lnTo>
                  <a:lnTo>
                    <a:pt x="1619455" y="336176"/>
                  </a:lnTo>
                  <a:lnTo>
                    <a:pt x="1618188" y="303487"/>
                  </a:lnTo>
                  <a:lnTo>
                    <a:pt x="1617555" y="278733"/>
                  </a:lnTo>
                  <a:lnTo>
                    <a:pt x="1617555" y="270481"/>
                  </a:lnTo>
                  <a:lnTo>
                    <a:pt x="1618188" y="265086"/>
                  </a:lnTo>
                  <a:lnTo>
                    <a:pt x="1618505" y="261595"/>
                  </a:lnTo>
                  <a:lnTo>
                    <a:pt x="1619139" y="258421"/>
                  </a:lnTo>
                  <a:lnTo>
                    <a:pt x="1620406" y="255248"/>
                  </a:lnTo>
                  <a:lnTo>
                    <a:pt x="1621673" y="252391"/>
                  </a:lnTo>
                  <a:lnTo>
                    <a:pt x="1623573" y="249218"/>
                  </a:lnTo>
                  <a:lnTo>
                    <a:pt x="1625474" y="246361"/>
                  </a:lnTo>
                  <a:lnTo>
                    <a:pt x="1627691" y="243822"/>
                  </a:lnTo>
                  <a:lnTo>
                    <a:pt x="1630542" y="240649"/>
                  </a:lnTo>
                  <a:lnTo>
                    <a:pt x="1633392" y="238110"/>
                  </a:lnTo>
                  <a:lnTo>
                    <a:pt x="1636560" y="235888"/>
                  </a:lnTo>
                  <a:lnTo>
                    <a:pt x="1643212" y="230810"/>
                  </a:lnTo>
                  <a:lnTo>
                    <a:pt x="1651131" y="226685"/>
                  </a:lnTo>
                  <a:lnTo>
                    <a:pt x="1659683" y="222559"/>
                  </a:lnTo>
                  <a:lnTo>
                    <a:pt x="1668552" y="218751"/>
                  </a:lnTo>
                  <a:lnTo>
                    <a:pt x="1678055" y="215577"/>
                  </a:lnTo>
                  <a:lnTo>
                    <a:pt x="1688191" y="212403"/>
                  </a:lnTo>
                  <a:lnTo>
                    <a:pt x="1698327" y="209864"/>
                  </a:lnTo>
                  <a:lnTo>
                    <a:pt x="1708780" y="207643"/>
                  </a:lnTo>
                  <a:lnTo>
                    <a:pt x="1718916" y="205421"/>
                  </a:lnTo>
                  <a:lnTo>
                    <a:pt x="1729369" y="203834"/>
                  </a:lnTo>
                  <a:lnTo>
                    <a:pt x="1739505" y="202248"/>
                  </a:lnTo>
                  <a:lnTo>
                    <a:pt x="1741723" y="201930"/>
                  </a:lnTo>
                  <a:lnTo>
                    <a:pt x="1743940" y="201930"/>
                  </a:lnTo>
                  <a:lnTo>
                    <a:pt x="1777516" y="324433"/>
                  </a:lnTo>
                  <a:lnTo>
                    <a:pt x="1777833" y="319673"/>
                  </a:lnTo>
                  <a:lnTo>
                    <a:pt x="1789553" y="235888"/>
                  </a:lnTo>
                  <a:lnTo>
                    <a:pt x="1786068" y="227637"/>
                  </a:lnTo>
                  <a:lnTo>
                    <a:pt x="1792404" y="216529"/>
                  </a:lnTo>
                  <a:lnTo>
                    <a:pt x="1806658" y="216212"/>
                  </a:lnTo>
                  <a:lnTo>
                    <a:pt x="1812676" y="227637"/>
                  </a:lnTo>
                  <a:lnTo>
                    <a:pt x="1810142" y="237158"/>
                  </a:lnTo>
                  <a:lnTo>
                    <a:pt x="1820278" y="325703"/>
                  </a:lnTo>
                  <a:lnTo>
                    <a:pt x="1847202" y="206056"/>
                  </a:lnTo>
                  <a:lnTo>
                    <a:pt x="1852904" y="203517"/>
                  </a:lnTo>
                  <a:lnTo>
                    <a:pt x="1853854" y="202882"/>
                  </a:lnTo>
                  <a:lnTo>
                    <a:pt x="1854488" y="202248"/>
                  </a:lnTo>
                  <a:lnTo>
                    <a:pt x="1859239" y="201613"/>
                  </a:lnTo>
                  <a:close/>
                  <a:moveTo>
                    <a:pt x="2576838" y="182563"/>
                  </a:moveTo>
                  <a:lnTo>
                    <a:pt x="2587021" y="182563"/>
                  </a:lnTo>
                  <a:lnTo>
                    <a:pt x="2597204" y="182880"/>
                  </a:lnTo>
                  <a:lnTo>
                    <a:pt x="2606432" y="183515"/>
                  </a:lnTo>
                  <a:lnTo>
                    <a:pt x="2615979" y="185103"/>
                  </a:lnTo>
                  <a:lnTo>
                    <a:pt x="2624570" y="186690"/>
                  </a:lnTo>
                  <a:lnTo>
                    <a:pt x="2633162" y="188913"/>
                  </a:lnTo>
                  <a:lnTo>
                    <a:pt x="2641118" y="191135"/>
                  </a:lnTo>
                  <a:lnTo>
                    <a:pt x="2649073" y="193993"/>
                  </a:lnTo>
                  <a:lnTo>
                    <a:pt x="2656392" y="196850"/>
                  </a:lnTo>
                  <a:lnTo>
                    <a:pt x="2663074" y="200025"/>
                  </a:lnTo>
                  <a:lnTo>
                    <a:pt x="2669439" y="203200"/>
                  </a:lnTo>
                  <a:lnTo>
                    <a:pt x="2675485" y="206375"/>
                  </a:lnTo>
                  <a:lnTo>
                    <a:pt x="2685986" y="213043"/>
                  </a:lnTo>
                  <a:lnTo>
                    <a:pt x="2694578" y="219393"/>
                  </a:lnTo>
                  <a:lnTo>
                    <a:pt x="2701578" y="224473"/>
                  </a:lnTo>
                  <a:lnTo>
                    <a:pt x="2706670" y="228918"/>
                  </a:lnTo>
                  <a:lnTo>
                    <a:pt x="2710488" y="233045"/>
                  </a:lnTo>
                  <a:lnTo>
                    <a:pt x="2709216" y="236220"/>
                  </a:lnTo>
                  <a:lnTo>
                    <a:pt x="2707625" y="239078"/>
                  </a:lnTo>
                  <a:lnTo>
                    <a:pt x="2705079" y="243840"/>
                  </a:lnTo>
                  <a:lnTo>
                    <a:pt x="2701897" y="248603"/>
                  </a:lnTo>
                  <a:lnTo>
                    <a:pt x="2697760" y="253365"/>
                  </a:lnTo>
                  <a:lnTo>
                    <a:pt x="2693305" y="258763"/>
                  </a:lnTo>
                  <a:lnTo>
                    <a:pt x="2687577" y="264160"/>
                  </a:lnTo>
                  <a:lnTo>
                    <a:pt x="2684077" y="266383"/>
                  </a:lnTo>
                  <a:lnTo>
                    <a:pt x="2681213" y="268605"/>
                  </a:lnTo>
                  <a:lnTo>
                    <a:pt x="2677394" y="270828"/>
                  </a:lnTo>
                  <a:lnTo>
                    <a:pt x="2673575" y="272733"/>
                  </a:lnTo>
                  <a:lnTo>
                    <a:pt x="2669757" y="274638"/>
                  </a:lnTo>
                  <a:lnTo>
                    <a:pt x="2665302" y="275591"/>
                  </a:lnTo>
                  <a:lnTo>
                    <a:pt x="2661165" y="276861"/>
                  </a:lnTo>
                  <a:lnTo>
                    <a:pt x="2656392" y="277496"/>
                  </a:lnTo>
                  <a:lnTo>
                    <a:pt x="2651300" y="277813"/>
                  </a:lnTo>
                  <a:lnTo>
                    <a:pt x="2646527" y="277813"/>
                  </a:lnTo>
                  <a:lnTo>
                    <a:pt x="2640799" y="277496"/>
                  </a:lnTo>
                  <a:lnTo>
                    <a:pt x="2635390" y="276543"/>
                  </a:lnTo>
                  <a:lnTo>
                    <a:pt x="2629344" y="274956"/>
                  </a:lnTo>
                  <a:lnTo>
                    <a:pt x="2623298" y="273050"/>
                  </a:lnTo>
                  <a:lnTo>
                    <a:pt x="2616933" y="270510"/>
                  </a:lnTo>
                  <a:lnTo>
                    <a:pt x="2610569" y="267335"/>
                  </a:lnTo>
                  <a:lnTo>
                    <a:pt x="2603250" y="263525"/>
                  </a:lnTo>
                  <a:lnTo>
                    <a:pt x="2595295" y="260668"/>
                  </a:lnTo>
                  <a:lnTo>
                    <a:pt x="2626480" y="275591"/>
                  </a:lnTo>
                  <a:lnTo>
                    <a:pt x="2641436" y="282576"/>
                  </a:lnTo>
                  <a:lnTo>
                    <a:pt x="2648437" y="285116"/>
                  </a:lnTo>
                  <a:lnTo>
                    <a:pt x="2655437" y="287656"/>
                  </a:lnTo>
                  <a:lnTo>
                    <a:pt x="2661802" y="289878"/>
                  </a:lnTo>
                  <a:lnTo>
                    <a:pt x="2668166" y="291466"/>
                  </a:lnTo>
                  <a:lnTo>
                    <a:pt x="2674212" y="292101"/>
                  </a:lnTo>
                  <a:lnTo>
                    <a:pt x="2679940" y="292736"/>
                  </a:lnTo>
                  <a:lnTo>
                    <a:pt x="2685349" y="292736"/>
                  </a:lnTo>
                  <a:lnTo>
                    <a:pt x="2690123" y="291466"/>
                  </a:lnTo>
                  <a:lnTo>
                    <a:pt x="2692350" y="290196"/>
                  </a:lnTo>
                  <a:lnTo>
                    <a:pt x="2694578" y="289561"/>
                  </a:lnTo>
                  <a:lnTo>
                    <a:pt x="2696805" y="287973"/>
                  </a:lnTo>
                  <a:lnTo>
                    <a:pt x="2698714" y="286703"/>
                  </a:lnTo>
                  <a:lnTo>
                    <a:pt x="2699987" y="297498"/>
                  </a:lnTo>
                  <a:lnTo>
                    <a:pt x="2700624" y="307341"/>
                  </a:lnTo>
                  <a:lnTo>
                    <a:pt x="2700306" y="316548"/>
                  </a:lnTo>
                  <a:lnTo>
                    <a:pt x="2699987" y="325756"/>
                  </a:lnTo>
                  <a:lnTo>
                    <a:pt x="2701578" y="323851"/>
                  </a:lnTo>
                  <a:lnTo>
                    <a:pt x="2702533" y="323533"/>
                  </a:lnTo>
                  <a:lnTo>
                    <a:pt x="2703488" y="322898"/>
                  </a:lnTo>
                  <a:lnTo>
                    <a:pt x="2704442" y="323533"/>
                  </a:lnTo>
                  <a:lnTo>
                    <a:pt x="2705715" y="324168"/>
                  </a:lnTo>
                  <a:lnTo>
                    <a:pt x="2706670" y="325438"/>
                  </a:lnTo>
                  <a:lnTo>
                    <a:pt x="2707625" y="326708"/>
                  </a:lnTo>
                  <a:lnTo>
                    <a:pt x="2709216" y="330836"/>
                  </a:lnTo>
                  <a:lnTo>
                    <a:pt x="2711125" y="336551"/>
                  </a:lnTo>
                  <a:lnTo>
                    <a:pt x="2712398" y="343218"/>
                  </a:lnTo>
                  <a:lnTo>
                    <a:pt x="2713671" y="351156"/>
                  </a:lnTo>
                  <a:lnTo>
                    <a:pt x="2714307" y="359411"/>
                  </a:lnTo>
                  <a:lnTo>
                    <a:pt x="2714625" y="368936"/>
                  </a:lnTo>
                  <a:lnTo>
                    <a:pt x="2714307" y="377826"/>
                  </a:lnTo>
                  <a:lnTo>
                    <a:pt x="2713671" y="386716"/>
                  </a:lnTo>
                  <a:lnTo>
                    <a:pt x="2712398" y="394653"/>
                  </a:lnTo>
                  <a:lnTo>
                    <a:pt x="2711125" y="401321"/>
                  </a:lnTo>
                  <a:lnTo>
                    <a:pt x="2709216" y="407036"/>
                  </a:lnTo>
                  <a:lnTo>
                    <a:pt x="2707625" y="411163"/>
                  </a:lnTo>
                  <a:lnTo>
                    <a:pt x="2706670" y="412433"/>
                  </a:lnTo>
                  <a:lnTo>
                    <a:pt x="2705715" y="413703"/>
                  </a:lnTo>
                  <a:lnTo>
                    <a:pt x="2704442" y="414338"/>
                  </a:lnTo>
                  <a:lnTo>
                    <a:pt x="2703488" y="414338"/>
                  </a:lnTo>
                  <a:lnTo>
                    <a:pt x="2702215" y="414338"/>
                  </a:lnTo>
                  <a:lnTo>
                    <a:pt x="2700942" y="413703"/>
                  </a:lnTo>
                  <a:lnTo>
                    <a:pt x="2699987" y="412116"/>
                  </a:lnTo>
                  <a:lnTo>
                    <a:pt x="2698714" y="410528"/>
                  </a:lnTo>
                  <a:lnTo>
                    <a:pt x="2696805" y="406083"/>
                  </a:lnTo>
                  <a:lnTo>
                    <a:pt x="2694896" y="400051"/>
                  </a:lnTo>
                  <a:lnTo>
                    <a:pt x="2693941" y="407988"/>
                  </a:lnTo>
                  <a:lnTo>
                    <a:pt x="2692668" y="415926"/>
                  </a:lnTo>
                  <a:lnTo>
                    <a:pt x="2691396" y="423546"/>
                  </a:lnTo>
                  <a:lnTo>
                    <a:pt x="2689168" y="430531"/>
                  </a:lnTo>
                  <a:lnTo>
                    <a:pt x="2687259" y="437833"/>
                  </a:lnTo>
                  <a:lnTo>
                    <a:pt x="2684395" y="444818"/>
                  </a:lnTo>
                  <a:lnTo>
                    <a:pt x="2681849" y="451803"/>
                  </a:lnTo>
                  <a:lnTo>
                    <a:pt x="2678985" y="458153"/>
                  </a:lnTo>
                  <a:lnTo>
                    <a:pt x="2675803" y="464503"/>
                  </a:lnTo>
                  <a:lnTo>
                    <a:pt x="2672303" y="470536"/>
                  </a:lnTo>
                  <a:lnTo>
                    <a:pt x="2669120" y="476568"/>
                  </a:lnTo>
                  <a:lnTo>
                    <a:pt x="2665302" y="481966"/>
                  </a:lnTo>
                  <a:lnTo>
                    <a:pt x="2661483" y="487363"/>
                  </a:lnTo>
                  <a:lnTo>
                    <a:pt x="2657347" y="492761"/>
                  </a:lnTo>
                  <a:lnTo>
                    <a:pt x="2653210" y="497523"/>
                  </a:lnTo>
                  <a:lnTo>
                    <a:pt x="2649073" y="501968"/>
                  </a:lnTo>
                  <a:lnTo>
                    <a:pt x="2644618" y="506413"/>
                  </a:lnTo>
                  <a:lnTo>
                    <a:pt x="2640163" y="510541"/>
                  </a:lnTo>
                  <a:lnTo>
                    <a:pt x="2635390" y="514351"/>
                  </a:lnTo>
                  <a:lnTo>
                    <a:pt x="2630935" y="518161"/>
                  </a:lnTo>
                  <a:lnTo>
                    <a:pt x="2626480" y="521653"/>
                  </a:lnTo>
                  <a:lnTo>
                    <a:pt x="2621706" y="524511"/>
                  </a:lnTo>
                  <a:lnTo>
                    <a:pt x="2616933" y="527368"/>
                  </a:lnTo>
                  <a:lnTo>
                    <a:pt x="2612160" y="529908"/>
                  </a:lnTo>
                  <a:lnTo>
                    <a:pt x="2607387" y="532131"/>
                  </a:lnTo>
                  <a:lnTo>
                    <a:pt x="2602614" y="534036"/>
                  </a:lnTo>
                  <a:lnTo>
                    <a:pt x="2597840" y="535941"/>
                  </a:lnTo>
                  <a:lnTo>
                    <a:pt x="2593385" y="536893"/>
                  </a:lnTo>
                  <a:lnTo>
                    <a:pt x="2588294" y="538163"/>
                  </a:lnTo>
                  <a:lnTo>
                    <a:pt x="2583839" y="538798"/>
                  </a:lnTo>
                  <a:lnTo>
                    <a:pt x="2579384" y="539116"/>
                  </a:lnTo>
                  <a:lnTo>
                    <a:pt x="2575247" y="539751"/>
                  </a:lnTo>
                  <a:lnTo>
                    <a:pt x="2571428" y="539116"/>
                  </a:lnTo>
                  <a:lnTo>
                    <a:pt x="2567610" y="538798"/>
                  </a:lnTo>
                  <a:lnTo>
                    <a:pt x="2563791" y="538163"/>
                  </a:lnTo>
                  <a:lnTo>
                    <a:pt x="2559654" y="536893"/>
                  </a:lnTo>
                  <a:lnTo>
                    <a:pt x="2555518" y="535623"/>
                  </a:lnTo>
                  <a:lnTo>
                    <a:pt x="2551381" y="533718"/>
                  </a:lnTo>
                  <a:lnTo>
                    <a:pt x="2542789" y="529591"/>
                  </a:lnTo>
                  <a:lnTo>
                    <a:pt x="2533879" y="523876"/>
                  </a:lnTo>
                  <a:lnTo>
                    <a:pt x="2524651" y="517526"/>
                  </a:lnTo>
                  <a:lnTo>
                    <a:pt x="2515423" y="509906"/>
                  </a:lnTo>
                  <a:lnTo>
                    <a:pt x="2506194" y="501333"/>
                  </a:lnTo>
                  <a:lnTo>
                    <a:pt x="2497603" y="491808"/>
                  </a:lnTo>
                  <a:lnTo>
                    <a:pt x="2489011" y="481648"/>
                  </a:lnTo>
                  <a:lnTo>
                    <a:pt x="2481055" y="470536"/>
                  </a:lnTo>
                  <a:lnTo>
                    <a:pt x="2473418" y="458788"/>
                  </a:lnTo>
                  <a:lnTo>
                    <a:pt x="2469600" y="452756"/>
                  </a:lnTo>
                  <a:lnTo>
                    <a:pt x="2466417" y="446406"/>
                  </a:lnTo>
                  <a:lnTo>
                    <a:pt x="2463235" y="440056"/>
                  </a:lnTo>
                  <a:lnTo>
                    <a:pt x="2460371" y="433071"/>
                  </a:lnTo>
                  <a:lnTo>
                    <a:pt x="2457507" y="426403"/>
                  </a:lnTo>
                  <a:lnTo>
                    <a:pt x="2454962" y="419418"/>
                  </a:lnTo>
                  <a:lnTo>
                    <a:pt x="2452734" y="412433"/>
                  </a:lnTo>
                  <a:lnTo>
                    <a:pt x="2450825" y="405448"/>
                  </a:lnTo>
                  <a:lnTo>
                    <a:pt x="2448916" y="409893"/>
                  </a:lnTo>
                  <a:lnTo>
                    <a:pt x="2447325" y="413703"/>
                  </a:lnTo>
                  <a:lnTo>
                    <a:pt x="2446370" y="414656"/>
                  </a:lnTo>
                  <a:lnTo>
                    <a:pt x="2445733" y="415926"/>
                  </a:lnTo>
                  <a:lnTo>
                    <a:pt x="2444461" y="416561"/>
                  </a:lnTo>
                  <a:lnTo>
                    <a:pt x="2443188" y="416561"/>
                  </a:lnTo>
                  <a:lnTo>
                    <a:pt x="2442233" y="416243"/>
                  </a:lnTo>
                  <a:lnTo>
                    <a:pt x="2440960" y="415926"/>
                  </a:lnTo>
                  <a:lnTo>
                    <a:pt x="2440006" y="414656"/>
                  </a:lnTo>
                  <a:lnTo>
                    <a:pt x="2439051" y="413386"/>
                  </a:lnTo>
                  <a:lnTo>
                    <a:pt x="2437142" y="408941"/>
                  </a:lnTo>
                  <a:lnTo>
                    <a:pt x="2435551" y="403543"/>
                  </a:lnTo>
                  <a:lnTo>
                    <a:pt x="2434278" y="396876"/>
                  </a:lnTo>
                  <a:lnTo>
                    <a:pt x="2433005" y="388938"/>
                  </a:lnTo>
                  <a:lnTo>
                    <a:pt x="2432368" y="380048"/>
                  </a:lnTo>
                  <a:lnTo>
                    <a:pt x="2432050" y="371158"/>
                  </a:lnTo>
                  <a:lnTo>
                    <a:pt x="2432368" y="361633"/>
                  </a:lnTo>
                  <a:lnTo>
                    <a:pt x="2433005" y="353061"/>
                  </a:lnTo>
                  <a:lnTo>
                    <a:pt x="2434278" y="345758"/>
                  </a:lnTo>
                  <a:lnTo>
                    <a:pt x="2435551" y="338773"/>
                  </a:lnTo>
                  <a:lnTo>
                    <a:pt x="2437142" y="333058"/>
                  </a:lnTo>
                  <a:lnTo>
                    <a:pt x="2439051" y="328931"/>
                  </a:lnTo>
                  <a:lnTo>
                    <a:pt x="2440006" y="327661"/>
                  </a:lnTo>
                  <a:lnTo>
                    <a:pt x="2440960" y="326391"/>
                  </a:lnTo>
                  <a:lnTo>
                    <a:pt x="2442233" y="325756"/>
                  </a:lnTo>
                  <a:lnTo>
                    <a:pt x="2443188" y="325438"/>
                  </a:lnTo>
                  <a:lnTo>
                    <a:pt x="2444142" y="325756"/>
                  </a:lnTo>
                  <a:lnTo>
                    <a:pt x="2444779" y="326073"/>
                  </a:lnTo>
                  <a:lnTo>
                    <a:pt x="2445097" y="314008"/>
                  </a:lnTo>
                  <a:lnTo>
                    <a:pt x="2446052" y="308293"/>
                  </a:lnTo>
                  <a:lnTo>
                    <a:pt x="2447006" y="303531"/>
                  </a:lnTo>
                  <a:lnTo>
                    <a:pt x="2446370" y="297181"/>
                  </a:lnTo>
                  <a:lnTo>
                    <a:pt x="2446052" y="291148"/>
                  </a:lnTo>
                  <a:lnTo>
                    <a:pt x="2446052" y="285433"/>
                  </a:lnTo>
                  <a:lnTo>
                    <a:pt x="2446370" y="280036"/>
                  </a:lnTo>
                  <a:lnTo>
                    <a:pt x="2446688" y="274956"/>
                  </a:lnTo>
                  <a:lnTo>
                    <a:pt x="2447325" y="270510"/>
                  </a:lnTo>
                  <a:lnTo>
                    <a:pt x="2448597" y="265748"/>
                  </a:lnTo>
                  <a:lnTo>
                    <a:pt x="2449870" y="261620"/>
                  </a:lnTo>
                  <a:lnTo>
                    <a:pt x="2451143" y="258128"/>
                  </a:lnTo>
                  <a:lnTo>
                    <a:pt x="2452734" y="254635"/>
                  </a:lnTo>
                  <a:lnTo>
                    <a:pt x="2454644" y="251143"/>
                  </a:lnTo>
                  <a:lnTo>
                    <a:pt x="2456871" y="248285"/>
                  </a:lnTo>
                  <a:lnTo>
                    <a:pt x="2459099" y="245745"/>
                  </a:lnTo>
                  <a:lnTo>
                    <a:pt x="2461326" y="242888"/>
                  </a:lnTo>
                  <a:lnTo>
                    <a:pt x="2464190" y="240665"/>
                  </a:lnTo>
                  <a:lnTo>
                    <a:pt x="2466736" y="238760"/>
                  </a:lnTo>
                  <a:lnTo>
                    <a:pt x="2454325" y="239078"/>
                  </a:lnTo>
                  <a:lnTo>
                    <a:pt x="2444779" y="239713"/>
                  </a:lnTo>
                  <a:lnTo>
                    <a:pt x="2436505" y="240030"/>
                  </a:lnTo>
                  <a:lnTo>
                    <a:pt x="2442233" y="236855"/>
                  </a:lnTo>
                  <a:lnTo>
                    <a:pt x="2448279" y="233045"/>
                  </a:lnTo>
                  <a:lnTo>
                    <a:pt x="2454007" y="228918"/>
                  </a:lnTo>
                  <a:lnTo>
                    <a:pt x="2460053" y="224473"/>
                  </a:lnTo>
                  <a:lnTo>
                    <a:pt x="2471191" y="215900"/>
                  </a:lnTo>
                  <a:lnTo>
                    <a:pt x="2476600" y="212408"/>
                  </a:lnTo>
                  <a:lnTo>
                    <a:pt x="2481374" y="209550"/>
                  </a:lnTo>
                  <a:lnTo>
                    <a:pt x="2494420" y="203200"/>
                  </a:lnTo>
                  <a:lnTo>
                    <a:pt x="2507149" y="197803"/>
                  </a:lnTo>
                  <a:lnTo>
                    <a:pt x="2519559" y="193358"/>
                  </a:lnTo>
                  <a:lnTo>
                    <a:pt x="2531652" y="189548"/>
                  </a:lnTo>
                  <a:lnTo>
                    <a:pt x="2543426" y="186690"/>
                  </a:lnTo>
                  <a:lnTo>
                    <a:pt x="2554881" y="184785"/>
                  </a:lnTo>
                  <a:lnTo>
                    <a:pt x="2565701" y="183198"/>
                  </a:lnTo>
                  <a:lnTo>
                    <a:pt x="2576838" y="182563"/>
                  </a:lnTo>
                  <a:close/>
                  <a:moveTo>
                    <a:pt x="276055" y="174625"/>
                  </a:moveTo>
                  <a:lnTo>
                    <a:pt x="283639" y="174625"/>
                  </a:lnTo>
                  <a:lnTo>
                    <a:pt x="290592" y="174942"/>
                  </a:lnTo>
                  <a:lnTo>
                    <a:pt x="297860" y="175258"/>
                  </a:lnTo>
                  <a:lnTo>
                    <a:pt x="304180" y="176208"/>
                  </a:lnTo>
                  <a:lnTo>
                    <a:pt x="310500" y="177475"/>
                  </a:lnTo>
                  <a:lnTo>
                    <a:pt x="316504" y="179059"/>
                  </a:lnTo>
                  <a:lnTo>
                    <a:pt x="322508" y="180959"/>
                  </a:lnTo>
                  <a:lnTo>
                    <a:pt x="327881" y="182859"/>
                  </a:lnTo>
                  <a:lnTo>
                    <a:pt x="332937" y="185076"/>
                  </a:lnTo>
                  <a:lnTo>
                    <a:pt x="337677" y="187293"/>
                  </a:lnTo>
                  <a:lnTo>
                    <a:pt x="346525" y="191727"/>
                  </a:lnTo>
                  <a:lnTo>
                    <a:pt x="354425" y="196161"/>
                  </a:lnTo>
                  <a:lnTo>
                    <a:pt x="360429" y="200595"/>
                  </a:lnTo>
                  <a:lnTo>
                    <a:pt x="365486" y="204713"/>
                  </a:lnTo>
                  <a:lnTo>
                    <a:pt x="368962" y="207880"/>
                  </a:lnTo>
                  <a:lnTo>
                    <a:pt x="371806" y="210730"/>
                  </a:lnTo>
                  <a:lnTo>
                    <a:pt x="370858" y="212631"/>
                  </a:lnTo>
                  <a:lnTo>
                    <a:pt x="367698" y="218331"/>
                  </a:lnTo>
                  <a:lnTo>
                    <a:pt x="365486" y="221815"/>
                  </a:lnTo>
                  <a:lnTo>
                    <a:pt x="362641" y="225616"/>
                  </a:lnTo>
                  <a:lnTo>
                    <a:pt x="359165" y="229100"/>
                  </a:lnTo>
                  <a:lnTo>
                    <a:pt x="355057" y="232900"/>
                  </a:lnTo>
                  <a:lnTo>
                    <a:pt x="350633" y="236384"/>
                  </a:lnTo>
                  <a:lnTo>
                    <a:pt x="345261" y="239234"/>
                  </a:lnTo>
                  <a:lnTo>
                    <a:pt x="342733" y="240501"/>
                  </a:lnTo>
                  <a:lnTo>
                    <a:pt x="339573" y="241135"/>
                  </a:lnTo>
                  <a:lnTo>
                    <a:pt x="336413" y="242085"/>
                  </a:lnTo>
                  <a:lnTo>
                    <a:pt x="332937" y="242718"/>
                  </a:lnTo>
                  <a:lnTo>
                    <a:pt x="329461" y="243035"/>
                  </a:lnTo>
                  <a:lnTo>
                    <a:pt x="325985" y="243035"/>
                  </a:lnTo>
                  <a:lnTo>
                    <a:pt x="322192" y="242718"/>
                  </a:lnTo>
                  <a:lnTo>
                    <a:pt x="318084" y="242085"/>
                  </a:lnTo>
                  <a:lnTo>
                    <a:pt x="313976" y="240818"/>
                  </a:lnTo>
                  <a:lnTo>
                    <a:pt x="309868" y="239234"/>
                  </a:lnTo>
                  <a:lnTo>
                    <a:pt x="304812" y="237334"/>
                  </a:lnTo>
                  <a:lnTo>
                    <a:pt x="302252" y="236418"/>
                  </a:lnTo>
                  <a:lnTo>
                    <a:pt x="289644" y="230366"/>
                  </a:lnTo>
                  <a:lnTo>
                    <a:pt x="294700" y="232900"/>
                  </a:lnTo>
                  <a:lnTo>
                    <a:pt x="300388" y="235751"/>
                  </a:lnTo>
                  <a:lnTo>
                    <a:pt x="302252" y="236418"/>
                  </a:lnTo>
                  <a:lnTo>
                    <a:pt x="312080" y="241135"/>
                  </a:lnTo>
                  <a:lnTo>
                    <a:pt x="322508" y="246202"/>
                  </a:lnTo>
                  <a:lnTo>
                    <a:pt x="332305" y="250003"/>
                  </a:lnTo>
                  <a:lnTo>
                    <a:pt x="337045" y="251270"/>
                  </a:lnTo>
                  <a:lnTo>
                    <a:pt x="341469" y="252536"/>
                  </a:lnTo>
                  <a:lnTo>
                    <a:pt x="345577" y="253170"/>
                  </a:lnTo>
                  <a:lnTo>
                    <a:pt x="349685" y="253487"/>
                  </a:lnTo>
                  <a:lnTo>
                    <a:pt x="353477" y="253170"/>
                  </a:lnTo>
                  <a:lnTo>
                    <a:pt x="357269" y="252536"/>
                  </a:lnTo>
                  <a:lnTo>
                    <a:pt x="360745" y="251270"/>
                  </a:lnTo>
                  <a:lnTo>
                    <a:pt x="363589" y="249053"/>
                  </a:lnTo>
                  <a:lnTo>
                    <a:pt x="364538" y="256970"/>
                  </a:lnTo>
                  <a:lnTo>
                    <a:pt x="364854" y="263621"/>
                  </a:lnTo>
                  <a:lnTo>
                    <a:pt x="364538" y="270589"/>
                  </a:lnTo>
                  <a:lnTo>
                    <a:pt x="363905" y="277240"/>
                  </a:lnTo>
                  <a:lnTo>
                    <a:pt x="365486" y="275657"/>
                  </a:lnTo>
                  <a:lnTo>
                    <a:pt x="366750" y="275340"/>
                  </a:lnTo>
                  <a:lnTo>
                    <a:pt x="367382" y="275657"/>
                  </a:lnTo>
                  <a:lnTo>
                    <a:pt x="368014" y="275973"/>
                  </a:lnTo>
                  <a:lnTo>
                    <a:pt x="369594" y="277874"/>
                  </a:lnTo>
                  <a:lnTo>
                    <a:pt x="371174" y="281041"/>
                  </a:lnTo>
                  <a:lnTo>
                    <a:pt x="372122" y="285158"/>
                  </a:lnTo>
                  <a:lnTo>
                    <a:pt x="373386" y="289909"/>
                  </a:lnTo>
                  <a:lnTo>
                    <a:pt x="373702" y="295293"/>
                  </a:lnTo>
                  <a:lnTo>
                    <a:pt x="374650" y="301627"/>
                  </a:lnTo>
                  <a:lnTo>
                    <a:pt x="374650" y="307961"/>
                  </a:lnTo>
                  <a:lnTo>
                    <a:pt x="374650" y="314612"/>
                  </a:lnTo>
                  <a:lnTo>
                    <a:pt x="373702" y="320630"/>
                  </a:lnTo>
                  <a:lnTo>
                    <a:pt x="373386" y="326331"/>
                  </a:lnTo>
                  <a:lnTo>
                    <a:pt x="372122" y="331398"/>
                  </a:lnTo>
                  <a:lnTo>
                    <a:pt x="371174" y="335515"/>
                  </a:lnTo>
                  <a:lnTo>
                    <a:pt x="369594" y="338366"/>
                  </a:lnTo>
                  <a:lnTo>
                    <a:pt x="368014" y="340266"/>
                  </a:lnTo>
                  <a:lnTo>
                    <a:pt x="367382" y="340583"/>
                  </a:lnTo>
                  <a:lnTo>
                    <a:pt x="366750" y="340583"/>
                  </a:lnTo>
                  <a:lnTo>
                    <a:pt x="365802" y="340583"/>
                  </a:lnTo>
                  <a:lnTo>
                    <a:pt x="364854" y="340266"/>
                  </a:lnTo>
                  <a:lnTo>
                    <a:pt x="363273" y="338049"/>
                  </a:lnTo>
                  <a:lnTo>
                    <a:pt x="362009" y="334565"/>
                  </a:lnTo>
                  <a:lnTo>
                    <a:pt x="360745" y="330448"/>
                  </a:lnTo>
                  <a:lnTo>
                    <a:pt x="359797" y="336149"/>
                  </a:lnTo>
                  <a:lnTo>
                    <a:pt x="359165" y="341850"/>
                  </a:lnTo>
                  <a:lnTo>
                    <a:pt x="357901" y="346917"/>
                  </a:lnTo>
                  <a:lnTo>
                    <a:pt x="356637" y="352301"/>
                  </a:lnTo>
                  <a:lnTo>
                    <a:pt x="353161" y="362436"/>
                  </a:lnTo>
                  <a:lnTo>
                    <a:pt x="349053" y="372254"/>
                  </a:lnTo>
                  <a:lnTo>
                    <a:pt x="344629" y="380806"/>
                  </a:lnTo>
                  <a:lnTo>
                    <a:pt x="339257" y="389040"/>
                  </a:lnTo>
                  <a:lnTo>
                    <a:pt x="333569" y="396641"/>
                  </a:lnTo>
                  <a:lnTo>
                    <a:pt x="327881" y="403609"/>
                  </a:lnTo>
                  <a:lnTo>
                    <a:pt x="321876" y="409626"/>
                  </a:lnTo>
                  <a:lnTo>
                    <a:pt x="314924" y="415011"/>
                  </a:lnTo>
                  <a:lnTo>
                    <a:pt x="308288" y="419761"/>
                  </a:lnTo>
                  <a:lnTo>
                    <a:pt x="301652" y="423562"/>
                  </a:lnTo>
                  <a:lnTo>
                    <a:pt x="294700" y="426412"/>
                  </a:lnTo>
                  <a:lnTo>
                    <a:pt x="288064" y="428629"/>
                  </a:lnTo>
                  <a:lnTo>
                    <a:pt x="281427" y="429896"/>
                  </a:lnTo>
                  <a:lnTo>
                    <a:pt x="275107" y="430213"/>
                  </a:lnTo>
                  <a:lnTo>
                    <a:pt x="272579" y="430213"/>
                  </a:lnTo>
                  <a:lnTo>
                    <a:pt x="269735" y="429896"/>
                  </a:lnTo>
                  <a:lnTo>
                    <a:pt x="264047" y="428313"/>
                  </a:lnTo>
                  <a:lnTo>
                    <a:pt x="258043" y="426096"/>
                  </a:lnTo>
                  <a:lnTo>
                    <a:pt x="252039" y="423245"/>
                  </a:lnTo>
                  <a:lnTo>
                    <a:pt x="245719" y="419128"/>
                  </a:lnTo>
                  <a:lnTo>
                    <a:pt x="239082" y="414377"/>
                  </a:lnTo>
                  <a:lnTo>
                    <a:pt x="232762" y="408993"/>
                  </a:lnTo>
                  <a:lnTo>
                    <a:pt x="225810" y="402975"/>
                  </a:lnTo>
                  <a:lnTo>
                    <a:pt x="219806" y="396008"/>
                  </a:lnTo>
                  <a:lnTo>
                    <a:pt x="213486" y="389040"/>
                  </a:lnTo>
                  <a:lnTo>
                    <a:pt x="208114" y="380806"/>
                  </a:lnTo>
                  <a:lnTo>
                    <a:pt x="202741" y="372571"/>
                  </a:lnTo>
                  <a:lnTo>
                    <a:pt x="197369" y="363386"/>
                  </a:lnTo>
                  <a:lnTo>
                    <a:pt x="193261" y="354202"/>
                  </a:lnTo>
                  <a:lnTo>
                    <a:pt x="189785" y="344383"/>
                  </a:lnTo>
                  <a:lnTo>
                    <a:pt x="186309" y="334249"/>
                  </a:lnTo>
                  <a:lnTo>
                    <a:pt x="185045" y="337732"/>
                  </a:lnTo>
                  <a:lnTo>
                    <a:pt x="184097" y="340266"/>
                  </a:lnTo>
                  <a:lnTo>
                    <a:pt x="182517" y="341850"/>
                  </a:lnTo>
                  <a:lnTo>
                    <a:pt x="181885" y="342166"/>
                  </a:lnTo>
                  <a:lnTo>
                    <a:pt x="180937" y="342483"/>
                  </a:lnTo>
                  <a:lnTo>
                    <a:pt x="180305" y="342166"/>
                  </a:lnTo>
                  <a:lnTo>
                    <a:pt x="179673" y="341850"/>
                  </a:lnTo>
                  <a:lnTo>
                    <a:pt x="178093" y="339949"/>
                  </a:lnTo>
                  <a:lnTo>
                    <a:pt x="176829" y="336782"/>
                  </a:lnTo>
                  <a:lnTo>
                    <a:pt x="175565" y="332665"/>
                  </a:lnTo>
                  <a:lnTo>
                    <a:pt x="174617" y="327914"/>
                  </a:lnTo>
                  <a:lnTo>
                    <a:pt x="173985" y="322213"/>
                  </a:lnTo>
                  <a:lnTo>
                    <a:pt x="173669" y="316196"/>
                  </a:lnTo>
                  <a:lnTo>
                    <a:pt x="173037" y="309545"/>
                  </a:lnTo>
                  <a:lnTo>
                    <a:pt x="173669" y="303211"/>
                  </a:lnTo>
                  <a:lnTo>
                    <a:pt x="173985" y="296876"/>
                  </a:lnTo>
                  <a:lnTo>
                    <a:pt x="174617" y="291492"/>
                  </a:lnTo>
                  <a:lnTo>
                    <a:pt x="175565" y="286742"/>
                  </a:lnTo>
                  <a:lnTo>
                    <a:pt x="176829" y="282624"/>
                  </a:lnTo>
                  <a:lnTo>
                    <a:pt x="178093" y="279457"/>
                  </a:lnTo>
                  <a:lnTo>
                    <a:pt x="179673" y="277557"/>
                  </a:lnTo>
                  <a:lnTo>
                    <a:pt x="180305" y="277240"/>
                  </a:lnTo>
                  <a:lnTo>
                    <a:pt x="180937" y="276923"/>
                  </a:lnTo>
                  <a:lnTo>
                    <a:pt x="182201" y="277240"/>
                  </a:lnTo>
                  <a:lnTo>
                    <a:pt x="182517" y="268689"/>
                  </a:lnTo>
                  <a:lnTo>
                    <a:pt x="182833" y="264888"/>
                  </a:lnTo>
                  <a:lnTo>
                    <a:pt x="183781" y="261088"/>
                  </a:lnTo>
                  <a:lnTo>
                    <a:pt x="183149" y="252536"/>
                  </a:lnTo>
                  <a:lnTo>
                    <a:pt x="183149" y="244619"/>
                  </a:lnTo>
                  <a:lnTo>
                    <a:pt x="184097" y="237334"/>
                  </a:lnTo>
                  <a:lnTo>
                    <a:pt x="185993" y="231633"/>
                  </a:lnTo>
                  <a:lnTo>
                    <a:pt x="187889" y="226249"/>
                  </a:lnTo>
                  <a:lnTo>
                    <a:pt x="189153" y="223716"/>
                  </a:lnTo>
                  <a:lnTo>
                    <a:pt x="190733" y="221815"/>
                  </a:lnTo>
                  <a:lnTo>
                    <a:pt x="192313" y="219915"/>
                  </a:lnTo>
                  <a:lnTo>
                    <a:pt x="194209" y="218015"/>
                  </a:lnTo>
                  <a:lnTo>
                    <a:pt x="198001" y="214848"/>
                  </a:lnTo>
                  <a:lnTo>
                    <a:pt x="188837" y="214848"/>
                  </a:lnTo>
                  <a:lnTo>
                    <a:pt x="182201" y="215481"/>
                  </a:lnTo>
                  <a:lnTo>
                    <a:pt x="176197" y="215798"/>
                  </a:lnTo>
                  <a:lnTo>
                    <a:pt x="180305" y="213581"/>
                  </a:lnTo>
                  <a:lnTo>
                    <a:pt x="184413" y="210730"/>
                  </a:lnTo>
                  <a:lnTo>
                    <a:pt x="192945" y="204396"/>
                  </a:lnTo>
                  <a:lnTo>
                    <a:pt x="200845" y="198378"/>
                  </a:lnTo>
                  <a:lnTo>
                    <a:pt x="204638" y="195845"/>
                  </a:lnTo>
                  <a:lnTo>
                    <a:pt x="208430" y="193944"/>
                  </a:lnTo>
                  <a:lnTo>
                    <a:pt x="217594" y="189510"/>
                  </a:lnTo>
                  <a:lnTo>
                    <a:pt x="226758" y="185393"/>
                  </a:lnTo>
                  <a:lnTo>
                    <a:pt x="235606" y="182226"/>
                  </a:lnTo>
                  <a:lnTo>
                    <a:pt x="244139" y="179692"/>
                  </a:lnTo>
                  <a:lnTo>
                    <a:pt x="252355" y="177475"/>
                  </a:lnTo>
                  <a:lnTo>
                    <a:pt x="260887" y="175892"/>
                  </a:lnTo>
                  <a:lnTo>
                    <a:pt x="268471" y="175258"/>
                  </a:lnTo>
                  <a:lnTo>
                    <a:pt x="276055" y="174625"/>
                  </a:lnTo>
                  <a:close/>
                  <a:moveTo>
                    <a:pt x="1800062" y="0"/>
                  </a:moveTo>
                  <a:lnTo>
                    <a:pt x="1805766" y="0"/>
                  </a:lnTo>
                  <a:lnTo>
                    <a:pt x="1811153" y="634"/>
                  </a:lnTo>
                  <a:lnTo>
                    <a:pt x="1816857" y="951"/>
                  </a:lnTo>
                  <a:lnTo>
                    <a:pt x="1822244" y="1585"/>
                  </a:lnTo>
                  <a:lnTo>
                    <a:pt x="1826997" y="2853"/>
                  </a:lnTo>
                  <a:lnTo>
                    <a:pt x="1831750" y="3804"/>
                  </a:lnTo>
                  <a:lnTo>
                    <a:pt x="1840939" y="6974"/>
                  </a:lnTo>
                  <a:lnTo>
                    <a:pt x="1848861" y="10144"/>
                  </a:lnTo>
                  <a:lnTo>
                    <a:pt x="1855832" y="13948"/>
                  </a:lnTo>
                  <a:lnTo>
                    <a:pt x="1861853" y="17435"/>
                  </a:lnTo>
                  <a:lnTo>
                    <a:pt x="1866923" y="21239"/>
                  </a:lnTo>
                  <a:lnTo>
                    <a:pt x="1870408" y="24092"/>
                  </a:lnTo>
                  <a:lnTo>
                    <a:pt x="1873577" y="26628"/>
                  </a:lnTo>
                  <a:lnTo>
                    <a:pt x="1875795" y="29164"/>
                  </a:lnTo>
                  <a:lnTo>
                    <a:pt x="1875161" y="30432"/>
                  </a:lnTo>
                  <a:lnTo>
                    <a:pt x="1872626" y="35187"/>
                  </a:lnTo>
                  <a:lnTo>
                    <a:pt x="1871042" y="37723"/>
                  </a:lnTo>
                  <a:lnTo>
                    <a:pt x="1868507" y="40576"/>
                  </a:lnTo>
                  <a:lnTo>
                    <a:pt x="1865655" y="43747"/>
                  </a:lnTo>
                  <a:lnTo>
                    <a:pt x="1862803" y="46600"/>
                  </a:lnTo>
                  <a:lnTo>
                    <a:pt x="1859001" y="49453"/>
                  </a:lnTo>
                  <a:lnTo>
                    <a:pt x="1854881" y="51672"/>
                  </a:lnTo>
                  <a:lnTo>
                    <a:pt x="1850128" y="53574"/>
                  </a:lnTo>
                  <a:lnTo>
                    <a:pt x="1845058" y="54208"/>
                  </a:lnTo>
                  <a:lnTo>
                    <a:pt x="1842523" y="54525"/>
                  </a:lnTo>
                  <a:lnTo>
                    <a:pt x="1839355" y="54525"/>
                  </a:lnTo>
                  <a:lnTo>
                    <a:pt x="1836503" y="54208"/>
                  </a:lnTo>
                  <a:lnTo>
                    <a:pt x="1833017" y="53891"/>
                  </a:lnTo>
                  <a:lnTo>
                    <a:pt x="1829532" y="52940"/>
                  </a:lnTo>
                  <a:lnTo>
                    <a:pt x="1826363" y="51989"/>
                  </a:lnTo>
                  <a:lnTo>
                    <a:pt x="1822877" y="50404"/>
                  </a:lnTo>
                  <a:lnTo>
                    <a:pt x="1819075" y="48502"/>
                  </a:lnTo>
                  <a:lnTo>
                    <a:pt x="1814639" y="46600"/>
                  </a:lnTo>
                  <a:lnTo>
                    <a:pt x="1810202" y="44381"/>
                  </a:lnTo>
                  <a:lnTo>
                    <a:pt x="1828264" y="53574"/>
                  </a:lnTo>
                  <a:lnTo>
                    <a:pt x="1836503" y="57061"/>
                  </a:lnTo>
                  <a:lnTo>
                    <a:pt x="1844742" y="60231"/>
                  </a:lnTo>
                  <a:lnTo>
                    <a:pt x="1847910" y="61182"/>
                  </a:lnTo>
                  <a:lnTo>
                    <a:pt x="1851713" y="62133"/>
                  </a:lnTo>
                  <a:lnTo>
                    <a:pt x="1855198" y="62767"/>
                  </a:lnTo>
                  <a:lnTo>
                    <a:pt x="1858367" y="62767"/>
                  </a:lnTo>
                  <a:lnTo>
                    <a:pt x="1861536" y="62767"/>
                  </a:lnTo>
                  <a:lnTo>
                    <a:pt x="1864071" y="62133"/>
                  </a:lnTo>
                  <a:lnTo>
                    <a:pt x="1866923" y="60865"/>
                  </a:lnTo>
                  <a:lnTo>
                    <a:pt x="1869458" y="59597"/>
                  </a:lnTo>
                  <a:lnTo>
                    <a:pt x="1869775" y="65303"/>
                  </a:lnTo>
                  <a:lnTo>
                    <a:pt x="1870091" y="71009"/>
                  </a:lnTo>
                  <a:lnTo>
                    <a:pt x="1870091" y="76398"/>
                  </a:lnTo>
                  <a:lnTo>
                    <a:pt x="1869775" y="81470"/>
                  </a:lnTo>
                  <a:lnTo>
                    <a:pt x="1870408" y="80836"/>
                  </a:lnTo>
                  <a:lnTo>
                    <a:pt x="1871676" y="80519"/>
                  </a:lnTo>
                  <a:lnTo>
                    <a:pt x="1872310" y="80519"/>
                  </a:lnTo>
                  <a:lnTo>
                    <a:pt x="1872626" y="80836"/>
                  </a:lnTo>
                  <a:lnTo>
                    <a:pt x="1874211" y="82421"/>
                  </a:lnTo>
                  <a:lnTo>
                    <a:pt x="1875161" y="84640"/>
                  </a:lnTo>
                  <a:lnTo>
                    <a:pt x="1876112" y="88127"/>
                  </a:lnTo>
                  <a:lnTo>
                    <a:pt x="1877063" y="91614"/>
                  </a:lnTo>
                  <a:lnTo>
                    <a:pt x="1877696" y="96369"/>
                  </a:lnTo>
                  <a:lnTo>
                    <a:pt x="1878013" y="101124"/>
                  </a:lnTo>
                  <a:lnTo>
                    <a:pt x="1878013" y="106513"/>
                  </a:lnTo>
                  <a:lnTo>
                    <a:pt x="1878013" y="111586"/>
                  </a:lnTo>
                  <a:lnTo>
                    <a:pt x="1877696" y="116658"/>
                  </a:lnTo>
                  <a:lnTo>
                    <a:pt x="1877063" y="120779"/>
                  </a:lnTo>
                  <a:lnTo>
                    <a:pt x="1876112" y="124900"/>
                  </a:lnTo>
                  <a:lnTo>
                    <a:pt x="1875161" y="127753"/>
                  </a:lnTo>
                  <a:lnTo>
                    <a:pt x="1874211" y="129972"/>
                  </a:lnTo>
                  <a:lnTo>
                    <a:pt x="1872626" y="131874"/>
                  </a:lnTo>
                  <a:lnTo>
                    <a:pt x="1872310" y="132191"/>
                  </a:lnTo>
                  <a:lnTo>
                    <a:pt x="1871676" y="132191"/>
                  </a:lnTo>
                  <a:lnTo>
                    <a:pt x="1871042" y="132191"/>
                  </a:lnTo>
                  <a:lnTo>
                    <a:pt x="1870091" y="131557"/>
                  </a:lnTo>
                  <a:lnTo>
                    <a:pt x="1869141" y="129972"/>
                  </a:lnTo>
                  <a:lnTo>
                    <a:pt x="1867873" y="127436"/>
                  </a:lnTo>
                  <a:lnTo>
                    <a:pt x="1867240" y="123949"/>
                  </a:lnTo>
                  <a:lnTo>
                    <a:pt x="1865655" y="133142"/>
                  </a:lnTo>
                  <a:lnTo>
                    <a:pt x="1863754" y="141384"/>
                  </a:lnTo>
                  <a:lnTo>
                    <a:pt x="1861219" y="149626"/>
                  </a:lnTo>
                  <a:lnTo>
                    <a:pt x="1857733" y="156917"/>
                  </a:lnTo>
                  <a:lnTo>
                    <a:pt x="1853931" y="164208"/>
                  </a:lnTo>
                  <a:lnTo>
                    <a:pt x="1850128" y="170548"/>
                  </a:lnTo>
                  <a:lnTo>
                    <a:pt x="1845692" y="176571"/>
                  </a:lnTo>
                  <a:lnTo>
                    <a:pt x="1840939" y="181961"/>
                  </a:lnTo>
                  <a:lnTo>
                    <a:pt x="1835869" y="186716"/>
                  </a:lnTo>
                  <a:lnTo>
                    <a:pt x="1830799" y="191154"/>
                  </a:lnTo>
                  <a:lnTo>
                    <a:pt x="1825412" y="194958"/>
                  </a:lnTo>
                  <a:lnTo>
                    <a:pt x="1820025" y="198128"/>
                  </a:lnTo>
                  <a:lnTo>
                    <a:pt x="1814639" y="200347"/>
                  </a:lnTo>
                  <a:lnTo>
                    <a:pt x="1809252" y="202249"/>
                  </a:lnTo>
                  <a:lnTo>
                    <a:pt x="1804182" y="202883"/>
                  </a:lnTo>
                  <a:lnTo>
                    <a:pt x="1798795" y="203200"/>
                  </a:lnTo>
                  <a:lnTo>
                    <a:pt x="1794676" y="202883"/>
                  </a:lnTo>
                  <a:lnTo>
                    <a:pt x="1790239" y="201615"/>
                  </a:lnTo>
                  <a:lnTo>
                    <a:pt x="1785486" y="200347"/>
                  </a:lnTo>
                  <a:lnTo>
                    <a:pt x="1780416" y="197494"/>
                  </a:lnTo>
                  <a:lnTo>
                    <a:pt x="1775663" y="194641"/>
                  </a:lnTo>
                  <a:lnTo>
                    <a:pt x="1770276" y="190837"/>
                  </a:lnTo>
                  <a:lnTo>
                    <a:pt x="1765206" y="186399"/>
                  </a:lnTo>
                  <a:lnTo>
                    <a:pt x="1759819" y="181327"/>
                  </a:lnTo>
                  <a:lnTo>
                    <a:pt x="1755066" y="176254"/>
                  </a:lnTo>
                  <a:lnTo>
                    <a:pt x="1749996" y="170548"/>
                  </a:lnTo>
                  <a:lnTo>
                    <a:pt x="1745560" y="164208"/>
                  </a:lnTo>
                  <a:lnTo>
                    <a:pt x="1741124" y="157551"/>
                  </a:lnTo>
                  <a:lnTo>
                    <a:pt x="1737321" y="150260"/>
                  </a:lnTo>
                  <a:lnTo>
                    <a:pt x="1733836" y="142652"/>
                  </a:lnTo>
                  <a:lnTo>
                    <a:pt x="1730984" y="135044"/>
                  </a:lnTo>
                  <a:lnTo>
                    <a:pt x="1728449" y="127119"/>
                  </a:lnTo>
                  <a:lnTo>
                    <a:pt x="1727498" y="129655"/>
                  </a:lnTo>
                  <a:lnTo>
                    <a:pt x="1726548" y="131874"/>
                  </a:lnTo>
                  <a:lnTo>
                    <a:pt x="1725280" y="133142"/>
                  </a:lnTo>
                  <a:lnTo>
                    <a:pt x="1724330" y="133459"/>
                  </a:lnTo>
                  <a:lnTo>
                    <a:pt x="1723379" y="133459"/>
                  </a:lnTo>
                  <a:lnTo>
                    <a:pt x="1723062" y="133142"/>
                  </a:lnTo>
                  <a:lnTo>
                    <a:pt x="1721795" y="131557"/>
                  </a:lnTo>
                  <a:lnTo>
                    <a:pt x="1720844" y="129021"/>
                  </a:lnTo>
                  <a:lnTo>
                    <a:pt x="1719576" y="125851"/>
                  </a:lnTo>
                  <a:lnTo>
                    <a:pt x="1718943" y="122047"/>
                  </a:lnTo>
                  <a:lnTo>
                    <a:pt x="1718626" y="117609"/>
                  </a:lnTo>
                  <a:lnTo>
                    <a:pt x="1718309" y="112854"/>
                  </a:lnTo>
                  <a:lnTo>
                    <a:pt x="1717675" y="107464"/>
                  </a:lnTo>
                  <a:lnTo>
                    <a:pt x="1718309" y="102392"/>
                  </a:lnTo>
                  <a:lnTo>
                    <a:pt x="1718626" y="97320"/>
                  </a:lnTo>
                  <a:lnTo>
                    <a:pt x="1718943" y="92882"/>
                  </a:lnTo>
                  <a:lnTo>
                    <a:pt x="1719576" y="89078"/>
                  </a:lnTo>
                  <a:lnTo>
                    <a:pt x="1720844" y="86225"/>
                  </a:lnTo>
                  <a:lnTo>
                    <a:pt x="1721795" y="83372"/>
                  </a:lnTo>
                  <a:lnTo>
                    <a:pt x="1723062" y="82104"/>
                  </a:lnTo>
                  <a:lnTo>
                    <a:pt x="1723379" y="81470"/>
                  </a:lnTo>
                  <a:lnTo>
                    <a:pt x="1724330" y="81470"/>
                  </a:lnTo>
                  <a:lnTo>
                    <a:pt x="1724963" y="82104"/>
                  </a:lnTo>
                  <a:lnTo>
                    <a:pt x="1725280" y="75130"/>
                  </a:lnTo>
                  <a:lnTo>
                    <a:pt x="1726548" y="69107"/>
                  </a:lnTo>
                  <a:lnTo>
                    <a:pt x="1725597" y="62133"/>
                  </a:lnTo>
                  <a:lnTo>
                    <a:pt x="1725914" y="55793"/>
                  </a:lnTo>
                  <a:lnTo>
                    <a:pt x="1726865" y="50087"/>
                  </a:lnTo>
                  <a:lnTo>
                    <a:pt x="1727815" y="45649"/>
                  </a:lnTo>
                  <a:lnTo>
                    <a:pt x="1729400" y="40893"/>
                  </a:lnTo>
                  <a:lnTo>
                    <a:pt x="1731618" y="37723"/>
                  </a:lnTo>
                  <a:lnTo>
                    <a:pt x="1734153" y="34553"/>
                  </a:lnTo>
                  <a:lnTo>
                    <a:pt x="1737638" y="32334"/>
                  </a:lnTo>
                  <a:lnTo>
                    <a:pt x="1724963" y="32651"/>
                  </a:lnTo>
                  <a:lnTo>
                    <a:pt x="1720527" y="32651"/>
                  </a:lnTo>
                  <a:lnTo>
                    <a:pt x="1723379" y="31383"/>
                  </a:lnTo>
                  <a:lnTo>
                    <a:pt x="1726865" y="29164"/>
                  </a:lnTo>
                  <a:lnTo>
                    <a:pt x="1733519" y="24092"/>
                  </a:lnTo>
                  <a:lnTo>
                    <a:pt x="1739856" y="19337"/>
                  </a:lnTo>
                  <a:lnTo>
                    <a:pt x="1743025" y="17435"/>
                  </a:lnTo>
                  <a:lnTo>
                    <a:pt x="1745560" y="15533"/>
                  </a:lnTo>
                  <a:lnTo>
                    <a:pt x="1753165" y="12046"/>
                  </a:lnTo>
                  <a:lnTo>
                    <a:pt x="1760453" y="9193"/>
                  </a:lnTo>
                  <a:lnTo>
                    <a:pt x="1767424" y="6657"/>
                  </a:lnTo>
                  <a:lnTo>
                    <a:pt x="1774396" y="4121"/>
                  </a:lnTo>
                  <a:lnTo>
                    <a:pt x="1780733" y="2853"/>
                  </a:lnTo>
                  <a:lnTo>
                    <a:pt x="1787704" y="1585"/>
                  </a:lnTo>
                  <a:lnTo>
                    <a:pt x="1793725" y="951"/>
                  </a:lnTo>
                  <a:lnTo>
                    <a:pt x="1800062" y="0"/>
                  </a:lnTo>
                  <a:close/>
                </a:path>
              </a:pathLst>
            </a:custGeom>
            <a:solidFill>
              <a:srgbClr val="FFFFFF">
                <a:lumMod val="50000"/>
              </a:srgbClr>
            </a:solidFill>
            <a:ln>
              <a:solidFill>
                <a:srgbClr val="FFFFFF">
                  <a:lumMod val="50000"/>
                </a:srgbClr>
              </a:solidFill>
            </a:ln>
          </p:spPr>
          <p:txBody>
            <a:bodyPr anchor="ctr">
              <a:scene3d>
                <a:camera prst="orthographicFront"/>
                <a:lightRig rig="threePt" dir="t"/>
              </a:scene3d>
              <a:sp3d>
                <a:contourClr>
                  <a:srgbClr val="FFFFFF"/>
                </a:contourClr>
              </a:sp3d>
            </a:bodyPr>
            <a:lstStyle/>
            <a:p>
              <a:pPr algn="ctr" defTabSz="911225">
                <a:defRPr/>
              </a:pPr>
              <a:endParaRPr lang="zh-CN" altLang="en-US" sz="1600" kern="0">
                <a:solidFill>
                  <a:prstClr val="white">
                    <a:lumMod val="65000"/>
                  </a:prstClr>
                </a:solidFill>
              </a:endParaRPr>
            </a:p>
          </p:txBody>
        </p:sp>
        <p:pic>
          <p:nvPicPr>
            <p:cNvPr id="280" name="图片 122"/>
            <p:cNvPicPr>
              <a:picLocks noChangeAspect="1"/>
            </p:cNvPicPr>
            <p:nvPr/>
          </p:nvPicPr>
          <p:blipFill>
            <a:blip r:embed="rId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1301" y="1160019"/>
              <a:ext cx="173312" cy="1861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81" name="组合 123"/>
          <p:cNvGrpSpPr/>
          <p:nvPr/>
        </p:nvGrpSpPr>
        <p:grpSpPr bwMode="auto">
          <a:xfrm>
            <a:off x="5062539" y="1325564"/>
            <a:ext cx="236537" cy="282575"/>
            <a:chOff x="2696030" y="1160019"/>
            <a:chExt cx="378794" cy="416640"/>
          </a:xfrm>
        </p:grpSpPr>
        <p:sp>
          <p:nvSpPr>
            <p:cNvPr id="282" name="KSO_Shape"/>
            <p:cNvSpPr/>
            <p:nvPr/>
          </p:nvSpPr>
          <p:spPr bwMode="auto">
            <a:xfrm>
              <a:off x="2696030" y="1270030"/>
              <a:ext cx="378794" cy="306629"/>
            </a:xfrm>
            <a:custGeom>
              <a:avLst/>
              <a:gdLst>
                <a:gd name="T0" fmla="*/ 859152 w 2887663"/>
                <a:gd name="T1" fmla="*/ 1613541 h 2762250"/>
                <a:gd name="T2" fmla="*/ 660904 w 2887663"/>
                <a:gd name="T3" fmla="*/ 1631599 h 2762250"/>
                <a:gd name="T4" fmla="*/ 582760 w 2887663"/>
                <a:gd name="T5" fmla="*/ 1615068 h 2762250"/>
                <a:gd name="T6" fmla="*/ 995462 w 2887663"/>
                <a:gd name="T7" fmla="*/ 1633083 h 2762250"/>
                <a:gd name="T8" fmla="*/ 794773 w 2887663"/>
                <a:gd name="T9" fmla="*/ 1314259 h 2762250"/>
                <a:gd name="T10" fmla="*/ 610807 w 2887663"/>
                <a:gd name="T11" fmla="*/ 1237111 h 2762250"/>
                <a:gd name="T12" fmla="*/ 1010000 w 2887663"/>
                <a:gd name="T13" fmla="*/ 1258119 h 2762250"/>
                <a:gd name="T14" fmla="*/ 971706 w 2887663"/>
                <a:gd name="T15" fmla="*/ 1228164 h 2762250"/>
                <a:gd name="T16" fmla="*/ 1592768 w 2887663"/>
                <a:gd name="T17" fmla="*/ 1051361 h 2762250"/>
                <a:gd name="T18" fmla="*/ 1541332 w 2887663"/>
                <a:gd name="T19" fmla="*/ 1069171 h 2762250"/>
                <a:gd name="T20" fmla="*/ 1858757 w 2887663"/>
                <a:gd name="T21" fmla="*/ 1072313 h 2762250"/>
                <a:gd name="T22" fmla="*/ 1791171 w 2887663"/>
                <a:gd name="T23" fmla="*/ 1051365 h 2762250"/>
                <a:gd name="T24" fmla="*/ 1711030 w 2887663"/>
                <a:gd name="T25" fmla="*/ 968622 h 2762250"/>
                <a:gd name="T26" fmla="*/ 151645 w 2887663"/>
                <a:gd name="T27" fmla="*/ 762046 h 2762250"/>
                <a:gd name="T28" fmla="*/ 981201 w 2887663"/>
                <a:gd name="T29" fmla="*/ 768990 h 2762250"/>
                <a:gd name="T30" fmla="*/ 971764 w 2887663"/>
                <a:gd name="T31" fmla="*/ 1009888 h 2762250"/>
                <a:gd name="T32" fmla="*/ 1026917 w 2887663"/>
                <a:gd name="T33" fmla="*/ 1583646 h 2762250"/>
                <a:gd name="T34" fmla="*/ 718440 w 2887663"/>
                <a:gd name="T35" fmla="*/ 1721482 h 2762250"/>
                <a:gd name="T36" fmla="*/ 610651 w 2887663"/>
                <a:gd name="T37" fmla="*/ 1478698 h 2762250"/>
                <a:gd name="T38" fmla="*/ 560741 w 2887663"/>
                <a:gd name="T39" fmla="*/ 1185640 h 2762250"/>
                <a:gd name="T40" fmla="*/ 815324 w 2887663"/>
                <a:gd name="T41" fmla="*/ 771713 h 2762250"/>
                <a:gd name="T42" fmla="*/ 136146 w 2887663"/>
                <a:gd name="T43" fmla="*/ 816029 h 2762250"/>
                <a:gd name="T44" fmla="*/ 1067177 w 2887663"/>
                <a:gd name="T45" fmla="*/ 813407 h 2762250"/>
                <a:gd name="T46" fmla="*/ 1528817 w 2887663"/>
                <a:gd name="T47" fmla="*/ 756426 h 2762250"/>
                <a:gd name="T48" fmla="*/ 1840906 w 2887663"/>
                <a:gd name="T49" fmla="*/ 737034 h 2762250"/>
                <a:gd name="T50" fmla="*/ 1292342 w 2887663"/>
                <a:gd name="T51" fmla="*/ 568311 h 2762250"/>
                <a:gd name="T52" fmla="*/ 47127 w 2887663"/>
                <a:gd name="T53" fmla="*/ 541498 h 2762250"/>
                <a:gd name="T54" fmla="*/ 1204370 w 2887663"/>
                <a:gd name="T55" fmla="*/ 510077 h 2762250"/>
                <a:gd name="T56" fmla="*/ 1155777 w 2887663"/>
                <a:gd name="T57" fmla="*/ 521860 h 2762250"/>
                <a:gd name="T58" fmla="*/ 1096152 w 2887663"/>
                <a:gd name="T59" fmla="*/ 532321 h 2762250"/>
                <a:gd name="T60" fmla="*/ 1242636 w 2887663"/>
                <a:gd name="T61" fmla="*/ 504891 h 2762250"/>
                <a:gd name="T62" fmla="*/ 870122 w 2887663"/>
                <a:gd name="T63" fmla="*/ 534990 h 2762250"/>
                <a:gd name="T64" fmla="*/ 913650 w 2887663"/>
                <a:gd name="T65" fmla="*/ 644448 h 2762250"/>
                <a:gd name="T66" fmla="*/ 779299 w 2887663"/>
                <a:gd name="T67" fmla="*/ 746385 h 2762250"/>
                <a:gd name="T68" fmla="*/ 691197 w 2887663"/>
                <a:gd name="T69" fmla="*/ 575724 h 2762250"/>
                <a:gd name="T70" fmla="*/ 1168871 w 2887663"/>
                <a:gd name="T71" fmla="*/ 480811 h 2762250"/>
                <a:gd name="T72" fmla="*/ 1840343 w 2887663"/>
                <a:gd name="T73" fmla="*/ 706985 h 2762250"/>
                <a:gd name="T74" fmla="*/ 1885331 w 2887663"/>
                <a:gd name="T75" fmla="*/ 1036912 h 2762250"/>
                <a:gd name="T76" fmla="*/ 1588622 w 2887663"/>
                <a:gd name="T77" fmla="*/ 1119655 h 2762250"/>
                <a:gd name="T78" fmla="*/ 1576695 w 2887663"/>
                <a:gd name="T79" fmla="*/ 720602 h 2762250"/>
                <a:gd name="T80" fmla="*/ 1493833 w 2887663"/>
                <a:gd name="T81" fmla="*/ 411832 h 2762250"/>
                <a:gd name="T82" fmla="*/ 1275484 w 2887663"/>
                <a:gd name="T83" fmla="*/ 362396 h 2762250"/>
                <a:gd name="T84" fmla="*/ 1107388 w 2887663"/>
                <a:gd name="T85" fmla="*/ 362576 h 2762250"/>
                <a:gd name="T86" fmla="*/ 326123 w 2887663"/>
                <a:gd name="T87" fmla="*/ 320344 h 2762250"/>
                <a:gd name="T88" fmla="*/ 258049 w 2887663"/>
                <a:gd name="T89" fmla="*/ 723731 h 2762250"/>
                <a:gd name="T90" fmla="*/ 204010 w 2887663"/>
                <a:gd name="T91" fmla="*/ 839314 h 2762250"/>
                <a:gd name="T92" fmla="*/ 59276 w 2887663"/>
                <a:gd name="T93" fmla="*/ 675484 h 2762250"/>
                <a:gd name="T94" fmla="*/ 32256 w 2887663"/>
                <a:gd name="T95" fmla="*/ 329155 h 2762250"/>
                <a:gd name="T96" fmla="*/ 1290906 w 2887663"/>
                <a:gd name="T97" fmla="*/ 155423 h 2762250"/>
                <a:gd name="T98" fmla="*/ 1253293 w 2887663"/>
                <a:gd name="T99" fmla="*/ 489815 h 2762250"/>
                <a:gd name="T100" fmla="*/ 1112660 w 2887663"/>
                <a:gd name="T101" fmla="*/ 568754 h 2762250"/>
                <a:gd name="T102" fmla="*/ 1105555 w 2887663"/>
                <a:gd name="T103" fmla="*/ 323142 h 2762250"/>
                <a:gd name="T104" fmla="*/ 1200843 w 2887663"/>
                <a:gd name="T105" fmla="*/ 214889 h 2762250"/>
                <a:gd name="T106" fmla="*/ 1747182 w 2887663"/>
                <a:gd name="T107" fmla="*/ 188111 h 2762250"/>
                <a:gd name="T108" fmla="*/ 1769224 w 2887663"/>
                <a:gd name="T109" fmla="*/ 298086 h 2762250"/>
                <a:gd name="T110" fmla="*/ 1613878 w 2887663"/>
                <a:gd name="T111" fmla="*/ 273578 h 2762250"/>
                <a:gd name="T112" fmla="*/ 1622904 w 2887663"/>
                <a:gd name="T113" fmla="*/ 148101 h 2762250"/>
                <a:gd name="T114" fmla="*/ 198167 w 2887663"/>
                <a:gd name="T115" fmla="*/ 155541 h 2762250"/>
                <a:gd name="T116" fmla="*/ 216304 w 2887663"/>
                <a:gd name="T117" fmla="*/ 266289 h 2762250"/>
                <a:gd name="T118" fmla="*/ 120615 w 2887663"/>
                <a:gd name="T119" fmla="*/ 174765 h 2762250"/>
                <a:gd name="T120" fmla="*/ 1223671 w 2887663"/>
                <a:gd name="T121" fmla="*/ 34092 h 2762250"/>
                <a:gd name="T122" fmla="*/ 1232241 w 2887663"/>
                <a:gd name="T123" fmla="*/ 84078 h 2762250"/>
                <a:gd name="T124" fmla="*/ 1135246 w 2887663"/>
                <a:gd name="T125" fmla="*/ 56889 h 276225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887663" h="2762250">
                  <a:moveTo>
                    <a:pt x="873134" y="2527300"/>
                  </a:moveTo>
                  <a:lnTo>
                    <a:pt x="877887" y="2538366"/>
                  </a:lnTo>
                  <a:lnTo>
                    <a:pt x="723573" y="2601913"/>
                  </a:lnTo>
                  <a:lnTo>
                    <a:pt x="719137" y="2590848"/>
                  </a:lnTo>
                  <a:lnTo>
                    <a:pt x="873134" y="2527300"/>
                  </a:lnTo>
                  <a:close/>
                  <a:moveTo>
                    <a:pt x="1277937" y="2406650"/>
                  </a:moveTo>
                  <a:lnTo>
                    <a:pt x="1369498" y="2406650"/>
                  </a:lnTo>
                  <a:lnTo>
                    <a:pt x="1373617" y="2409226"/>
                  </a:lnTo>
                  <a:lnTo>
                    <a:pt x="1384072" y="2416632"/>
                  </a:lnTo>
                  <a:lnTo>
                    <a:pt x="1390725" y="2421462"/>
                  </a:lnTo>
                  <a:lnTo>
                    <a:pt x="1398012" y="2426935"/>
                  </a:lnTo>
                  <a:lnTo>
                    <a:pt x="1404665" y="2432409"/>
                  </a:lnTo>
                  <a:lnTo>
                    <a:pt x="1411318" y="2438527"/>
                  </a:lnTo>
                  <a:lnTo>
                    <a:pt x="1417021" y="2444645"/>
                  </a:lnTo>
                  <a:lnTo>
                    <a:pt x="1419556" y="2447865"/>
                  </a:lnTo>
                  <a:lnTo>
                    <a:pt x="1421457" y="2450763"/>
                  </a:lnTo>
                  <a:lnTo>
                    <a:pt x="1423358" y="2453661"/>
                  </a:lnTo>
                  <a:lnTo>
                    <a:pt x="1424625" y="2456559"/>
                  </a:lnTo>
                  <a:lnTo>
                    <a:pt x="1425258" y="2459135"/>
                  </a:lnTo>
                  <a:lnTo>
                    <a:pt x="1425575" y="2461389"/>
                  </a:lnTo>
                  <a:lnTo>
                    <a:pt x="1425258" y="2464287"/>
                  </a:lnTo>
                  <a:lnTo>
                    <a:pt x="1423991" y="2466219"/>
                  </a:lnTo>
                  <a:lnTo>
                    <a:pt x="1422724" y="2468473"/>
                  </a:lnTo>
                  <a:lnTo>
                    <a:pt x="1419872" y="2469761"/>
                  </a:lnTo>
                  <a:lnTo>
                    <a:pt x="1417021" y="2471371"/>
                  </a:lnTo>
                  <a:lnTo>
                    <a:pt x="1412902" y="2472981"/>
                  </a:lnTo>
                  <a:lnTo>
                    <a:pt x="1408150" y="2473625"/>
                  </a:lnTo>
                  <a:lnTo>
                    <a:pt x="1402131" y="2474591"/>
                  </a:lnTo>
                  <a:lnTo>
                    <a:pt x="1394844" y="2474913"/>
                  </a:lnTo>
                  <a:lnTo>
                    <a:pt x="1387874" y="2474913"/>
                  </a:lnTo>
                  <a:lnTo>
                    <a:pt x="1380904" y="2474591"/>
                  </a:lnTo>
                  <a:lnTo>
                    <a:pt x="1374567" y="2473303"/>
                  </a:lnTo>
                  <a:lnTo>
                    <a:pt x="1368548" y="2472337"/>
                  </a:lnTo>
                  <a:lnTo>
                    <a:pt x="1362528" y="2471049"/>
                  </a:lnTo>
                  <a:lnTo>
                    <a:pt x="1357459" y="2469117"/>
                  </a:lnTo>
                  <a:lnTo>
                    <a:pt x="1351756" y="2467185"/>
                  </a:lnTo>
                  <a:lnTo>
                    <a:pt x="1347004" y="2464931"/>
                  </a:lnTo>
                  <a:lnTo>
                    <a:pt x="1341618" y="2462677"/>
                  </a:lnTo>
                  <a:lnTo>
                    <a:pt x="1332113" y="2456881"/>
                  </a:lnTo>
                  <a:lnTo>
                    <a:pt x="1323242" y="2451085"/>
                  </a:lnTo>
                  <a:lnTo>
                    <a:pt x="1314055" y="2444645"/>
                  </a:lnTo>
                  <a:lnTo>
                    <a:pt x="1310570" y="2442069"/>
                  </a:lnTo>
                  <a:lnTo>
                    <a:pt x="1307718" y="2440781"/>
                  </a:lnTo>
                  <a:lnTo>
                    <a:pt x="1306768" y="2440781"/>
                  </a:lnTo>
                  <a:lnTo>
                    <a:pt x="1305817" y="2440781"/>
                  </a:lnTo>
                  <a:lnTo>
                    <a:pt x="1305184" y="2441747"/>
                  </a:lnTo>
                  <a:lnTo>
                    <a:pt x="1304550" y="2442713"/>
                  </a:lnTo>
                  <a:lnTo>
                    <a:pt x="1304233" y="2444001"/>
                  </a:lnTo>
                  <a:lnTo>
                    <a:pt x="1303283" y="2444967"/>
                  </a:lnTo>
                  <a:lnTo>
                    <a:pt x="1302649" y="2444967"/>
                  </a:lnTo>
                  <a:lnTo>
                    <a:pt x="1302332" y="2445611"/>
                  </a:lnTo>
                  <a:lnTo>
                    <a:pt x="1291560" y="2444967"/>
                  </a:lnTo>
                  <a:lnTo>
                    <a:pt x="1286175" y="2444323"/>
                  </a:lnTo>
                  <a:lnTo>
                    <a:pt x="1283957" y="2444001"/>
                  </a:lnTo>
                  <a:lnTo>
                    <a:pt x="1282373" y="2443357"/>
                  </a:lnTo>
                  <a:lnTo>
                    <a:pt x="1280472" y="2434341"/>
                  </a:lnTo>
                  <a:lnTo>
                    <a:pt x="1279205" y="2426935"/>
                  </a:lnTo>
                  <a:lnTo>
                    <a:pt x="1278571" y="2421140"/>
                  </a:lnTo>
                  <a:lnTo>
                    <a:pt x="1278571" y="2416632"/>
                  </a:lnTo>
                  <a:lnTo>
                    <a:pt x="1278571" y="2413090"/>
                  </a:lnTo>
                  <a:lnTo>
                    <a:pt x="1278888" y="2411158"/>
                  </a:lnTo>
                  <a:lnTo>
                    <a:pt x="1279205" y="2409226"/>
                  </a:lnTo>
                  <a:lnTo>
                    <a:pt x="1277937" y="2406650"/>
                  </a:lnTo>
                  <a:close/>
                  <a:moveTo>
                    <a:pt x="1045692" y="2406650"/>
                  </a:moveTo>
                  <a:lnTo>
                    <a:pt x="1138237" y="2406650"/>
                  </a:lnTo>
                  <a:lnTo>
                    <a:pt x="1136956" y="2409226"/>
                  </a:lnTo>
                  <a:lnTo>
                    <a:pt x="1137277" y="2411158"/>
                  </a:lnTo>
                  <a:lnTo>
                    <a:pt x="1137597" y="2413090"/>
                  </a:lnTo>
                  <a:lnTo>
                    <a:pt x="1137597" y="2416632"/>
                  </a:lnTo>
                  <a:lnTo>
                    <a:pt x="1137597" y="2421140"/>
                  </a:lnTo>
                  <a:lnTo>
                    <a:pt x="1136956" y="2426935"/>
                  </a:lnTo>
                  <a:lnTo>
                    <a:pt x="1135675" y="2434341"/>
                  </a:lnTo>
                  <a:lnTo>
                    <a:pt x="1133754" y="2443357"/>
                  </a:lnTo>
                  <a:lnTo>
                    <a:pt x="1132153" y="2444001"/>
                  </a:lnTo>
                  <a:lnTo>
                    <a:pt x="1129911" y="2444323"/>
                  </a:lnTo>
                  <a:lnTo>
                    <a:pt x="1124147" y="2444967"/>
                  </a:lnTo>
                  <a:lnTo>
                    <a:pt x="1113580" y="2445611"/>
                  </a:lnTo>
                  <a:lnTo>
                    <a:pt x="1113260" y="2444967"/>
                  </a:lnTo>
                  <a:lnTo>
                    <a:pt x="1112619" y="2444967"/>
                  </a:lnTo>
                  <a:lnTo>
                    <a:pt x="1112299" y="2444001"/>
                  </a:lnTo>
                  <a:lnTo>
                    <a:pt x="1111338" y="2442713"/>
                  </a:lnTo>
                  <a:lnTo>
                    <a:pt x="1110698" y="2441747"/>
                  </a:lnTo>
                  <a:lnTo>
                    <a:pt x="1109737" y="2440781"/>
                  </a:lnTo>
                  <a:lnTo>
                    <a:pt x="1109097" y="2440781"/>
                  </a:lnTo>
                  <a:lnTo>
                    <a:pt x="1107816" y="2440781"/>
                  </a:lnTo>
                  <a:lnTo>
                    <a:pt x="1105254" y="2442069"/>
                  </a:lnTo>
                  <a:lnTo>
                    <a:pt x="1101411" y="2444645"/>
                  </a:lnTo>
                  <a:lnTo>
                    <a:pt x="1092445" y="2451085"/>
                  </a:lnTo>
                  <a:lnTo>
                    <a:pt x="1083479" y="2456881"/>
                  </a:lnTo>
                  <a:lnTo>
                    <a:pt x="1073872" y="2462677"/>
                  </a:lnTo>
                  <a:lnTo>
                    <a:pt x="1069069" y="2464931"/>
                  </a:lnTo>
                  <a:lnTo>
                    <a:pt x="1063625" y="2467185"/>
                  </a:lnTo>
                  <a:lnTo>
                    <a:pt x="1057861" y="2469117"/>
                  </a:lnTo>
                  <a:lnTo>
                    <a:pt x="1052737" y="2471049"/>
                  </a:lnTo>
                  <a:lnTo>
                    <a:pt x="1046653" y="2472337"/>
                  </a:lnTo>
                  <a:lnTo>
                    <a:pt x="1040569" y="2473303"/>
                  </a:lnTo>
                  <a:lnTo>
                    <a:pt x="1034164" y="2474591"/>
                  </a:lnTo>
                  <a:lnTo>
                    <a:pt x="1027119" y="2474913"/>
                  </a:lnTo>
                  <a:lnTo>
                    <a:pt x="1020394" y="2474913"/>
                  </a:lnTo>
                  <a:lnTo>
                    <a:pt x="1012709" y="2474591"/>
                  </a:lnTo>
                  <a:lnTo>
                    <a:pt x="1006625" y="2473625"/>
                  </a:lnTo>
                  <a:lnTo>
                    <a:pt x="1001821" y="2472981"/>
                  </a:lnTo>
                  <a:lnTo>
                    <a:pt x="997658" y="2471371"/>
                  </a:lnTo>
                  <a:lnTo>
                    <a:pt x="994456" y="2469761"/>
                  </a:lnTo>
                  <a:lnTo>
                    <a:pt x="991894" y="2468473"/>
                  </a:lnTo>
                  <a:lnTo>
                    <a:pt x="990293" y="2466219"/>
                  </a:lnTo>
                  <a:lnTo>
                    <a:pt x="989332" y="2464287"/>
                  </a:lnTo>
                  <a:lnTo>
                    <a:pt x="989012" y="2461389"/>
                  </a:lnTo>
                  <a:lnTo>
                    <a:pt x="989332" y="2459135"/>
                  </a:lnTo>
                  <a:lnTo>
                    <a:pt x="989973" y="2456559"/>
                  </a:lnTo>
                  <a:lnTo>
                    <a:pt x="991254" y="2453661"/>
                  </a:lnTo>
                  <a:lnTo>
                    <a:pt x="993175" y="2450763"/>
                  </a:lnTo>
                  <a:lnTo>
                    <a:pt x="995417" y="2447865"/>
                  </a:lnTo>
                  <a:lnTo>
                    <a:pt x="997658" y="2444645"/>
                  </a:lnTo>
                  <a:lnTo>
                    <a:pt x="1003422" y="2438527"/>
                  </a:lnTo>
                  <a:lnTo>
                    <a:pt x="1010147" y="2432409"/>
                  </a:lnTo>
                  <a:lnTo>
                    <a:pt x="1017192" y="2426935"/>
                  </a:lnTo>
                  <a:lnTo>
                    <a:pt x="1024237" y="2421462"/>
                  </a:lnTo>
                  <a:lnTo>
                    <a:pt x="1030962" y="2416632"/>
                  </a:lnTo>
                  <a:lnTo>
                    <a:pt x="1041529" y="2409226"/>
                  </a:lnTo>
                  <a:lnTo>
                    <a:pt x="1045692" y="2406650"/>
                  </a:lnTo>
                  <a:close/>
                  <a:moveTo>
                    <a:pt x="1201246" y="2330132"/>
                  </a:moveTo>
                  <a:lnTo>
                    <a:pt x="1182492" y="2330450"/>
                  </a:lnTo>
                  <a:lnTo>
                    <a:pt x="1164372" y="2331085"/>
                  </a:lnTo>
                  <a:lnTo>
                    <a:pt x="1157061" y="2331720"/>
                  </a:lnTo>
                  <a:lnTo>
                    <a:pt x="1155472" y="2331720"/>
                  </a:lnTo>
                  <a:lnTo>
                    <a:pt x="1153565" y="2344420"/>
                  </a:lnTo>
                  <a:lnTo>
                    <a:pt x="1148796" y="2388235"/>
                  </a:lnTo>
                  <a:lnTo>
                    <a:pt x="1139896" y="2388235"/>
                  </a:lnTo>
                  <a:lnTo>
                    <a:pt x="1042943" y="2389822"/>
                  </a:lnTo>
                  <a:lnTo>
                    <a:pt x="1039764" y="2347277"/>
                  </a:lnTo>
                  <a:lnTo>
                    <a:pt x="1022280" y="2352040"/>
                  </a:lnTo>
                  <a:lnTo>
                    <a:pt x="1005115" y="2356802"/>
                  </a:lnTo>
                  <a:lnTo>
                    <a:pt x="989539" y="2361565"/>
                  </a:lnTo>
                  <a:lnTo>
                    <a:pt x="974281" y="2367280"/>
                  </a:lnTo>
                  <a:lnTo>
                    <a:pt x="960930" y="2372995"/>
                  </a:lnTo>
                  <a:lnTo>
                    <a:pt x="947579" y="2379027"/>
                  </a:lnTo>
                  <a:lnTo>
                    <a:pt x="935817" y="2385377"/>
                  </a:lnTo>
                  <a:lnTo>
                    <a:pt x="925009" y="2391727"/>
                  </a:lnTo>
                  <a:lnTo>
                    <a:pt x="915791" y="2398395"/>
                  </a:lnTo>
                  <a:lnTo>
                    <a:pt x="907208" y="2405380"/>
                  </a:lnTo>
                  <a:lnTo>
                    <a:pt x="903711" y="2409190"/>
                  </a:lnTo>
                  <a:lnTo>
                    <a:pt x="900215" y="2412365"/>
                  </a:lnTo>
                  <a:lnTo>
                    <a:pt x="896718" y="2415857"/>
                  </a:lnTo>
                  <a:lnTo>
                    <a:pt x="894175" y="2419667"/>
                  </a:lnTo>
                  <a:lnTo>
                    <a:pt x="891632" y="2422842"/>
                  </a:lnTo>
                  <a:lnTo>
                    <a:pt x="889407" y="2426335"/>
                  </a:lnTo>
                  <a:lnTo>
                    <a:pt x="887500" y="2430145"/>
                  </a:lnTo>
                  <a:lnTo>
                    <a:pt x="885910" y="2433637"/>
                  </a:lnTo>
                  <a:lnTo>
                    <a:pt x="884639" y="2437130"/>
                  </a:lnTo>
                  <a:lnTo>
                    <a:pt x="884003" y="2440622"/>
                  </a:lnTo>
                  <a:lnTo>
                    <a:pt x="883367" y="2444432"/>
                  </a:lnTo>
                  <a:lnTo>
                    <a:pt x="883367" y="2447925"/>
                  </a:lnTo>
                  <a:lnTo>
                    <a:pt x="883367" y="2451100"/>
                  </a:lnTo>
                  <a:lnTo>
                    <a:pt x="883685" y="2454592"/>
                  </a:lnTo>
                  <a:lnTo>
                    <a:pt x="884639" y="2457450"/>
                  </a:lnTo>
                  <a:lnTo>
                    <a:pt x="885592" y="2460942"/>
                  </a:lnTo>
                  <a:lnTo>
                    <a:pt x="887182" y="2464435"/>
                  </a:lnTo>
                  <a:lnTo>
                    <a:pt x="888771" y="2467610"/>
                  </a:lnTo>
                  <a:lnTo>
                    <a:pt x="890678" y="2471102"/>
                  </a:lnTo>
                  <a:lnTo>
                    <a:pt x="892903" y="2473960"/>
                  </a:lnTo>
                  <a:lnTo>
                    <a:pt x="898307" y="2480945"/>
                  </a:lnTo>
                  <a:lnTo>
                    <a:pt x="904665" y="2487295"/>
                  </a:lnTo>
                  <a:lnTo>
                    <a:pt x="912294" y="2493645"/>
                  </a:lnTo>
                  <a:lnTo>
                    <a:pt x="920877" y="2499995"/>
                  </a:lnTo>
                  <a:lnTo>
                    <a:pt x="930413" y="2506027"/>
                  </a:lnTo>
                  <a:lnTo>
                    <a:pt x="940903" y="2512060"/>
                  </a:lnTo>
                  <a:lnTo>
                    <a:pt x="952665" y="2518092"/>
                  </a:lnTo>
                  <a:lnTo>
                    <a:pt x="964426" y="2523807"/>
                  </a:lnTo>
                  <a:lnTo>
                    <a:pt x="978095" y="2528888"/>
                  </a:lnTo>
                  <a:lnTo>
                    <a:pt x="992082" y="2533968"/>
                  </a:lnTo>
                  <a:lnTo>
                    <a:pt x="1006704" y="2538730"/>
                  </a:lnTo>
                  <a:lnTo>
                    <a:pt x="1022598" y="2543175"/>
                  </a:lnTo>
                  <a:lnTo>
                    <a:pt x="1041671" y="2548255"/>
                  </a:lnTo>
                  <a:lnTo>
                    <a:pt x="1062015" y="2552700"/>
                  </a:lnTo>
                  <a:lnTo>
                    <a:pt x="1083631" y="2556510"/>
                  </a:lnTo>
                  <a:lnTo>
                    <a:pt x="1105247" y="2559368"/>
                  </a:lnTo>
                  <a:lnTo>
                    <a:pt x="1128452" y="2562225"/>
                  </a:lnTo>
                  <a:lnTo>
                    <a:pt x="1151975" y="2564130"/>
                  </a:lnTo>
                  <a:lnTo>
                    <a:pt x="1176452" y="2565083"/>
                  </a:lnTo>
                  <a:lnTo>
                    <a:pt x="1201246" y="2565400"/>
                  </a:lnTo>
                  <a:lnTo>
                    <a:pt x="1222862" y="2565083"/>
                  </a:lnTo>
                  <a:lnTo>
                    <a:pt x="1243524" y="2564448"/>
                  </a:lnTo>
                  <a:lnTo>
                    <a:pt x="1264187" y="2562860"/>
                  </a:lnTo>
                  <a:lnTo>
                    <a:pt x="1283895" y="2560955"/>
                  </a:lnTo>
                  <a:lnTo>
                    <a:pt x="1303286" y="2558733"/>
                  </a:lnTo>
                  <a:lnTo>
                    <a:pt x="1321723" y="2555558"/>
                  </a:lnTo>
                  <a:lnTo>
                    <a:pt x="1339842" y="2552700"/>
                  </a:lnTo>
                  <a:lnTo>
                    <a:pt x="1357643" y="2548890"/>
                  </a:lnTo>
                  <a:lnTo>
                    <a:pt x="1374173" y="2544763"/>
                  </a:lnTo>
                  <a:lnTo>
                    <a:pt x="1390385" y="2540635"/>
                  </a:lnTo>
                  <a:lnTo>
                    <a:pt x="1405325" y="2535873"/>
                  </a:lnTo>
                  <a:lnTo>
                    <a:pt x="1419630" y="2530793"/>
                  </a:lnTo>
                  <a:lnTo>
                    <a:pt x="1431073" y="2526347"/>
                  </a:lnTo>
                  <a:lnTo>
                    <a:pt x="1441881" y="2521902"/>
                  </a:lnTo>
                  <a:lnTo>
                    <a:pt x="1452053" y="2516822"/>
                  </a:lnTo>
                  <a:lnTo>
                    <a:pt x="1461590" y="2512060"/>
                  </a:lnTo>
                  <a:lnTo>
                    <a:pt x="1470490" y="2507297"/>
                  </a:lnTo>
                  <a:lnTo>
                    <a:pt x="1478437" y="2502217"/>
                  </a:lnTo>
                  <a:lnTo>
                    <a:pt x="1486066" y="2497137"/>
                  </a:lnTo>
                  <a:lnTo>
                    <a:pt x="1492742" y="2491740"/>
                  </a:lnTo>
                  <a:lnTo>
                    <a:pt x="1499099" y="2486025"/>
                  </a:lnTo>
                  <a:lnTo>
                    <a:pt x="1504503" y="2480945"/>
                  </a:lnTo>
                  <a:lnTo>
                    <a:pt x="1508954" y="2475230"/>
                  </a:lnTo>
                  <a:lnTo>
                    <a:pt x="1512768" y="2469832"/>
                  </a:lnTo>
                  <a:lnTo>
                    <a:pt x="1515629" y="2464435"/>
                  </a:lnTo>
                  <a:lnTo>
                    <a:pt x="1517854" y="2458720"/>
                  </a:lnTo>
                  <a:lnTo>
                    <a:pt x="1519126" y="2453322"/>
                  </a:lnTo>
                  <a:lnTo>
                    <a:pt x="1519444" y="2447925"/>
                  </a:lnTo>
                  <a:lnTo>
                    <a:pt x="1519126" y="2442845"/>
                  </a:lnTo>
                  <a:lnTo>
                    <a:pt x="1518490" y="2438082"/>
                  </a:lnTo>
                  <a:lnTo>
                    <a:pt x="1516583" y="2433002"/>
                  </a:lnTo>
                  <a:lnTo>
                    <a:pt x="1514358" y="2427922"/>
                  </a:lnTo>
                  <a:lnTo>
                    <a:pt x="1511179" y="2422842"/>
                  </a:lnTo>
                  <a:lnTo>
                    <a:pt x="1507364" y="2418080"/>
                  </a:lnTo>
                  <a:lnTo>
                    <a:pt x="1503232" y="2413317"/>
                  </a:lnTo>
                  <a:lnTo>
                    <a:pt x="1498464" y="2408237"/>
                  </a:lnTo>
                  <a:lnTo>
                    <a:pt x="1493060" y="2403475"/>
                  </a:lnTo>
                  <a:lnTo>
                    <a:pt x="1487020" y="2399030"/>
                  </a:lnTo>
                  <a:lnTo>
                    <a:pt x="1480662" y="2393950"/>
                  </a:lnTo>
                  <a:lnTo>
                    <a:pt x="1473669" y="2389505"/>
                  </a:lnTo>
                  <a:lnTo>
                    <a:pt x="1465722" y="2385060"/>
                  </a:lnTo>
                  <a:lnTo>
                    <a:pt x="1457775" y="2380615"/>
                  </a:lnTo>
                  <a:lnTo>
                    <a:pt x="1448557" y="2376487"/>
                  </a:lnTo>
                  <a:lnTo>
                    <a:pt x="1439656" y="2372360"/>
                  </a:lnTo>
                  <a:lnTo>
                    <a:pt x="1424716" y="2365692"/>
                  </a:lnTo>
                  <a:lnTo>
                    <a:pt x="1408504" y="2360295"/>
                  </a:lnTo>
                  <a:lnTo>
                    <a:pt x="1391020" y="2354897"/>
                  </a:lnTo>
                  <a:lnTo>
                    <a:pt x="1372583" y="2350135"/>
                  </a:lnTo>
                  <a:lnTo>
                    <a:pt x="1369722" y="2389822"/>
                  </a:lnTo>
                  <a:lnTo>
                    <a:pt x="1268319" y="2389822"/>
                  </a:lnTo>
                  <a:lnTo>
                    <a:pt x="1260690" y="2332355"/>
                  </a:lnTo>
                  <a:lnTo>
                    <a:pt x="1246385" y="2331720"/>
                  </a:lnTo>
                  <a:lnTo>
                    <a:pt x="1231763" y="2330767"/>
                  </a:lnTo>
                  <a:lnTo>
                    <a:pt x="1216823" y="2330450"/>
                  </a:lnTo>
                  <a:lnTo>
                    <a:pt x="1201246" y="2330132"/>
                  </a:lnTo>
                  <a:close/>
                  <a:moveTo>
                    <a:pt x="1861529" y="2074863"/>
                  </a:moveTo>
                  <a:lnTo>
                    <a:pt x="1868488" y="2085078"/>
                  </a:lnTo>
                  <a:lnTo>
                    <a:pt x="1702093" y="2192338"/>
                  </a:lnTo>
                  <a:lnTo>
                    <a:pt x="1695450" y="2181803"/>
                  </a:lnTo>
                  <a:lnTo>
                    <a:pt x="1861529" y="2074863"/>
                  </a:lnTo>
                  <a:close/>
                  <a:moveTo>
                    <a:pt x="1219048" y="2005330"/>
                  </a:moveTo>
                  <a:lnTo>
                    <a:pt x="1186942" y="2065337"/>
                  </a:lnTo>
                  <a:lnTo>
                    <a:pt x="1161512" y="2280602"/>
                  </a:lnTo>
                  <a:lnTo>
                    <a:pt x="1180902" y="2279650"/>
                  </a:lnTo>
                  <a:lnTo>
                    <a:pt x="1201246" y="2279332"/>
                  </a:lnTo>
                  <a:lnTo>
                    <a:pt x="1214915" y="2279650"/>
                  </a:lnTo>
                  <a:lnTo>
                    <a:pt x="1227948" y="2279967"/>
                  </a:lnTo>
                  <a:lnTo>
                    <a:pt x="1254332" y="2281237"/>
                  </a:lnTo>
                  <a:lnTo>
                    <a:pt x="1219048" y="2005330"/>
                  </a:lnTo>
                  <a:close/>
                  <a:moveTo>
                    <a:pt x="1196160" y="1991360"/>
                  </a:moveTo>
                  <a:lnTo>
                    <a:pt x="1191074" y="2032000"/>
                  </a:lnTo>
                  <a:lnTo>
                    <a:pt x="1212690" y="1991360"/>
                  </a:lnTo>
                  <a:lnTo>
                    <a:pt x="1208876" y="1991677"/>
                  </a:lnTo>
                  <a:lnTo>
                    <a:pt x="1204743" y="1991995"/>
                  </a:lnTo>
                  <a:lnTo>
                    <a:pt x="1200293" y="1991677"/>
                  </a:lnTo>
                  <a:lnTo>
                    <a:pt x="1196160" y="1991360"/>
                  </a:lnTo>
                  <a:close/>
                  <a:moveTo>
                    <a:pt x="751423" y="1981200"/>
                  </a:moveTo>
                  <a:lnTo>
                    <a:pt x="838200" y="2111073"/>
                  </a:lnTo>
                  <a:lnTo>
                    <a:pt x="828139" y="2117725"/>
                  </a:lnTo>
                  <a:lnTo>
                    <a:pt x="741362" y="1987852"/>
                  </a:lnTo>
                  <a:lnTo>
                    <a:pt x="751423" y="1981200"/>
                  </a:lnTo>
                  <a:close/>
                  <a:moveTo>
                    <a:pt x="2195208" y="1862138"/>
                  </a:moveTo>
                  <a:lnTo>
                    <a:pt x="2201863" y="1872672"/>
                  </a:lnTo>
                  <a:lnTo>
                    <a:pt x="2035164" y="1979613"/>
                  </a:lnTo>
                  <a:lnTo>
                    <a:pt x="2028825" y="1969398"/>
                  </a:lnTo>
                  <a:lnTo>
                    <a:pt x="2195208" y="1862138"/>
                  </a:lnTo>
                  <a:close/>
                  <a:moveTo>
                    <a:pt x="857250" y="1828800"/>
                  </a:moveTo>
                  <a:lnTo>
                    <a:pt x="932616" y="1842554"/>
                  </a:lnTo>
                  <a:lnTo>
                    <a:pt x="934861" y="1843179"/>
                  </a:lnTo>
                  <a:lnTo>
                    <a:pt x="937106" y="1844430"/>
                  </a:lnTo>
                  <a:lnTo>
                    <a:pt x="939351" y="1846305"/>
                  </a:lnTo>
                  <a:lnTo>
                    <a:pt x="940955" y="1848806"/>
                  </a:lnTo>
                  <a:lnTo>
                    <a:pt x="942879" y="1851307"/>
                  </a:lnTo>
                  <a:lnTo>
                    <a:pt x="944162" y="1854745"/>
                  </a:lnTo>
                  <a:lnTo>
                    <a:pt x="945445" y="1858497"/>
                  </a:lnTo>
                  <a:lnTo>
                    <a:pt x="946407" y="1862560"/>
                  </a:lnTo>
                  <a:lnTo>
                    <a:pt x="948972" y="1871313"/>
                  </a:lnTo>
                  <a:lnTo>
                    <a:pt x="950255" y="1880691"/>
                  </a:lnTo>
                  <a:lnTo>
                    <a:pt x="952500" y="1899134"/>
                  </a:lnTo>
                  <a:lnTo>
                    <a:pt x="952500" y="1902886"/>
                  </a:lnTo>
                  <a:lnTo>
                    <a:pt x="952180" y="1905386"/>
                  </a:lnTo>
                  <a:lnTo>
                    <a:pt x="951859" y="1906949"/>
                  </a:lnTo>
                  <a:lnTo>
                    <a:pt x="951217" y="1907262"/>
                  </a:lnTo>
                  <a:lnTo>
                    <a:pt x="950576" y="1907262"/>
                  </a:lnTo>
                  <a:lnTo>
                    <a:pt x="949293" y="1907262"/>
                  </a:lnTo>
                  <a:lnTo>
                    <a:pt x="947690" y="1906324"/>
                  </a:lnTo>
                  <a:lnTo>
                    <a:pt x="945765" y="1904761"/>
                  </a:lnTo>
                  <a:lnTo>
                    <a:pt x="943841" y="1902886"/>
                  </a:lnTo>
                  <a:lnTo>
                    <a:pt x="939993" y="1897571"/>
                  </a:lnTo>
                  <a:lnTo>
                    <a:pt x="937106" y="1892257"/>
                  </a:lnTo>
                  <a:lnTo>
                    <a:pt x="935503" y="1889131"/>
                  </a:lnTo>
                  <a:lnTo>
                    <a:pt x="934541" y="1886318"/>
                  </a:lnTo>
                  <a:lnTo>
                    <a:pt x="933899" y="1883504"/>
                  </a:lnTo>
                  <a:lnTo>
                    <a:pt x="933579" y="1881316"/>
                  </a:lnTo>
                  <a:lnTo>
                    <a:pt x="933579" y="1879441"/>
                  </a:lnTo>
                  <a:lnTo>
                    <a:pt x="933258" y="1878190"/>
                  </a:lnTo>
                  <a:lnTo>
                    <a:pt x="932937" y="1876627"/>
                  </a:lnTo>
                  <a:lnTo>
                    <a:pt x="931975" y="1875064"/>
                  </a:lnTo>
                  <a:lnTo>
                    <a:pt x="931334" y="1874439"/>
                  </a:lnTo>
                  <a:lnTo>
                    <a:pt x="930692" y="1873501"/>
                  </a:lnTo>
                  <a:lnTo>
                    <a:pt x="929409" y="1873189"/>
                  </a:lnTo>
                  <a:lnTo>
                    <a:pt x="928768" y="1873189"/>
                  </a:lnTo>
                  <a:lnTo>
                    <a:pt x="927485" y="1873501"/>
                  </a:lnTo>
                  <a:lnTo>
                    <a:pt x="926844" y="1874439"/>
                  </a:lnTo>
                  <a:lnTo>
                    <a:pt x="925882" y="1875064"/>
                  </a:lnTo>
                  <a:lnTo>
                    <a:pt x="925240" y="1876627"/>
                  </a:lnTo>
                  <a:lnTo>
                    <a:pt x="924599" y="1878190"/>
                  </a:lnTo>
                  <a:lnTo>
                    <a:pt x="924278" y="1880378"/>
                  </a:lnTo>
                  <a:lnTo>
                    <a:pt x="923637" y="1882879"/>
                  </a:lnTo>
                  <a:lnTo>
                    <a:pt x="923316" y="1885380"/>
                  </a:lnTo>
                  <a:lnTo>
                    <a:pt x="923316" y="1891319"/>
                  </a:lnTo>
                  <a:lnTo>
                    <a:pt x="922354" y="1896321"/>
                  </a:lnTo>
                  <a:lnTo>
                    <a:pt x="921392" y="1898822"/>
                  </a:lnTo>
                  <a:lnTo>
                    <a:pt x="920430" y="1900697"/>
                  </a:lnTo>
                  <a:lnTo>
                    <a:pt x="919147" y="1902573"/>
                  </a:lnTo>
                  <a:lnTo>
                    <a:pt x="917543" y="1904449"/>
                  </a:lnTo>
                  <a:lnTo>
                    <a:pt x="916260" y="1905699"/>
                  </a:lnTo>
                  <a:lnTo>
                    <a:pt x="914336" y="1906949"/>
                  </a:lnTo>
                  <a:lnTo>
                    <a:pt x="912091" y="1908200"/>
                  </a:lnTo>
                  <a:lnTo>
                    <a:pt x="909846" y="1909138"/>
                  </a:lnTo>
                  <a:lnTo>
                    <a:pt x="906960" y="1909450"/>
                  </a:lnTo>
                  <a:lnTo>
                    <a:pt x="904073" y="1909763"/>
                  </a:lnTo>
                  <a:lnTo>
                    <a:pt x="900546" y="1909763"/>
                  </a:lnTo>
                  <a:lnTo>
                    <a:pt x="897018" y="1909763"/>
                  </a:lnTo>
                  <a:lnTo>
                    <a:pt x="894132" y="1909450"/>
                  </a:lnTo>
                  <a:lnTo>
                    <a:pt x="891245" y="1908512"/>
                  </a:lnTo>
                  <a:lnTo>
                    <a:pt x="888359" y="1907262"/>
                  </a:lnTo>
                  <a:lnTo>
                    <a:pt x="885793" y="1905386"/>
                  </a:lnTo>
                  <a:lnTo>
                    <a:pt x="883548" y="1903511"/>
                  </a:lnTo>
                  <a:lnTo>
                    <a:pt x="881303" y="1901323"/>
                  </a:lnTo>
                  <a:lnTo>
                    <a:pt x="879058" y="1898822"/>
                  </a:lnTo>
                  <a:lnTo>
                    <a:pt x="877134" y="1896321"/>
                  </a:lnTo>
                  <a:lnTo>
                    <a:pt x="873286" y="1889756"/>
                  </a:lnTo>
                  <a:lnTo>
                    <a:pt x="870079" y="1882879"/>
                  </a:lnTo>
                  <a:lnTo>
                    <a:pt x="867192" y="1875690"/>
                  </a:lnTo>
                  <a:lnTo>
                    <a:pt x="864947" y="1868500"/>
                  </a:lnTo>
                  <a:lnTo>
                    <a:pt x="863023" y="1860997"/>
                  </a:lnTo>
                  <a:lnTo>
                    <a:pt x="861099" y="1853495"/>
                  </a:lnTo>
                  <a:lnTo>
                    <a:pt x="858854" y="1840991"/>
                  </a:lnTo>
                  <a:lnTo>
                    <a:pt x="857571" y="1832238"/>
                  </a:lnTo>
                  <a:lnTo>
                    <a:pt x="857250" y="1828800"/>
                  </a:lnTo>
                  <a:close/>
                  <a:moveTo>
                    <a:pt x="1562100" y="1827213"/>
                  </a:moveTo>
                  <a:lnTo>
                    <a:pt x="1561780" y="1830705"/>
                  </a:lnTo>
                  <a:lnTo>
                    <a:pt x="1560497" y="1839595"/>
                  </a:lnTo>
                  <a:lnTo>
                    <a:pt x="1557931" y="1852613"/>
                  </a:lnTo>
                  <a:lnTo>
                    <a:pt x="1556328" y="1859915"/>
                  </a:lnTo>
                  <a:lnTo>
                    <a:pt x="1554403" y="1867535"/>
                  </a:lnTo>
                  <a:lnTo>
                    <a:pt x="1552158" y="1875155"/>
                  </a:lnTo>
                  <a:lnTo>
                    <a:pt x="1549272" y="1882140"/>
                  </a:lnTo>
                  <a:lnTo>
                    <a:pt x="1546065" y="1889443"/>
                  </a:lnTo>
                  <a:lnTo>
                    <a:pt x="1542537" y="1895475"/>
                  </a:lnTo>
                  <a:lnTo>
                    <a:pt x="1540613" y="1898333"/>
                  </a:lnTo>
                  <a:lnTo>
                    <a:pt x="1538047" y="1900873"/>
                  </a:lnTo>
                  <a:lnTo>
                    <a:pt x="1535802" y="1903413"/>
                  </a:lnTo>
                  <a:lnTo>
                    <a:pt x="1533237" y="1905000"/>
                  </a:lnTo>
                  <a:lnTo>
                    <a:pt x="1530992" y="1906905"/>
                  </a:lnTo>
                  <a:lnTo>
                    <a:pt x="1528426" y="1908175"/>
                  </a:lnTo>
                  <a:lnTo>
                    <a:pt x="1525219" y="1908810"/>
                  </a:lnTo>
                  <a:lnTo>
                    <a:pt x="1522333" y="1909763"/>
                  </a:lnTo>
                  <a:lnTo>
                    <a:pt x="1518805" y="1909763"/>
                  </a:lnTo>
                  <a:lnTo>
                    <a:pt x="1515277" y="1909763"/>
                  </a:lnTo>
                  <a:lnTo>
                    <a:pt x="1512391" y="1909445"/>
                  </a:lnTo>
                  <a:lnTo>
                    <a:pt x="1509825" y="1908493"/>
                  </a:lnTo>
                  <a:lnTo>
                    <a:pt x="1506939" y="1907858"/>
                  </a:lnTo>
                  <a:lnTo>
                    <a:pt x="1505014" y="1906588"/>
                  </a:lnTo>
                  <a:lnTo>
                    <a:pt x="1503411" y="1905635"/>
                  </a:lnTo>
                  <a:lnTo>
                    <a:pt x="1501487" y="1904048"/>
                  </a:lnTo>
                  <a:lnTo>
                    <a:pt x="1500204" y="1902143"/>
                  </a:lnTo>
                  <a:lnTo>
                    <a:pt x="1498600" y="1900238"/>
                  </a:lnTo>
                  <a:lnTo>
                    <a:pt x="1497959" y="1898333"/>
                  </a:lnTo>
                  <a:lnTo>
                    <a:pt x="1497317" y="1895793"/>
                  </a:lnTo>
                  <a:lnTo>
                    <a:pt x="1496035" y="1890713"/>
                  </a:lnTo>
                  <a:lnTo>
                    <a:pt x="1495714" y="1884998"/>
                  </a:lnTo>
                  <a:lnTo>
                    <a:pt x="1495714" y="1881823"/>
                  </a:lnTo>
                  <a:lnTo>
                    <a:pt x="1495393" y="1879600"/>
                  </a:lnTo>
                  <a:lnTo>
                    <a:pt x="1494752" y="1877378"/>
                  </a:lnTo>
                  <a:lnTo>
                    <a:pt x="1494110" y="1875790"/>
                  </a:lnTo>
                  <a:lnTo>
                    <a:pt x="1493469" y="1874203"/>
                  </a:lnTo>
                  <a:lnTo>
                    <a:pt x="1492507" y="1873568"/>
                  </a:lnTo>
                  <a:lnTo>
                    <a:pt x="1491865" y="1872933"/>
                  </a:lnTo>
                  <a:lnTo>
                    <a:pt x="1490583" y="1872298"/>
                  </a:lnTo>
                  <a:lnTo>
                    <a:pt x="1489941" y="1872298"/>
                  </a:lnTo>
                  <a:lnTo>
                    <a:pt x="1488979" y="1872933"/>
                  </a:lnTo>
                  <a:lnTo>
                    <a:pt x="1488017" y="1873568"/>
                  </a:lnTo>
                  <a:lnTo>
                    <a:pt x="1487376" y="1874203"/>
                  </a:lnTo>
                  <a:lnTo>
                    <a:pt x="1486413" y="1875790"/>
                  </a:lnTo>
                  <a:lnTo>
                    <a:pt x="1486093" y="1877060"/>
                  </a:lnTo>
                  <a:lnTo>
                    <a:pt x="1485772" y="1878965"/>
                  </a:lnTo>
                  <a:lnTo>
                    <a:pt x="1485772" y="1880870"/>
                  </a:lnTo>
                  <a:lnTo>
                    <a:pt x="1485451" y="1883093"/>
                  </a:lnTo>
                  <a:lnTo>
                    <a:pt x="1485131" y="1885633"/>
                  </a:lnTo>
                  <a:lnTo>
                    <a:pt x="1483848" y="1888490"/>
                  </a:lnTo>
                  <a:lnTo>
                    <a:pt x="1482244" y="1891665"/>
                  </a:lnTo>
                  <a:lnTo>
                    <a:pt x="1479358" y="1897380"/>
                  </a:lnTo>
                  <a:lnTo>
                    <a:pt x="1475509" y="1902460"/>
                  </a:lnTo>
                  <a:lnTo>
                    <a:pt x="1473585" y="1904365"/>
                  </a:lnTo>
                  <a:lnTo>
                    <a:pt x="1471661" y="1905953"/>
                  </a:lnTo>
                  <a:lnTo>
                    <a:pt x="1470378" y="1906905"/>
                  </a:lnTo>
                  <a:lnTo>
                    <a:pt x="1468774" y="1906905"/>
                  </a:lnTo>
                  <a:lnTo>
                    <a:pt x="1468454" y="1906905"/>
                  </a:lnTo>
                  <a:lnTo>
                    <a:pt x="1467492" y="1906588"/>
                  </a:lnTo>
                  <a:lnTo>
                    <a:pt x="1466850" y="1904683"/>
                  </a:lnTo>
                  <a:lnTo>
                    <a:pt x="1466850" y="1902143"/>
                  </a:lnTo>
                  <a:lnTo>
                    <a:pt x="1466850" y="1898650"/>
                  </a:lnTo>
                  <a:lnTo>
                    <a:pt x="1469095" y="1879918"/>
                  </a:lnTo>
                  <a:lnTo>
                    <a:pt x="1470699" y="1870710"/>
                  </a:lnTo>
                  <a:lnTo>
                    <a:pt x="1472944" y="1861503"/>
                  </a:lnTo>
                  <a:lnTo>
                    <a:pt x="1473906" y="1857375"/>
                  </a:lnTo>
                  <a:lnTo>
                    <a:pt x="1475189" y="1853565"/>
                  </a:lnTo>
                  <a:lnTo>
                    <a:pt x="1476792" y="1850390"/>
                  </a:lnTo>
                  <a:lnTo>
                    <a:pt x="1478716" y="1847215"/>
                  </a:lnTo>
                  <a:lnTo>
                    <a:pt x="1479999" y="1844993"/>
                  </a:lnTo>
                  <a:lnTo>
                    <a:pt x="1482244" y="1843088"/>
                  </a:lnTo>
                  <a:lnTo>
                    <a:pt x="1484810" y="1841500"/>
                  </a:lnTo>
                  <a:lnTo>
                    <a:pt x="1487055" y="1841183"/>
                  </a:lnTo>
                  <a:lnTo>
                    <a:pt x="1562100" y="1827213"/>
                  </a:lnTo>
                  <a:close/>
                  <a:moveTo>
                    <a:pt x="575376" y="1720850"/>
                  </a:moveTo>
                  <a:lnTo>
                    <a:pt x="663575" y="1850406"/>
                  </a:lnTo>
                  <a:lnTo>
                    <a:pt x="653349" y="1857375"/>
                  </a:lnTo>
                  <a:lnTo>
                    <a:pt x="565150" y="1727502"/>
                  </a:lnTo>
                  <a:lnTo>
                    <a:pt x="575376" y="1720850"/>
                  </a:lnTo>
                  <a:close/>
                  <a:moveTo>
                    <a:pt x="2438400" y="1706563"/>
                  </a:moveTo>
                  <a:lnTo>
                    <a:pt x="2444750" y="1717208"/>
                  </a:lnTo>
                  <a:lnTo>
                    <a:pt x="2368550" y="1766888"/>
                  </a:lnTo>
                  <a:lnTo>
                    <a:pt x="2362200" y="1756242"/>
                  </a:lnTo>
                  <a:lnTo>
                    <a:pt x="2438400" y="1706563"/>
                  </a:lnTo>
                  <a:close/>
                  <a:moveTo>
                    <a:pt x="2439910" y="1539875"/>
                  </a:moveTo>
                  <a:lnTo>
                    <a:pt x="2513012" y="1539875"/>
                  </a:lnTo>
                  <a:lnTo>
                    <a:pt x="2511735" y="1542137"/>
                  </a:lnTo>
                  <a:lnTo>
                    <a:pt x="2512374" y="1543430"/>
                  </a:lnTo>
                  <a:lnTo>
                    <a:pt x="2512693" y="1547632"/>
                  </a:lnTo>
                  <a:lnTo>
                    <a:pt x="2512693" y="1551510"/>
                  </a:lnTo>
                  <a:lnTo>
                    <a:pt x="2512374" y="1556035"/>
                  </a:lnTo>
                  <a:lnTo>
                    <a:pt x="2511097" y="1561853"/>
                  </a:lnTo>
                  <a:lnTo>
                    <a:pt x="2509501" y="1568963"/>
                  </a:lnTo>
                  <a:lnTo>
                    <a:pt x="2508543" y="1569286"/>
                  </a:lnTo>
                  <a:lnTo>
                    <a:pt x="2506628" y="1569933"/>
                  </a:lnTo>
                  <a:lnTo>
                    <a:pt x="2502478" y="1570256"/>
                  </a:lnTo>
                  <a:lnTo>
                    <a:pt x="2493859" y="1570579"/>
                  </a:lnTo>
                  <a:lnTo>
                    <a:pt x="2492901" y="1570256"/>
                  </a:lnTo>
                  <a:lnTo>
                    <a:pt x="2492582" y="1569286"/>
                  </a:lnTo>
                  <a:lnTo>
                    <a:pt x="2491305" y="1567347"/>
                  </a:lnTo>
                  <a:lnTo>
                    <a:pt x="2490666" y="1567024"/>
                  </a:lnTo>
                  <a:lnTo>
                    <a:pt x="2489070" y="1567024"/>
                  </a:lnTo>
                  <a:lnTo>
                    <a:pt x="2487155" y="1567994"/>
                  </a:lnTo>
                  <a:lnTo>
                    <a:pt x="2484282" y="1569933"/>
                  </a:lnTo>
                  <a:lnTo>
                    <a:pt x="2476940" y="1575104"/>
                  </a:lnTo>
                  <a:lnTo>
                    <a:pt x="2469917" y="1579629"/>
                  </a:lnTo>
                  <a:lnTo>
                    <a:pt x="2462255" y="1584477"/>
                  </a:lnTo>
                  <a:lnTo>
                    <a:pt x="2454275" y="1587709"/>
                  </a:lnTo>
                  <a:lnTo>
                    <a:pt x="2449806" y="1589325"/>
                  </a:lnTo>
                  <a:lnTo>
                    <a:pt x="2445336" y="1590941"/>
                  </a:lnTo>
                  <a:lnTo>
                    <a:pt x="2440867" y="1591911"/>
                  </a:lnTo>
                  <a:lnTo>
                    <a:pt x="2435760" y="1592880"/>
                  </a:lnTo>
                  <a:lnTo>
                    <a:pt x="2430971" y="1593527"/>
                  </a:lnTo>
                  <a:lnTo>
                    <a:pt x="2425544" y="1593850"/>
                  </a:lnTo>
                  <a:lnTo>
                    <a:pt x="2420118" y="1593850"/>
                  </a:lnTo>
                  <a:lnTo>
                    <a:pt x="2414372" y="1593527"/>
                  </a:lnTo>
                  <a:lnTo>
                    <a:pt x="2409264" y="1593203"/>
                  </a:lnTo>
                  <a:lnTo>
                    <a:pt x="2405752" y="1592234"/>
                  </a:lnTo>
                  <a:lnTo>
                    <a:pt x="2402241" y="1591264"/>
                  </a:lnTo>
                  <a:lnTo>
                    <a:pt x="2399687" y="1589971"/>
                  </a:lnTo>
                  <a:lnTo>
                    <a:pt x="2397772" y="1589002"/>
                  </a:lnTo>
                  <a:lnTo>
                    <a:pt x="2396495" y="1587063"/>
                  </a:lnTo>
                  <a:lnTo>
                    <a:pt x="2395856" y="1585447"/>
                  </a:lnTo>
                  <a:lnTo>
                    <a:pt x="2395537" y="1583507"/>
                  </a:lnTo>
                  <a:lnTo>
                    <a:pt x="2395537" y="1581568"/>
                  </a:lnTo>
                  <a:lnTo>
                    <a:pt x="2396176" y="1579306"/>
                  </a:lnTo>
                  <a:lnTo>
                    <a:pt x="2397453" y="1577043"/>
                  </a:lnTo>
                  <a:lnTo>
                    <a:pt x="2398410" y="1574781"/>
                  </a:lnTo>
                  <a:lnTo>
                    <a:pt x="2402241" y="1570256"/>
                  </a:lnTo>
                  <a:lnTo>
                    <a:pt x="2406710" y="1565085"/>
                  </a:lnTo>
                  <a:lnTo>
                    <a:pt x="2412137" y="1560237"/>
                  </a:lnTo>
                  <a:lnTo>
                    <a:pt x="2417564" y="1555712"/>
                  </a:lnTo>
                  <a:lnTo>
                    <a:pt x="2428417" y="1547632"/>
                  </a:lnTo>
                  <a:lnTo>
                    <a:pt x="2436717" y="1541814"/>
                  </a:lnTo>
                  <a:lnTo>
                    <a:pt x="2439910" y="1539875"/>
                  </a:lnTo>
                  <a:close/>
                  <a:moveTo>
                    <a:pt x="2579046" y="1497966"/>
                  </a:moveTo>
                  <a:lnTo>
                    <a:pt x="2564773" y="1498283"/>
                  </a:lnTo>
                  <a:lnTo>
                    <a:pt x="2550817" y="1498918"/>
                  </a:lnTo>
                  <a:lnTo>
                    <a:pt x="2537179" y="1499553"/>
                  </a:lnTo>
                  <a:lnTo>
                    <a:pt x="2524174" y="1500823"/>
                  </a:lnTo>
                  <a:lnTo>
                    <a:pt x="2521002" y="1525271"/>
                  </a:lnTo>
                  <a:lnTo>
                    <a:pt x="2437584" y="1526223"/>
                  </a:lnTo>
                  <a:lnTo>
                    <a:pt x="2436950" y="1515746"/>
                  </a:lnTo>
                  <a:lnTo>
                    <a:pt x="2424579" y="1519556"/>
                  </a:lnTo>
                  <a:lnTo>
                    <a:pt x="2412527" y="1523366"/>
                  </a:lnTo>
                  <a:lnTo>
                    <a:pt x="2401108" y="1527493"/>
                  </a:lnTo>
                  <a:lnTo>
                    <a:pt x="2390324" y="1531938"/>
                  </a:lnTo>
                  <a:lnTo>
                    <a:pt x="2380491" y="1536383"/>
                  </a:lnTo>
                  <a:lnTo>
                    <a:pt x="2371610" y="1541146"/>
                  </a:lnTo>
                  <a:lnTo>
                    <a:pt x="2363046" y="1546226"/>
                  </a:lnTo>
                  <a:lnTo>
                    <a:pt x="2355434" y="1551306"/>
                  </a:lnTo>
                  <a:lnTo>
                    <a:pt x="2348773" y="1556703"/>
                  </a:lnTo>
                  <a:lnTo>
                    <a:pt x="2342747" y="1562101"/>
                  </a:lnTo>
                  <a:lnTo>
                    <a:pt x="2337672" y="1567181"/>
                  </a:lnTo>
                  <a:lnTo>
                    <a:pt x="2333549" y="1572896"/>
                  </a:lnTo>
                  <a:lnTo>
                    <a:pt x="2330377" y="1578293"/>
                  </a:lnTo>
                  <a:lnTo>
                    <a:pt x="2327522" y="1583691"/>
                  </a:lnTo>
                  <a:lnTo>
                    <a:pt x="2326888" y="1586548"/>
                  </a:lnTo>
                  <a:lnTo>
                    <a:pt x="2326253" y="1589406"/>
                  </a:lnTo>
                  <a:lnTo>
                    <a:pt x="2325619" y="1591946"/>
                  </a:lnTo>
                  <a:lnTo>
                    <a:pt x="2325619" y="1594803"/>
                  </a:lnTo>
                  <a:lnTo>
                    <a:pt x="2326253" y="1599248"/>
                  </a:lnTo>
                  <a:lnTo>
                    <a:pt x="2326888" y="1603376"/>
                  </a:lnTo>
                  <a:lnTo>
                    <a:pt x="2328474" y="1607821"/>
                  </a:lnTo>
                  <a:lnTo>
                    <a:pt x="2330694" y="1611948"/>
                  </a:lnTo>
                  <a:lnTo>
                    <a:pt x="2333231" y="1616393"/>
                  </a:lnTo>
                  <a:lnTo>
                    <a:pt x="2336403" y="1620521"/>
                  </a:lnTo>
                  <a:lnTo>
                    <a:pt x="2339892" y="1625283"/>
                  </a:lnTo>
                  <a:lnTo>
                    <a:pt x="2344650" y="1629411"/>
                  </a:lnTo>
                  <a:lnTo>
                    <a:pt x="2349090" y="1633538"/>
                  </a:lnTo>
                  <a:lnTo>
                    <a:pt x="2354165" y="1637666"/>
                  </a:lnTo>
                  <a:lnTo>
                    <a:pt x="2360192" y="1641793"/>
                  </a:lnTo>
                  <a:lnTo>
                    <a:pt x="2366535" y="1645603"/>
                  </a:lnTo>
                  <a:lnTo>
                    <a:pt x="2373513" y="1649096"/>
                  </a:lnTo>
                  <a:lnTo>
                    <a:pt x="2380491" y="1652906"/>
                  </a:lnTo>
                  <a:lnTo>
                    <a:pt x="2388104" y="1656716"/>
                  </a:lnTo>
                  <a:lnTo>
                    <a:pt x="2396350" y="1660208"/>
                  </a:lnTo>
                  <a:lnTo>
                    <a:pt x="2404914" y="1663383"/>
                  </a:lnTo>
                  <a:lnTo>
                    <a:pt x="2414112" y="1666876"/>
                  </a:lnTo>
                  <a:lnTo>
                    <a:pt x="2423311" y="1670051"/>
                  </a:lnTo>
                  <a:lnTo>
                    <a:pt x="2433143" y="1672908"/>
                  </a:lnTo>
                  <a:lnTo>
                    <a:pt x="2443293" y="1675448"/>
                  </a:lnTo>
                  <a:lnTo>
                    <a:pt x="2454077" y="1678306"/>
                  </a:lnTo>
                  <a:lnTo>
                    <a:pt x="2465179" y="1680846"/>
                  </a:lnTo>
                  <a:lnTo>
                    <a:pt x="2476280" y="1682751"/>
                  </a:lnTo>
                  <a:lnTo>
                    <a:pt x="2488016" y="1684973"/>
                  </a:lnTo>
                  <a:lnTo>
                    <a:pt x="2500068" y="1686561"/>
                  </a:lnTo>
                  <a:lnTo>
                    <a:pt x="2512439" y="1687831"/>
                  </a:lnTo>
                  <a:lnTo>
                    <a:pt x="2525126" y="1689101"/>
                  </a:lnTo>
                  <a:lnTo>
                    <a:pt x="2537813" y="1690053"/>
                  </a:lnTo>
                  <a:lnTo>
                    <a:pt x="2551452" y="1691006"/>
                  </a:lnTo>
                  <a:lnTo>
                    <a:pt x="2565090" y="1691323"/>
                  </a:lnTo>
                  <a:lnTo>
                    <a:pt x="2579046" y="1691323"/>
                  </a:lnTo>
                  <a:lnTo>
                    <a:pt x="2592685" y="1691323"/>
                  </a:lnTo>
                  <a:lnTo>
                    <a:pt x="2606324" y="1691006"/>
                  </a:lnTo>
                  <a:lnTo>
                    <a:pt x="2619328" y="1690053"/>
                  </a:lnTo>
                  <a:lnTo>
                    <a:pt x="2632650" y="1689101"/>
                  </a:lnTo>
                  <a:lnTo>
                    <a:pt x="2645337" y="1687831"/>
                  </a:lnTo>
                  <a:lnTo>
                    <a:pt x="2657390" y="1686561"/>
                  </a:lnTo>
                  <a:lnTo>
                    <a:pt x="2669443" y="1684973"/>
                  </a:lnTo>
                  <a:lnTo>
                    <a:pt x="2681496" y="1682751"/>
                  </a:lnTo>
                  <a:lnTo>
                    <a:pt x="2692597" y="1680846"/>
                  </a:lnTo>
                  <a:lnTo>
                    <a:pt x="2703698" y="1678306"/>
                  </a:lnTo>
                  <a:lnTo>
                    <a:pt x="2714165" y="1675448"/>
                  </a:lnTo>
                  <a:lnTo>
                    <a:pt x="2724315" y="1672908"/>
                  </a:lnTo>
                  <a:lnTo>
                    <a:pt x="2734465" y="1670051"/>
                  </a:lnTo>
                  <a:lnTo>
                    <a:pt x="2743663" y="1666876"/>
                  </a:lnTo>
                  <a:lnTo>
                    <a:pt x="2752861" y="1663383"/>
                  </a:lnTo>
                  <a:lnTo>
                    <a:pt x="2761425" y="1660208"/>
                  </a:lnTo>
                  <a:lnTo>
                    <a:pt x="2769355" y="1656716"/>
                  </a:lnTo>
                  <a:lnTo>
                    <a:pt x="2777284" y="1652906"/>
                  </a:lnTo>
                  <a:lnTo>
                    <a:pt x="2784262" y="1649096"/>
                  </a:lnTo>
                  <a:lnTo>
                    <a:pt x="2791240" y="1645603"/>
                  </a:lnTo>
                  <a:lnTo>
                    <a:pt x="2797584" y="1641793"/>
                  </a:lnTo>
                  <a:lnTo>
                    <a:pt x="2803293" y="1637666"/>
                  </a:lnTo>
                  <a:lnTo>
                    <a:pt x="2808368" y="1633538"/>
                  </a:lnTo>
                  <a:lnTo>
                    <a:pt x="2813443" y="1629411"/>
                  </a:lnTo>
                  <a:lnTo>
                    <a:pt x="2817566" y="1625283"/>
                  </a:lnTo>
                  <a:lnTo>
                    <a:pt x="2821055" y="1620521"/>
                  </a:lnTo>
                  <a:lnTo>
                    <a:pt x="2824544" y="1616393"/>
                  </a:lnTo>
                  <a:lnTo>
                    <a:pt x="2827082" y="1611948"/>
                  </a:lnTo>
                  <a:lnTo>
                    <a:pt x="2828985" y="1607821"/>
                  </a:lnTo>
                  <a:lnTo>
                    <a:pt x="2830571" y="1603376"/>
                  </a:lnTo>
                  <a:lnTo>
                    <a:pt x="2831839" y="1599248"/>
                  </a:lnTo>
                  <a:lnTo>
                    <a:pt x="2832157" y="1594803"/>
                  </a:lnTo>
                  <a:lnTo>
                    <a:pt x="2831839" y="1591628"/>
                  </a:lnTo>
                  <a:lnTo>
                    <a:pt x="2831205" y="1588771"/>
                  </a:lnTo>
                  <a:lnTo>
                    <a:pt x="2830571" y="1585596"/>
                  </a:lnTo>
                  <a:lnTo>
                    <a:pt x="2829302" y="1582738"/>
                  </a:lnTo>
                  <a:lnTo>
                    <a:pt x="2828350" y="1579563"/>
                  </a:lnTo>
                  <a:lnTo>
                    <a:pt x="2826447" y="1576706"/>
                  </a:lnTo>
                  <a:lnTo>
                    <a:pt x="2824544" y="1573213"/>
                  </a:lnTo>
                  <a:lnTo>
                    <a:pt x="2822324" y="1570356"/>
                  </a:lnTo>
                  <a:lnTo>
                    <a:pt x="2817566" y="1564323"/>
                  </a:lnTo>
                  <a:lnTo>
                    <a:pt x="2810905" y="1558608"/>
                  </a:lnTo>
                  <a:lnTo>
                    <a:pt x="2803928" y="1552576"/>
                  </a:lnTo>
                  <a:lnTo>
                    <a:pt x="2795681" y="1546861"/>
                  </a:lnTo>
                  <a:lnTo>
                    <a:pt x="2786165" y="1541146"/>
                  </a:lnTo>
                  <a:lnTo>
                    <a:pt x="2776016" y="1536066"/>
                  </a:lnTo>
                  <a:lnTo>
                    <a:pt x="2764914" y="1531303"/>
                  </a:lnTo>
                  <a:lnTo>
                    <a:pt x="2752861" y="1526223"/>
                  </a:lnTo>
                  <a:lnTo>
                    <a:pt x="2740174" y="1521778"/>
                  </a:lnTo>
                  <a:lnTo>
                    <a:pt x="2726535" y="1517333"/>
                  </a:lnTo>
                  <a:lnTo>
                    <a:pt x="2711945" y="1513523"/>
                  </a:lnTo>
                  <a:lnTo>
                    <a:pt x="2696720" y="1510031"/>
                  </a:lnTo>
                  <a:lnTo>
                    <a:pt x="2695769" y="1526223"/>
                  </a:lnTo>
                  <a:lnTo>
                    <a:pt x="2673883" y="1526223"/>
                  </a:lnTo>
                  <a:lnTo>
                    <a:pt x="2688474" y="1540511"/>
                  </a:lnTo>
                  <a:lnTo>
                    <a:pt x="2695452" y="1540511"/>
                  </a:lnTo>
                  <a:lnTo>
                    <a:pt x="2698624" y="1542416"/>
                  </a:lnTo>
                  <a:lnTo>
                    <a:pt x="2706870" y="1548131"/>
                  </a:lnTo>
                  <a:lnTo>
                    <a:pt x="2717972" y="1556068"/>
                  </a:lnTo>
                  <a:lnTo>
                    <a:pt x="2723046" y="1560513"/>
                  </a:lnTo>
                  <a:lnTo>
                    <a:pt x="2728439" y="1565276"/>
                  </a:lnTo>
                  <a:lnTo>
                    <a:pt x="2732879" y="1570356"/>
                  </a:lnTo>
                  <a:lnTo>
                    <a:pt x="2736685" y="1574801"/>
                  </a:lnTo>
                  <a:lnTo>
                    <a:pt x="2738271" y="1577023"/>
                  </a:lnTo>
                  <a:lnTo>
                    <a:pt x="2738905" y="1579246"/>
                  </a:lnTo>
                  <a:lnTo>
                    <a:pt x="2739540" y="1581468"/>
                  </a:lnTo>
                  <a:lnTo>
                    <a:pt x="2740174" y="1583373"/>
                  </a:lnTo>
                  <a:lnTo>
                    <a:pt x="2739540" y="1585278"/>
                  </a:lnTo>
                  <a:lnTo>
                    <a:pt x="2738905" y="1586866"/>
                  </a:lnTo>
                  <a:lnTo>
                    <a:pt x="2737320" y="1588771"/>
                  </a:lnTo>
                  <a:lnTo>
                    <a:pt x="2735417" y="1589723"/>
                  </a:lnTo>
                  <a:lnTo>
                    <a:pt x="2732879" y="1590993"/>
                  </a:lnTo>
                  <a:lnTo>
                    <a:pt x="2730024" y="1591946"/>
                  </a:lnTo>
                  <a:lnTo>
                    <a:pt x="2725901" y="1592898"/>
                  </a:lnTo>
                  <a:lnTo>
                    <a:pt x="2721143" y="1593216"/>
                  </a:lnTo>
                  <a:lnTo>
                    <a:pt x="2715117" y="1593533"/>
                  </a:lnTo>
                  <a:lnTo>
                    <a:pt x="2710042" y="1593533"/>
                  </a:lnTo>
                  <a:lnTo>
                    <a:pt x="2704650" y="1593216"/>
                  </a:lnTo>
                  <a:lnTo>
                    <a:pt x="2699575" y="1592581"/>
                  </a:lnTo>
                  <a:lnTo>
                    <a:pt x="2694500" y="1591628"/>
                  </a:lnTo>
                  <a:lnTo>
                    <a:pt x="2690060" y="1590676"/>
                  </a:lnTo>
                  <a:lnTo>
                    <a:pt x="2685619" y="1589088"/>
                  </a:lnTo>
                  <a:lnTo>
                    <a:pt x="2681496" y="1587501"/>
                  </a:lnTo>
                  <a:lnTo>
                    <a:pt x="2673566" y="1584326"/>
                  </a:lnTo>
                  <a:lnTo>
                    <a:pt x="2665954" y="1579563"/>
                  </a:lnTo>
                  <a:lnTo>
                    <a:pt x="2658659" y="1575118"/>
                  </a:lnTo>
                  <a:lnTo>
                    <a:pt x="2651681" y="1570038"/>
                  </a:lnTo>
                  <a:lnTo>
                    <a:pt x="2648826" y="1568133"/>
                  </a:lnTo>
                  <a:lnTo>
                    <a:pt x="2646606" y="1567181"/>
                  </a:lnTo>
                  <a:lnTo>
                    <a:pt x="2645337" y="1567181"/>
                  </a:lnTo>
                  <a:lnTo>
                    <a:pt x="2644386" y="1567498"/>
                  </a:lnTo>
                  <a:lnTo>
                    <a:pt x="2643434" y="1569403"/>
                  </a:lnTo>
                  <a:lnTo>
                    <a:pt x="2643117" y="1570356"/>
                  </a:lnTo>
                  <a:lnTo>
                    <a:pt x="2642165" y="1570673"/>
                  </a:lnTo>
                  <a:lnTo>
                    <a:pt x="2633602" y="1570356"/>
                  </a:lnTo>
                  <a:lnTo>
                    <a:pt x="2629161" y="1570038"/>
                  </a:lnTo>
                  <a:lnTo>
                    <a:pt x="2627258" y="1569403"/>
                  </a:lnTo>
                  <a:lnTo>
                    <a:pt x="2626306" y="1569086"/>
                  </a:lnTo>
                  <a:lnTo>
                    <a:pt x="2624720" y="1562101"/>
                  </a:lnTo>
                  <a:lnTo>
                    <a:pt x="2624086" y="1556386"/>
                  </a:lnTo>
                  <a:lnTo>
                    <a:pt x="2623452" y="1551941"/>
                  </a:lnTo>
                  <a:lnTo>
                    <a:pt x="2623135" y="1548131"/>
                  </a:lnTo>
                  <a:lnTo>
                    <a:pt x="2623452" y="1544003"/>
                  </a:lnTo>
                  <a:lnTo>
                    <a:pt x="2624086" y="1542733"/>
                  </a:lnTo>
                  <a:lnTo>
                    <a:pt x="2622817" y="1540511"/>
                  </a:lnTo>
                  <a:lnTo>
                    <a:pt x="2671029" y="1540511"/>
                  </a:lnTo>
                  <a:lnTo>
                    <a:pt x="2656439" y="1526223"/>
                  </a:lnTo>
                  <a:lnTo>
                    <a:pt x="2615839" y="1526223"/>
                  </a:lnTo>
                  <a:lnTo>
                    <a:pt x="2612033" y="1499236"/>
                  </a:lnTo>
                  <a:lnTo>
                    <a:pt x="2595857" y="1498283"/>
                  </a:lnTo>
                  <a:lnTo>
                    <a:pt x="2579046" y="1497966"/>
                  </a:lnTo>
                  <a:close/>
                  <a:moveTo>
                    <a:pt x="400303" y="1460500"/>
                  </a:moveTo>
                  <a:lnTo>
                    <a:pt x="487363" y="1590373"/>
                  </a:lnTo>
                  <a:lnTo>
                    <a:pt x="477269" y="1597025"/>
                  </a:lnTo>
                  <a:lnTo>
                    <a:pt x="390525" y="1467152"/>
                  </a:lnTo>
                  <a:lnTo>
                    <a:pt x="400303" y="1460500"/>
                  </a:lnTo>
                  <a:close/>
                  <a:moveTo>
                    <a:pt x="2575557" y="1210946"/>
                  </a:moveTo>
                  <a:lnTo>
                    <a:pt x="2570165" y="1211581"/>
                  </a:lnTo>
                  <a:lnTo>
                    <a:pt x="2565408" y="1211898"/>
                  </a:lnTo>
                  <a:lnTo>
                    <a:pt x="2561919" y="1211581"/>
                  </a:lnTo>
                  <a:lnTo>
                    <a:pt x="2558747" y="1211263"/>
                  </a:lnTo>
                  <a:lnTo>
                    <a:pt x="2527663" y="1469708"/>
                  </a:lnTo>
                  <a:lnTo>
                    <a:pt x="2540350" y="1468756"/>
                  </a:lnTo>
                  <a:lnTo>
                    <a:pt x="2553038" y="1468438"/>
                  </a:lnTo>
                  <a:lnTo>
                    <a:pt x="2565725" y="1468121"/>
                  </a:lnTo>
                  <a:lnTo>
                    <a:pt x="2579046" y="1467486"/>
                  </a:lnTo>
                  <a:lnTo>
                    <a:pt x="2593637" y="1468121"/>
                  </a:lnTo>
                  <a:lnTo>
                    <a:pt x="2608227" y="1468438"/>
                  </a:lnTo>
                  <a:lnTo>
                    <a:pt x="2575557" y="1210946"/>
                  </a:lnTo>
                  <a:close/>
                  <a:moveTo>
                    <a:pt x="309562" y="1149350"/>
                  </a:moveTo>
                  <a:lnTo>
                    <a:pt x="361753" y="1149350"/>
                  </a:lnTo>
                  <a:lnTo>
                    <a:pt x="369977" y="1155018"/>
                  </a:lnTo>
                  <a:lnTo>
                    <a:pt x="377884" y="1160685"/>
                  </a:lnTo>
                  <a:lnTo>
                    <a:pt x="381680" y="1164149"/>
                  </a:lnTo>
                  <a:lnTo>
                    <a:pt x="385476" y="1167298"/>
                  </a:lnTo>
                  <a:lnTo>
                    <a:pt x="388639" y="1170761"/>
                  </a:lnTo>
                  <a:lnTo>
                    <a:pt x="391169" y="1174225"/>
                  </a:lnTo>
                  <a:lnTo>
                    <a:pt x="392751" y="1177059"/>
                  </a:lnTo>
                  <a:lnTo>
                    <a:pt x="393700" y="1178633"/>
                  </a:lnTo>
                  <a:lnTo>
                    <a:pt x="393700" y="1180208"/>
                  </a:lnTo>
                  <a:lnTo>
                    <a:pt x="393067" y="1181467"/>
                  </a:lnTo>
                  <a:lnTo>
                    <a:pt x="392751" y="1182727"/>
                  </a:lnTo>
                  <a:lnTo>
                    <a:pt x="391802" y="1183671"/>
                  </a:lnTo>
                  <a:lnTo>
                    <a:pt x="390537" y="1184616"/>
                  </a:lnTo>
                  <a:lnTo>
                    <a:pt x="388639" y="1185561"/>
                  </a:lnTo>
                  <a:lnTo>
                    <a:pt x="386425" y="1186505"/>
                  </a:lnTo>
                  <a:lnTo>
                    <a:pt x="383578" y="1186820"/>
                  </a:lnTo>
                  <a:lnTo>
                    <a:pt x="380098" y="1187135"/>
                  </a:lnTo>
                  <a:lnTo>
                    <a:pt x="375986" y="1187450"/>
                  </a:lnTo>
                  <a:lnTo>
                    <a:pt x="372191" y="1187450"/>
                  </a:lnTo>
                  <a:lnTo>
                    <a:pt x="364599" y="1186820"/>
                  </a:lnTo>
                  <a:lnTo>
                    <a:pt x="357957" y="1185246"/>
                  </a:lnTo>
                  <a:lnTo>
                    <a:pt x="351631" y="1183042"/>
                  </a:lnTo>
                  <a:lnTo>
                    <a:pt x="345937" y="1180523"/>
                  </a:lnTo>
                  <a:lnTo>
                    <a:pt x="340244" y="1177374"/>
                  </a:lnTo>
                  <a:lnTo>
                    <a:pt x="335499" y="1174225"/>
                  </a:lnTo>
                  <a:lnTo>
                    <a:pt x="330122" y="1170761"/>
                  </a:lnTo>
                  <a:lnTo>
                    <a:pt x="328540" y="1169187"/>
                  </a:lnTo>
                  <a:lnTo>
                    <a:pt x="326959" y="1168557"/>
                  </a:lnTo>
                  <a:lnTo>
                    <a:pt x="325693" y="1168557"/>
                  </a:lnTo>
                  <a:lnTo>
                    <a:pt x="325061" y="1168872"/>
                  </a:lnTo>
                  <a:lnTo>
                    <a:pt x="324745" y="1170447"/>
                  </a:lnTo>
                  <a:lnTo>
                    <a:pt x="324112" y="1170761"/>
                  </a:lnTo>
                  <a:lnTo>
                    <a:pt x="323479" y="1171076"/>
                  </a:lnTo>
                  <a:lnTo>
                    <a:pt x="317469" y="1170761"/>
                  </a:lnTo>
                  <a:lnTo>
                    <a:pt x="313990" y="1170447"/>
                  </a:lnTo>
                  <a:lnTo>
                    <a:pt x="312409" y="1170132"/>
                  </a:lnTo>
                  <a:lnTo>
                    <a:pt x="311143" y="1164779"/>
                  </a:lnTo>
                  <a:lnTo>
                    <a:pt x="310511" y="1160685"/>
                  </a:lnTo>
                  <a:lnTo>
                    <a:pt x="309878" y="1155018"/>
                  </a:lnTo>
                  <a:lnTo>
                    <a:pt x="310511" y="1152184"/>
                  </a:lnTo>
                  <a:lnTo>
                    <a:pt x="310827" y="1150924"/>
                  </a:lnTo>
                  <a:lnTo>
                    <a:pt x="309562" y="1149350"/>
                  </a:lnTo>
                  <a:close/>
                  <a:moveTo>
                    <a:pt x="178239" y="1149350"/>
                  </a:moveTo>
                  <a:lnTo>
                    <a:pt x="230188" y="1149350"/>
                  </a:lnTo>
                  <a:lnTo>
                    <a:pt x="229550" y="1150924"/>
                  </a:lnTo>
                  <a:lnTo>
                    <a:pt x="229869" y="1152184"/>
                  </a:lnTo>
                  <a:lnTo>
                    <a:pt x="229869" y="1155018"/>
                  </a:lnTo>
                  <a:lnTo>
                    <a:pt x="229550" y="1160685"/>
                  </a:lnTo>
                  <a:lnTo>
                    <a:pt x="229232" y="1164779"/>
                  </a:lnTo>
                  <a:lnTo>
                    <a:pt x="227957" y="1170132"/>
                  </a:lnTo>
                  <a:lnTo>
                    <a:pt x="225726" y="1170447"/>
                  </a:lnTo>
                  <a:lnTo>
                    <a:pt x="222858" y="1170761"/>
                  </a:lnTo>
                  <a:lnTo>
                    <a:pt x="216802" y="1171076"/>
                  </a:lnTo>
                  <a:lnTo>
                    <a:pt x="215846" y="1170761"/>
                  </a:lnTo>
                  <a:lnTo>
                    <a:pt x="215527" y="1170447"/>
                  </a:lnTo>
                  <a:lnTo>
                    <a:pt x="214890" y="1168872"/>
                  </a:lnTo>
                  <a:lnTo>
                    <a:pt x="214571" y="1168557"/>
                  </a:lnTo>
                  <a:lnTo>
                    <a:pt x="213296" y="1168557"/>
                  </a:lnTo>
                  <a:lnTo>
                    <a:pt x="211703" y="1169187"/>
                  </a:lnTo>
                  <a:lnTo>
                    <a:pt x="209472" y="1170761"/>
                  </a:lnTo>
                  <a:lnTo>
                    <a:pt x="204691" y="1174225"/>
                  </a:lnTo>
                  <a:lnTo>
                    <a:pt x="199273" y="1177374"/>
                  </a:lnTo>
                  <a:lnTo>
                    <a:pt x="194174" y="1180523"/>
                  </a:lnTo>
                  <a:lnTo>
                    <a:pt x="188119" y="1183042"/>
                  </a:lnTo>
                  <a:lnTo>
                    <a:pt x="182063" y="1185246"/>
                  </a:lnTo>
                  <a:lnTo>
                    <a:pt x="175371" y="1186820"/>
                  </a:lnTo>
                  <a:lnTo>
                    <a:pt x="167722" y="1187450"/>
                  </a:lnTo>
                  <a:lnTo>
                    <a:pt x="163579" y="1187450"/>
                  </a:lnTo>
                  <a:lnTo>
                    <a:pt x="159435" y="1187135"/>
                  </a:lnTo>
                  <a:lnTo>
                    <a:pt x="155930" y="1186820"/>
                  </a:lnTo>
                  <a:lnTo>
                    <a:pt x="153380" y="1186505"/>
                  </a:lnTo>
                  <a:lnTo>
                    <a:pt x="151149" y="1185561"/>
                  </a:lnTo>
                  <a:lnTo>
                    <a:pt x="149237" y="1184616"/>
                  </a:lnTo>
                  <a:lnTo>
                    <a:pt x="147643" y="1183671"/>
                  </a:lnTo>
                  <a:lnTo>
                    <a:pt x="147006" y="1182727"/>
                  </a:lnTo>
                  <a:lnTo>
                    <a:pt x="146050" y="1181467"/>
                  </a:lnTo>
                  <a:lnTo>
                    <a:pt x="146050" y="1180208"/>
                  </a:lnTo>
                  <a:lnTo>
                    <a:pt x="146050" y="1178633"/>
                  </a:lnTo>
                  <a:lnTo>
                    <a:pt x="146368" y="1177059"/>
                  </a:lnTo>
                  <a:lnTo>
                    <a:pt x="148281" y="1174225"/>
                  </a:lnTo>
                  <a:lnTo>
                    <a:pt x="151149" y="1170761"/>
                  </a:lnTo>
                  <a:lnTo>
                    <a:pt x="154017" y="1167298"/>
                  </a:lnTo>
                  <a:lnTo>
                    <a:pt x="157842" y="1164149"/>
                  </a:lnTo>
                  <a:lnTo>
                    <a:pt x="161985" y="1160685"/>
                  </a:lnTo>
                  <a:lnTo>
                    <a:pt x="169634" y="1155018"/>
                  </a:lnTo>
                  <a:lnTo>
                    <a:pt x="178239" y="1149350"/>
                  </a:lnTo>
                  <a:close/>
                  <a:moveTo>
                    <a:pt x="1364001" y="1136650"/>
                  </a:moveTo>
                  <a:lnTo>
                    <a:pt x="1375444" y="1136650"/>
                  </a:lnTo>
                  <a:lnTo>
                    <a:pt x="1386888" y="1137285"/>
                  </a:lnTo>
                  <a:lnTo>
                    <a:pt x="1398332" y="1138872"/>
                  </a:lnTo>
                  <a:lnTo>
                    <a:pt x="1409457" y="1140777"/>
                  </a:lnTo>
                  <a:lnTo>
                    <a:pt x="1421219" y="1143000"/>
                  </a:lnTo>
                  <a:lnTo>
                    <a:pt x="1432663" y="1146175"/>
                  </a:lnTo>
                  <a:lnTo>
                    <a:pt x="1443788" y="1149032"/>
                  </a:lnTo>
                  <a:lnTo>
                    <a:pt x="1455232" y="1152842"/>
                  </a:lnTo>
                  <a:lnTo>
                    <a:pt x="1466040" y="1156652"/>
                  </a:lnTo>
                  <a:lnTo>
                    <a:pt x="1476848" y="1161097"/>
                  </a:lnTo>
                  <a:lnTo>
                    <a:pt x="1487338" y="1165542"/>
                  </a:lnTo>
                  <a:lnTo>
                    <a:pt x="1498146" y="1169987"/>
                  </a:lnTo>
                  <a:lnTo>
                    <a:pt x="1508318" y="1175067"/>
                  </a:lnTo>
                  <a:lnTo>
                    <a:pt x="1518490" y="1180147"/>
                  </a:lnTo>
                  <a:lnTo>
                    <a:pt x="1527709" y="1185545"/>
                  </a:lnTo>
                  <a:lnTo>
                    <a:pt x="1537245" y="1190942"/>
                  </a:lnTo>
                  <a:lnTo>
                    <a:pt x="1545828" y="1196022"/>
                  </a:lnTo>
                  <a:lnTo>
                    <a:pt x="1554410" y="1201420"/>
                  </a:lnTo>
                  <a:lnTo>
                    <a:pt x="1569987" y="1211897"/>
                  </a:lnTo>
                  <a:lnTo>
                    <a:pt x="1583020" y="1222057"/>
                  </a:lnTo>
                  <a:lnTo>
                    <a:pt x="1594463" y="1231265"/>
                  </a:lnTo>
                  <a:lnTo>
                    <a:pt x="1599231" y="1235710"/>
                  </a:lnTo>
                  <a:lnTo>
                    <a:pt x="1603046" y="1239837"/>
                  </a:lnTo>
                  <a:lnTo>
                    <a:pt x="1606543" y="1243330"/>
                  </a:lnTo>
                  <a:lnTo>
                    <a:pt x="1609086" y="1246822"/>
                  </a:lnTo>
                  <a:lnTo>
                    <a:pt x="1610993" y="1249997"/>
                  </a:lnTo>
                  <a:lnTo>
                    <a:pt x="1611947" y="1252220"/>
                  </a:lnTo>
                  <a:lnTo>
                    <a:pt x="1612582" y="1256347"/>
                  </a:lnTo>
                  <a:lnTo>
                    <a:pt x="1612900" y="1261427"/>
                  </a:lnTo>
                  <a:lnTo>
                    <a:pt x="1612900" y="1276985"/>
                  </a:lnTo>
                  <a:lnTo>
                    <a:pt x="1612582" y="1297305"/>
                  </a:lnTo>
                  <a:lnTo>
                    <a:pt x="1611311" y="1322387"/>
                  </a:lnTo>
                  <a:lnTo>
                    <a:pt x="1609404" y="1351280"/>
                  </a:lnTo>
                  <a:lnTo>
                    <a:pt x="1607178" y="1383347"/>
                  </a:lnTo>
                  <a:lnTo>
                    <a:pt x="1601774" y="1455102"/>
                  </a:lnTo>
                  <a:lnTo>
                    <a:pt x="1595099" y="1531937"/>
                  </a:lnTo>
                  <a:lnTo>
                    <a:pt x="1588106" y="1608772"/>
                  </a:lnTo>
                  <a:lnTo>
                    <a:pt x="1580159" y="1680845"/>
                  </a:lnTo>
                  <a:lnTo>
                    <a:pt x="1576344" y="1713230"/>
                  </a:lnTo>
                  <a:lnTo>
                    <a:pt x="1572847" y="1742122"/>
                  </a:lnTo>
                  <a:lnTo>
                    <a:pt x="1568397" y="1774825"/>
                  </a:lnTo>
                  <a:lnTo>
                    <a:pt x="1566172" y="1787842"/>
                  </a:lnTo>
                  <a:lnTo>
                    <a:pt x="1564265" y="1798955"/>
                  </a:lnTo>
                  <a:lnTo>
                    <a:pt x="1551232" y="1804035"/>
                  </a:lnTo>
                  <a:lnTo>
                    <a:pt x="1539152" y="1808162"/>
                  </a:lnTo>
                  <a:lnTo>
                    <a:pt x="1527073" y="1811655"/>
                  </a:lnTo>
                  <a:lnTo>
                    <a:pt x="1515947" y="1813877"/>
                  </a:lnTo>
                  <a:lnTo>
                    <a:pt x="1505775" y="1815465"/>
                  </a:lnTo>
                  <a:lnTo>
                    <a:pt x="1501325" y="1815782"/>
                  </a:lnTo>
                  <a:lnTo>
                    <a:pt x="1496874" y="1815782"/>
                  </a:lnTo>
                  <a:lnTo>
                    <a:pt x="1492742" y="1815782"/>
                  </a:lnTo>
                  <a:lnTo>
                    <a:pt x="1488609" y="1814830"/>
                  </a:lnTo>
                  <a:lnTo>
                    <a:pt x="1485113" y="1814195"/>
                  </a:lnTo>
                  <a:lnTo>
                    <a:pt x="1481934" y="1813242"/>
                  </a:lnTo>
                  <a:lnTo>
                    <a:pt x="1482888" y="1798955"/>
                  </a:lnTo>
                  <a:lnTo>
                    <a:pt x="1484159" y="1778952"/>
                  </a:lnTo>
                  <a:lnTo>
                    <a:pt x="1486384" y="1724025"/>
                  </a:lnTo>
                  <a:lnTo>
                    <a:pt x="1487338" y="1671637"/>
                  </a:lnTo>
                  <a:lnTo>
                    <a:pt x="1488927" y="1614487"/>
                  </a:lnTo>
                  <a:lnTo>
                    <a:pt x="1489881" y="1556067"/>
                  </a:lnTo>
                  <a:lnTo>
                    <a:pt x="1490199" y="1498600"/>
                  </a:lnTo>
                  <a:lnTo>
                    <a:pt x="1473033" y="1530667"/>
                  </a:lnTo>
                  <a:lnTo>
                    <a:pt x="1462543" y="1524952"/>
                  </a:lnTo>
                  <a:lnTo>
                    <a:pt x="1490199" y="1472882"/>
                  </a:lnTo>
                  <a:lnTo>
                    <a:pt x="1489881" y="1423035"/>
                  </a:lnTo>
                  <a:lnTo>
                    <a:pt x="1489245" y="1402080"/>
                  </a:lnTo>
                  <a:lnTo>
                    <a:pt x="1488609" y="1384300"/>
                  </a:lnTo>
                  <a:lnTo>
                    <a:pt x="1487974" y="1370012"/>
                  </a:lnTo>
                  <a:lnTo>
                    <a:pt x="1486702" y="1360170"/>
                  </a:lnTo>
                  <a:lnTo>
                    <a:pt x="1486066" y="1356677"/>
                  </a:lnTo>
                  <a:lnTo>
                    <a:pt x="1485113" y="1354455"/>
                  </a:lnTo>
                  <a:lnTo>
                    <a:pt x="1484477" y="1353502"/>
                  </a:lnTo>
                  <a:lnTo>
                    <a:pt x="1484159" y="1353502"/>
                  </a:lnTo>
                  <a:lnTo>
                    <a:pt x="1483841" y="1354137"/>
                  </a:lnTo>
                  <a:lnTo>
                    <a:pt x="1477166" y="1362392"/>
                  </a:lnTo>
                  <a:lnTo>
                    <a:pt x="1470808" y="1371282"/>
                  </a:lnTo>
                  <a:lnTo>
                    <a:pt x="1469537" y="1373505"/>
                  </a:lnTo>
                  <a:lnTo>
                    <a:pt x="1449192" y="1674812"/>
                  </a:lnTo>
                  <a:lnTo>
                    <a:pt x="1443788" y="1731962"/>
                  </a:lnTo>
                  <a:lnTo>
                    <a:pt x="1437431" y="1803400"/>
                  </a:lnTo>
                  <a:lnTo>
                    <a:pt x="1434252" y="1830705"/>
                  </a:lnTo>
                  <a:lnTo>
                    <a:pt x="1433934" y="1834515"/>
                  </a:lnTo>
                  <a:lnTo>
                    <a:pt x="1431709" y="1841817"/>
                  </a:lnTo>
                  <a:lnTo>
                    <a:pt x="1429166" y="1848485"/>
                  </a:lnTo>
                  <a:lnTo>
                    <a:pt x="1426623" y="1855152"/>
                  </a:lnTo>
                  <a:lnTo>
                    <a:pt x="1423126" y="1861820"/>
                  </a:lnTo>
                  <a:lnTo>
                    <a:pt x="1419630" y="1868805"/>
                  </a:lnTo>
                  <a:lnTo>
                    <a:pt x="1415815" y="1875155"/>
                  </a:lnTo>
                  <a:lnTo>
                    <a:pt x="1411683" y="1881822"/>
                  </a:lnTo>
                  <a:lnTo>
                    <a:pt x="1407232" y="1888172"/>
                  </a:lnTo>
                  <a:lnTo>
                    <a:pt x="1400557" y="1978660"/>
                  </a:lnTo>
                  <a:lnTo>
                    <a:pt x="1376398" y="2298382"/>
                  </a:lnTo>
                  <a:lnTo>
                    <a:pt x="1388795" y="2301557"/>
                  </a:lnTo>
                  <a:lnTo>
                    <a:pt x="1400875" y="2305050"/>
                  </a:lnTo>
                  <a:lnTo>
                    <a:pt x="1412954" y="2308225"/>
                  </a:lnTo>
                  <a:lnTo>
                    <a:pt x="1424080" y="2312035"/>
                  </a:lnTo>
                  <a:lnTo>
                    <a:pt x="1435524" y="2315845"/>
                  </a:lnTo>
                  <a:lnTo>
                    <a:pt x="1446014" y="2319972"/>
                  </a:lnTo>
                  <a:lnTo>
                    <a:pt x="1456504" y="2324100"/>
                  </a:lnTo>
                  <a:lnTo>
                    <a:pt x="1466358" y="2328545"/>
                  </a:lnTo>
                  <a:lnTo>
                    <a:pt x="1529298" y="2288857"/>
                  </a:lnTo>
                  <a:lnTo>
                    <a:pt x="1535656" y="2299017"/>
                  </a:lnTo>
                  <a:lnTo>
                    <a:pt x="1479073" y="2334895"/>
                  </a:lnTo>
                  <a:lnTo>
                    <a:pt x="1489881" y="2340610"/>
                  </a:lnTo>
                  <a:lnTo>
                    <a:pt x="1499417" y="2346325"/>
                  </a:lnTo>
                  <a:lnTo>
                    <a:pt x="1508954" y="2352675"/>
                  </a:lnTo>
                  <a:lnTo>
                    <a:pt x="1517536" y="2358707"/>
                  </a:lnTo>
                  <a:lnTo>
                    <a:pt x="1525483" y="2365057"/>
                  </a:lnTo>
                  <a:lnTo>
                    <a:pt x="1533112" y="2371725"/>
                  </a:lnTo>
                  <a:lnTo>
                    <a:pt x="1539788" y="2378710"/>
                  </a:lnTo>
                  <a:lnTo>
                    <a:pt x="1546146" y="2385695"/>
                  </a:lnTo>
                  <a:lnTo>
                    <a:pt x="1551867" y="2392997"/>
                  </a:lnTo>
                  <a:lnTo>
                    <a:pt x="1556636" y="2400300"/>
                  </a:lnTo>
                  <a:lnTo>
                    <a:pt x="1560768" y="2407920"/>
                  </a:lnTo>
                  <a:lnTo>
                    <a:pt x="1564265" y="2415857"/>
                  </a:lnTo>
                  <a:lnTo>
                    <a:pt x="1566808" y="2423477"/>
                  </a:lnTo>
                  <a:lnTo>
                    <a:pt x="1568715" y="2431732"/>
                  </a:lnTo>
                  <a:lnTo>
                    <a:pt x="1569987" y="2439670"/>
                  </a:lnTo>
                  <a:lnTo>
                    <a:pt x="1570304" y="2447925"/>
                  </a:lnTo>
                  <a:lnTo>
                    <a:pt x="1569987" y="2455545"/>
                  </a:lnTo>
                  <a:lnTo>
                    <a:pt x="1569033" y="2463165"/>
                  </a:lnTo>
                  <a:lnTo>
                    <a:pt x="1567126" y="2470785"/>
                  </a:lnTo>
                  <a:lnTo>
                    <a:pt x="1564900" y="2477770"/>
                  </a:lnTo>
                  <a:lnTo>
                    <a:pt x="1562040" y="2485390"/>
                  </a:lnTo>
                  <a:lnTo>
                    <a:pt x="1558225" y="2492057"/>
                  </a:lnTo>
                  <a:lnTo>
                    <a:pt x="1554093" y="2499360"/>
                  </a:lnTo>
                  <a:lnTo>
                    <a:pt x="1549324" y="2506027"/>
                  </a:lnTo>
                  <a:lnTo>
                    <a:pt x="1543920" y="2512695"/>
                  </a:lnTo>
                  <a:lnTo>
                    <a:pt x="1537881" y="2519362"/>
                  </a:lnTo>
                  <a:lnTo>
                    <a:pt x="1531523" y="2525712"/>
                  </a:lnTo>
                  <a:lnTo>
                    <a:pt x="1524212" y="2531745"/>
                  </a:lnTo>
                  <a:lnTo>
                    <a:pt x="1516901" y="2537778"/>
                  </a:lnTo>
                  <a:lnTo>
                    <a:pt x="1508636" y="2543810"/>
                  </a:lnTo>
                  <a:lnTo>
                    <a:pt x="1500053" y="2549208"/>
                  </a:lnTo>
                  <a:lnTo>
                    <a:pt x="1490517" y="2554923"/>
                  </a:lnTo>
                  <a:lnTo>
                    <a:pt x="1480980" y="2560320"/>
                  </a:lnTo>
                  <a:lnTo>
                    <a:pt x="1470808" y="2565083"/>
                  </a:lnTo>
                  <a:lnTo>
                    <a:pt x="1460318" y="2569845"/>
                  </a:lnTo>
                  <a:lnTo>
                    <a:pt x="1449192" y="2574608"/>
                  </a:lnTo>
                  <a:lnTo>
                    <a:pt x="1437749" y="2579053"/>
                  </a:lnTo>
                  <a:lnTo>
                    <a:pt x="1425669" y="2583180"/>
                  </a:lnTo>
                  <a:lnTo>
                    <a:pt x="1413272" y="2587308"/>
                  </a:lnTo>
                  <a:lnTo>
                    <a:pt x="1400557" y="2591118"/>
                  </a:lnTo>
                  <a:lnTo>
                    <a:pt x="1387206" y="2594293"/>
                  </a:lnTo>
                  <a:lnTo>
                    <a:pt x="1373855" y="2597785"/>
                  </a:lnTo>
                  <a:lnTo>
                    <a:pt x="1360186" y="2600960"/>
                  </a:lnTo>
                  <a:lnTo>
                    <a:pt x="1345882" y="2603500"/>
                  </a:lnTo>
                  <a:lnTo>
                    <a:pt x="1331259" y="2606040"/>
                  </a:lnTo>
                  <a:lnTo>
                    <a:pt x="1316319" y="2608263"/>
                  </a:lnTo>
                  <a:lnTo>
                    <a:pt x="1301061" y="2610168"/>
                  </a:lnTo>
                  <a:lnTo>
                    <a:pt x="1285802" y="2612073"/>
                  </a:lnTo>
                  <a:lnTo>
                    <a:pt x="1381166" y="2755265"/>
                  </a:lnTo>
                  <a:lnTo>
                    <a:pt x="1370994" y="2762250"/>
                  </a:lnTo>
                  <a:lnTo>
                    <a:pt x="1271816" y="2613343"/>
                  </a:lnTo>
                  <a:lnTo>
                    <a:pt x="1254968" y="2614613"/>
                  </a:lnTo>
                  <a:lnTo>
                    <a:pt x="1237167" y="2615565"/>
                  </a:lnTo>
                  <a:lnTo>
                    <a:pt x="1219366" y="2615883"/>
                  </a:lnTo>
                  <a:lnTo>
                    <a:pt x="1201246" y="2616200"/>
                  </a:lnTo>
                  <a:lnTo>
                    <a:pt x="1181856" y="2615883"/>
                  </a:lnTo>
                  <a:lnTo>
                    <a:pt x="1162465" y="2615565"/>
                  </a:lnTo>
                  <a:lnTo>
                    <a:pt x="1143710" y="2614295"/>
                  </a:lnTo>
                  <a:lnTo>
                    <a:pt x="1124955" y="2612708"/>
                  </a:lnTo>
                  <a:lnTo>
                    <a:pt x="1106836" y="2611120"/>
                  </a:lnTo>
                  <a:lnTo>
                    <a:pt x="1089035" y="2609215"/>
                  </a:lnTo>
                  <a:lnTo>
                    <a:pt x="1071870" y="2606358"/>
                  </a:lnTo>
                  <a:lnTo>
                    <a:pt x="1055022" y="2603500"/>
                  </a:lnTo>
                  <a:lnTo>
                    <a:pt x="1038492" y="2600008"/>
                  </a:lnTo>
                  <a:lnTo>
                    <a:pt x="1022598" y="2596833"/>
                  </a:lnTo>
                  <a:lnTo>
                    <a:pt x="1007022" y="2592705"/>
                  </a:lnTo>
                  <a:lnTo>
                    <a:pt x="992082" y="2588260"/>
                  </a:lnTo>
                  <a:lnTo>
                    <a:pt x="977777" y="2583498"/>
                  </a:lnTo>
                  <a:lnTo>
                    <a:pt x="963791" y="2578735"/>
                  </a:lnTo>
                  <a:lnTo>
                    <a:pt x="950757" y="2573338"/>
                  </a:lnTo>
                  <a:lnTo>
                    <a:pt x="937724" y="2568258"/>
                  </a:lnTo>
                  <a:lnTo>
                    <a:pt x="925645" y="2562225"/>
                  </a:lnTo>
                  <a:lnTo>
                    <a:pt x="914519" y="2556193"/>
                  </a:lnTo>
                  <a:lnTo>
                    <a:pt x="903711" y="2550160"/>
                  </a:lnTo>
                  <a:lnTo>
                    <a:pt x="893857" y="2543175"/>
                  </a:lnTo>
                  <a:lnTo>
                    <a:pt x="884321" y="2536508"/>
                  </a:lnTo>
                  <a:lnTo>
                    <a:pt x="875738" y="2529523"/>
                  </a:lnTo>
                  <a:lnTo>
                    <a:pt x="867473" y="2522220"/>
                  </a:lnTo>
                  <a:lnTo>
                    <a:pt x="860162" y="2514600"/>
                  </a:lnTo>
                  <a:lnTo>
                    <a:pt x="853804" y="2506662"/>
                  </a:lnTo>
                  <a:lnTo>
                    <a:pt x="848400" y="2499042"/>
                  </a:lnTo>
                  <a:lnTo>
                    <a:pt x="843632" y="2491105"/>
                  </a:lnTo>
                  <a:lnTo>
                    <a:pt x="839500" y="2482850"/>
                  </a:lnTo>
                  <a:lnTo>
                    <a:pt x="836639" y="2473960"/>
                  </a:lnTo>
                  <a:lnTo>
                    <a:pt x="834414" y="2465387"/>
                  </a:lnTo>
                  <a:lnTo>
                    <a:pt x="833460" y="2461260"/>
                  </a:lnTo>
                  <a:lnTo>
                    <a:pt x="832824" y="2456815"/>
                  </a:lnTo>
                  <a:lnTo>
                    <a:pt x="832506" y="2452370"/>
                  </a:lnTo>
                  <a:lnTo>
                    <a:pt x="832506" y="2447925"/>
                  </a:lnTo>
                  <a:lnTo>
                    <a:pt x="832824" y="2440305"/>
                  </a:lnTo>
                  <a:lnTo>
                    <a:pt x="833460" y="2432685"/>
                  </a:lnTo>
                  <a:lnTo>
                    <a:pt x="835367" y="2425700"/>
                  </a:lnTo>
                  <a:lnTo>
                    <a:pt x="837592" y="2418397"/>
                  </a:lnTo>
                  <a:lnTo>
                    <a:pt x="840453" y="2411412"/>
                  </a:lnTo>
                  <a:lnTo>
                    <a:pt x="844268" y="2404110"/>
                  </a:lnTo>
                  <a:lnTo>
                    <a:pt x="847765" y="2397442"/>
                  </a:lnTo>
                  <a:lnTo>
                    <a:pt x="852851" y="2390775"/>
                  </a:lnTo>
                  <a:lnTo>
                    <a:pt x="857937" y="2384107"/>
                  </a:lnTo>
                  <a:lnTo>
                    <a:pt x="863659" y="2377757"/>
                  </a:lnTo>
                  <a:lnTo>
                    <a:pt x="870016" y="2371407"/>
                  </a:lnTo>
                  <a:lnTo>
                    <a:pt x="877009" y="2365375"/>
                  </a:lnTo>
                  <a:lnTo>
                    <a:pt x="884321" y="2359342"/>
                  </a:lnTo>
                  <a:lnTo>
                    <a:pt x="892268" y="2353945"/>
                  </a:lnTo>
                  <a:lnTo>
                    <a:pt x="900533" y="2348230"/>
                  </a:lnTo>
                  <a:lnTo>
                    <a:pt x="909115" y="2342515"/>
                  </a:lnTo>
                  <a:lnTo>
                    <a:pt x="921513" y="2335847"/>
                  </a:lnTo>
                  <a:lnTo>
                    <a:pt x="934546" y="2329497"/>
                  </a:lnTo>
                  <a:lnTo>
                    <a:pt x="947897" y="2323465"/>
                  </a:lnTo>
                  <a:lnTo>
                    <a:pt x="962201" y="2317750"/>
                  </a:lnTo>
                  <a:lnTo>
                    <a:pt x="957751" y="2310765"/>
                  </a:lnTo>
                  <a:lnTo>
                    <a:pt x="915791" y="2248217"/>
                  </a:lnTo>
                  <a:lnTo>
                    <a:pt x="925645" y="2241232"/>
                  </a:lnTo>
                  <a:lnTo>
                    <a:pt x="969194" y="2306002"/>
                  </a:lnTo>
                  <a:lnTo>
                    <a:pt x="974281" y="2313622"/>
                  </a:lnTo>
                  <a:lnTo>
                    <a:pt x="984453" y="2310130"/>
                  </a:lnTo>
                  <a:lnTo>
                    <a:pt x="994625" y="2306637"/>
                  </a:lnTo>
                  <a:lnTo>
                    <a:pt x="1005115" y="2303780"/>
                  </a:lnTo>
                  <a:lnTo>
                    <a:pt x="1016241" y="2300922"/>
                  </a:lnTo>
                  <a:lnTo>
                    <a:pt x="1035949" y="2296160"/>
                  </a:lnTo>
                  <a:lnTo>
                    <a:pt x="1004797" y="1881505"/>
                  </a:lnTo>
                  <a:lnTo>
                    <a:pt x="998439" y="1871980"/>
                  </a:lnTo>
                  <a:lnTo>
                    <a:pt x="992718" y="1862455"/>
                  </a:lnTo>
                  <a:lnTo>
                    <a:pt x="988903" y="1856105"/>
                  </a:lnTo>
                  <a:lnTo>
                    <a:pt x="985724" y="1849120"/>
                  </a:lnTo>
                  <a:lnTo>
                    <a:pt x="982545" y="1842135"/>
                  </a:lnTo>
                  <a:lnTo>
                    <a:pt x="980002" y="1835150"/>
                  </a:lnTo>
                  <a:lnTo>
                    <a:pt x="979685" y="1830705"/>
                  </a:lnTo>
                  <a:lnTo>
                    <a:pt x="976506" y="1798955"/>
                  </a:lnTo>
                  <a:lnTo>
                    <a:pt x="968559" y="1715452"/>
                  </a:lnTo>
                  <a:lnTo>
                    <a:pt x="963791" y="1658620"/>
                  </a:lnTo>
                  <a:lnTo>
                    <a:pt x="958704" y="1594485"/>
                  </a:lnTo>
                  <a:lnTo>
                    <a:pt x="943128" y="1365567"/>
                  </a:lnTo>
                  <a:lnTo>
                    <a:pt x="939950" y="1363027"/>
                  </a:lnTo>
                  <a:lnTo>
                    <a:pt x="937089" y="1360487"/>
                  </a:lnTo>
                  <a:lnTo>
                    <a:pt x="930731" y="1354137"/>
                  </a:lnTo>
                  <a:lnTo>
                    <a:pt x="930413" y="1353502"/>
                  </a:lnTo>
                  <a:lnTo>
                    <a:pt x="930095" y="1354137"/>
                  </a:lnTo>
                  <a:lnTo>
                    <a:pt x="929460" y="1355725"/>
                  </a:lnTo>
                  <a:lnTo>
                    <a:pt x="928824" y="1358900"/>
                  </a:lnTo>
                  <a:lnTo>
                    <a:pt x="928506" y="1363345"/>
                  </a:lnTo>
                  <a:lnTo>
                    <a:pt x="928188" y="1376997"/>
                  </a:lnTo>
                  <a:lnTo>
                    <a:pt x="928188" y="1395095"/>
                  </a:lnTo>
                  <a:lnTo>
                    <a:pt x="928506" y="1417320"/>
                  </a:lnTo>
                  <a:lnTo>
                    <a:pt x="928824" y="1442720"/>
                  </a:lnTo>
                  <a:lnTo>
                    <a:pt x="930731" y="1502092"/>
                  </a:lnTo>
                  <a:lnTo>
                    <a:pt x="933274" y="1568450"/>
                  </a:lnTo>
                  <a:lnTo>
                    <a:pt x="936453" y="1636077"/>
                  </a:lnTo>
                  <a:lnTo>
                    <a:pt x="939632" y="1699895"/>
                  </a:lnTo>
                  <a:lnTo>
                    <a:pt x="942811" y="1755140"/>
                  </a:lnTo>
                  <a:lnTo>
                    <a:pt x="945036" y="1791652"/>
                  </a:lnTo>
                  <a:lnTo>
                    <a:pt x="946943" y="1815465"/>
                  </a:lnTo>
                  <a:lnTo>
                    <a:pt x="938996" y="1815782"/>
                  </a:lnTo>
                  <a:lnTo>
                    <a:pt x="929142" y="1815782"/>
                  </a:lnTo>
                  <a:lnTo>
                    <a:pt x="918016" y="1815782"/>
                  </a:lnTo>
                  <a:lnTo>
                    <a:pt x="904983" y="1814512"/>
                  </a:lnTo>
                  <a:lnTo>
                    <a:pt x="898625" y="1813877"/>
                  </a:lnTo>
                  <a:lnTo>
                    <a:pt x="891950" y="1812607"/>
                  </a:lnTo>
                  <a:lnTo>
                    <a:pt x="884639" y="1811337"/>
                  </a:lnTo>
                  <a:lnTo>
                    <a:pt x="877963" y="1809115"/>
                  </a:lnTo>
                  <a:lnTo>
                    <a:pt x="870970" y="1806575"/>
                  </a:lnTo>
                  <a:lnTo>
                    <a:pt x="863659" y="1804035"/>
                  </a:lnTo>
                  <a:lnTo>
                    <a:pt x="856983" y="1800542"/>
                  </a:lnTo>
                  <a:lnTo>
                    <a:pt x="849990" y="1797050"/>
                  </a:lnTo>
                  <a:lnTo>
                    <a:pt x="847765" y="1783397"/>
                  </a:lnTo>
                  <a:lnTo>
                    <a:pt x="845222" y="1766887"/>
                  </a:lnTo>
                  <a:lnTo>
                    <a:pt x="842996" y="1747520"/>
                  </a:lnTo>
                  <a:lnTo>
                    <a:pt x="840453" y="1725930"/>
                  </a:lnTo>
                  <a:lnTo>
                    <a:pt x="837592" y="1697672"/>
                  </a:lnTo>
                  <a:lnTo>
                    <a:pt x="834732" y="1666875"/>
                  </a:lnTo>
                  <a:lnTo>
                    <a:pt x="829010" y="1599565"/>
                  </a:lnTo>
                  <a:lnTo>
                    <a:pt x="824242" y="1529080"/>
                  </a:lnTo>
                  <a:lnTo>
                    <a:pt x="820109" y="1460182"/>
                  </a:lnTo>
                  <a:lnTo>
                    <a:pt x="816612" y="1395730"/>
                  </a:lnTo>
                  <a:lnTo>
                    <a:pt x="815659" y="1367155"/>
                  </a:lnTo>
                  <a:lnTo>
                    <a:pt x="814705" y="1341120"/>
                  </a:lnTo>
                  <a:lnTo>
                    <a:pt x="814387" y="1318895"/>
                  </a:lnTo>
                  <a:lnTo>
                    <a:pt x="814387" y="1300480"/>
                  </a:lnTo>
                  <a:lnTo>
                    <a:pt x="814705" y="1286827"/>
                  </a:lnTo>
                  <a:lnTo>
                    <a:pt x="815023" y="1281747"/>
                  </a:lnTo>
                  <a:lnTo>
                    <a:pt x="815659" y="1277937"/>
                  </a:lnTo>
                  <a:lnTo>
                    <a:pt x="816295" y="1270635"/>
                  </a:lnTo>
                  <a:lnTo>
                    <a:pt x="818202" y="1263332"/>
                  </a:lnTo>
                  <a:lnTo>
                    <a:pt x="820427" y="1256347"/>
                  </a:lnTo>
                  <a:lnTo>
                    <a:pt x="823288" y="1249362"/>
                  </a:lnTo>
                  <a:lnTo>
                    <a:pt x="827102" y="1242695"/>
                  </a:lnTo>
                  <a:lnTo>
                    <a:pt x="831553" y="1236345"/>
                  </a:lnTo>
                  <a:lnTo>
                    <a:pt x="836957" y="1229995"/>
                  </a:lnTo>
                  <a:lnTo>
                    <a:pt x="842679" y="1223962"/>
                  </a:lnTo>
                  <a:lnTo>
                    <a:pt x="849036" y="1218247"/>
                  </a:lnTo>
                  <a:lnTo>
                    <a:pt x="856029" y="1212532"/>
                  </a:lnTo>
                  <a:lnTo>
                    <a:pt x="863659" y="1207452"/>
                  </a:lnTo>
                  <a:lnTo>
                    <a:pt x="871606" y="1202055"/>
                  </a:lnTo>
                  <a:lnTo>
                    <a:pt x="879870" y="1197292"/>
                  </a:lnTo>
                  <a:lnTo>
                    <a:pt x="888771" y="1192847"/>
                  </a:lnTo>
                  <a:lnTo>
                    <a:pt x="897990" y="1188085"/>
                  </a:lnTo>
                  <a:lnTo>
                    <a:pt x="907844" y="1183640"/>
                  </a:lnTo>
                  <a:lnTo>
                    <a:pt x="917380" y="1179512"/>
                  </a:lnTo>
                  <a:lnTo>
                    <a:pt x="928188" y="1175385"/>
                  </a:lnTo>
                  <a:lnTo>
                    <a:pt x="938360" y="1171575"/>
                  </a:lnTo>
                  <a:lnTo>
                    <a:pt x="949168" y="1168400"/>
                  </a:lnTo>
                  <a:lnTo>
                    <a:pt x="971420" y="1161415"/>
                  </a:lnTo>
                  <a:lnTo>
                    <a:pt x="993989" y="1155382"/>
                  </a:lnTo>
                  <a:lnTo>
                    <a:pt x="1016876" y="1150302"/>
                  </a:lnTo>
                  <a:lnTo>
                    <a:pt x="1040399" y="1145540"/>
                  </a:lnTo>
                  <a:lnTo>
                    <a:pt x="1063287" y="1141412"/>
                  </a:lnTo>
                  <a:lnTo>
                    <a:pt x="1085856" y="1138237"/>
                  </a:lnTo>
                  <a:lnTo>
                    <a:pt x="1090942" y="1137920"/>
                  </a:lnTo>
                  <a:lnTo>
                    <a:pt x="1096346" y="1138237"/>
                  </a:lnTo>
                  <a:lnTo>
                    <a:pt x="1169776" y="1409700"/>
                  </a:lnTo>
                  <a:lnTo>
                    <a:pt x="1171366" y="1398587"/>
                  </a:lnTo>
                  <a:lnTo>
                    <a:pt x="1196796" y="1212532"/>
                  </a:lnTo>
                  <a:lnTo>
                    <a:pt x="1189803" y="1194117"/>
                  </a:lnTo>
                  <a:lnTo>
                    <a:pt x="1203472" y="1169670"/>
                  </a:lnTo>
                  <a:lnTo>
                    <a:pt x="1235895" y="1169670"/>
                  </a:lnTo>
                  <a:lnTo>
                    <a:pt x="1249246" y="1194117"/>
                  </a:lnTo>
                  <a:lnTo>
                    <a:pt x="1242889" y="1216025"/>
                  </a:lnTo>
                  <a:lnTo>
                    <a:pt x="1265776" y="1412557"/>
                  </a:lnTo>
                  <a:lnTo>
                    <a:pt x="1325855" y="1146810"/>
                  </a:lnTo>
                  <a:lnTo>
                    <a:pt x="1332849" y="1143317"/>
                  </a:lnTo>
                  <a:lnTo>
                    <a:pt x="1337935" y="1141095"/>
                  </a:lnTo>
                  <a:lnTo>
                    <a:pt x="1341113" y="1139190"/>
                  </a:lnTo>
                  <a:lnTo>
                    <a:pt x="1341749" y="1138555"/>
                  </a:lnTo>
                  <a:lnTo>
                    <a:pt x="1341749" y="1138237"/>
                  </a:lnTo>
                  <a:lnTo>
                    <a:pt x="1352557" y="1136967"/>
                  </a:lnTo>
                  <a:lnTo>
                    <a:pt x="1364001" y="1136650"/>
                  </a:lnTo>
                  <a:close/>
                  <a:moveTo>
                    <a:pt x="276860" y="1112205"/>
                  </a:moveTo>
                  <a:lnTo>
                    <a:pt x="257810" y="1112523"/>
                  </a:lnTo>
                  <a:lnTo>
                    <a:pt x="239395" y="1114113"/>
                  </a:lnTo>
                  <a:lnTo>
                    <a:pt x="236537" y="1138913"/>
                  </a:lnTo>
                  <a:lnTo>
                    <a:pt x="176212" y="1139866"/>
                  </a:lnTo>
                  <a:lnTo>
                    <a:pt x="175260" y="1124923"/>
                  </a:lnTo>
                  <a:lnTo>
                    <a:pt x="166687" y="1127784"/>
                  </a:lnTo>
                  <a:lnTo>
                    <a:pt x="158432" y="1130328"/>
                  </a:lnTo>
                  <a:lnTo>
                    <a:pt x="151130" y="1132872"/>
                  </a:lnTo>
                  <a:lnTo>
                    <a:pt x="143827" y="1136051"/>
                  </a:lnTo>
                  <a:lnTo>
                    <a:pt x="137160" y="1138913"/>
                  </a:lnTo>
                  <a:lnTo>
                    <a:pt x="130810" y="1142410"/>
                  </a:lnTo>
                  <a:lnTo>
                    <a:pt x="125095" y="1145271"/>
                  </a:lnTo>
                  <a:lnTo>
                    <a:pt x="119697" y="1148769"/>
                  </a:lnTo>
                  <a:lnTo>
                    <a:pt x="115252" y="1152584"/>
                  </a:lnTo>
                  <a:lnTo>
                    <a:pt x="111125" y="1155763"/>
                  </a:lnTo>
                  <a:lnTo>
                    <a:pt x="107315" y="1159261"/>
                  </a:lnTo>
                  <a:lnTo>
                    <a:pt x="104457" y="1163076"/>
                  </a:lnTo>
                  <a:lnTo>
                    <a:pt x="102235" y="1166891"/>
                  </a:lnTo>
                  <a:lnTo>
                    <a:pt x="100647" y="1170071"/>
                  </a:lnTo>
                  <a:lnTo>
                    <a:pt x="99377" y="1173886"/>
                  </a:lnTo>
                  <a:lnTo>
                    <a:pt x="99060" y="1177384"/>
                  </a:lnTo>
                  <a:lnTo>
                    <a:pt x="99377" y="1180245"/>
                  </a:lnTo>
                  <a:lnTo>
                    <a:pt x="100330" y="1183425"/>
                  </a:lnTo>
                  <a:lnTo>
                    <a:pt x="101282" y="1186286"/>
                  </a:lnTo>
                  <a:lnTo>
                    <a:pt x="102870" y="1189148"/>
                  </a:lnTo>
                  <a:lnTo>
                    <a:pt x="104775" y="1192009"/>
                  </a:lnTo>
                  <a:lnTo>
                    <a:pt x="106997" y="1195188"/>
                  </a:lnTo>
                  <a:lnTo>
                    <a:pt x="109537" y="1197732"/>
                  </a:lnTo>
                  <a:lnTo>
                    <a:pt x="112712" y="1200593"/>
                  </a:lnTo>
                  <a:lnTo>
                    <a:pt x="116205" y="1203455"/>
                  </a:lnTo>
                  <a:lnTo>
                    <a:pt x="119697" y="1206316"/>
                  </a:lnTo>
                  <a:lnTo>
                    <a:pt x="124460" y="1208860"/>
                  </a:lnTo>
                  <a:lnTo>
                    <a:pt x="128905" y="1211721"/>
                  </a:lnTo>
                  <a:lnTo>
                    <a:pt x="138747" y="1216809"/>
                  </a:lnTo>
                  <a:lnTo>
                    <a:pt x="149860" y="1221896"/>
                  </a:lnTo>
                  <a:lnTo>
                    <a:pt x="162242" y="1226347"/>
                  </a:lnTo>
                  <a:lnTo>
                    <a:pt x="175895" y="1230162"/>
                  </a:lnTo>
                  <a:lnTo>
                    <a:pt x="190500" y="1233977"/>
                  </a:lnTo>
                  <a:lnTo>
                    <a:pt x="206375" y="1236839"/>
                  </a:lnTo>
                  <a:lnTo>
                    <a:pt x="222885" y="1239383"/>
                  </a:lnTo>
                  <a:lnTo>
                    <a:pt x="240030" y="1241290"/>
                  </a:lnTo>
                  <a:lnTo>
                    <a:pt x="258127" y="1242562"/>
                  </a:lnTo>
                  <a:lnTo>
                    <a:pt x="276860" y="1242880"/>
                  </a:lnTo>
                  <a:lnTo>
                    <a:pt x="295910" y="1242562"/>
                  </a:lnTo>
                  <a:lnTo>
                    <a:pt x="313690" y="1241290"/>
                  </a:lnTo>
                  <a:lnTo>
                    <a:pt x="331153" y="1239383"/>
                  </a:lnTo>
                  <a:lnTo>
                    <a:pt x="347663" y="1236839"/>
                  </a:lnTo>
                  <a:lnTo>
                    <a:pt x="363220" y="1233977"/>
                  </a:lnTo>
                  <a:lnTo>
                    <a:pt x="377825" y="1230162"/>
                  </a:lnTo>
                  <a:lnTo>
                    <a:pt x="391160" y="1226347"/>
                  </a:lnTo>
                  <a:lnTo>
                    <a:pt x="403860" y="1221896"/>
                  </a:lnTo>
                  <a:lnTo>
                    <a:pt x="414973" y="1216809"/>
                  </a:lnTo>
                  <a:lnTo>
                    <a:pt x="425133" y="1211721"/>
                  </a:lnTo>
                  <a:lnTo>
                    <a:pt x="429578" y="1208860"/>
                  </a:lnTo>
                  <a:lnTo>
                    <a:pt x="433705" y="1206316"/>
                  </a:lnTo>
                  <a:lnTo>
                    <a:pt x="437515" y="1203455"/>
                  </a:lnTo>
                  <a:lnTo>
                    <a:pt x="441008" y="1200593"/>
                  </a:lnTo>
                  <a:lnTo>
                    <a:pt x="444183" y="1197732"/>
                  </a:lnTo>
                  <a:lnTo>
                    <a:pt x="447040" y="1195188"/>
                  </a:lnTo>
                  <a:lnTo>
                    <a:pt x="449263" y="1192009"/>
                  </a:lnTo>
                  <a:lnTo>
                    <a:pt x="451168" y="1189148"/>
                  </a:lnTo>
                  <a:lnTo>
                    <a:pt x="452438" y="1186286"/>
                  </a:lnTo>
                  <a:lnTo>
                    <a:pt x="453708" y="1183425"/>
                  </a:lnTo>
                  <a:lnTo>
                    <a:pt x="454343" y="1180245"/>
                  </a:lnTo>
                  <a:lnTo>
                    <a:pt x="454343" y="1177384"/>
                  </a:lnTo>
                  <a:lnTo>
                    <a:pt x="454025" y="1173568"/>
                  </a:lnTo>
                  <a:lnTo>
                    <a:pt x="453073" y="1169435"/>
                  </a:lnTo>
                  <a:lnTo>
                    <a:pt x="450850" y="1165620"/>
                  </a:lnTo>
                  <a:lnTo>
                    <a:pt x="447993" y="1161486"/>
                  </a:lnTo>
                  <a:lnTo>
                    <a:pt x="444183" y="1157671"/>
                  </a:lnTo>
                  <a:lnTo>
                    <a:pt x="440055" y="1153538"/>
                  </a:lnTo>
                  <a:lnTo>
                    <a:pt x="435293" y="1149723"/>
                  </a:lnTo>
                  <a:lnTo>
                    <a:pt x="429578" y="1146225"/>
                  </a:lnTo>
                  <a:lnTo>
                    <a:pt x="423228" y="1142728"/>
                  </a:lnTo>
                  <a:lnTo>
                    <a:pt x="416560" y="1138913"/>
                  </a:lnTo>
                  <a:lnTo>
                    <a:pt x="408940" y="1135415"/>
                  </a:lnTo>
                  <a:lnTo>
                    <a:pt x="400685" y="1132554"/>
                  </a:lnTo>
                  <a:lnTo>
                    <a:pt x="392113" y="1129692"/>
                  </a:lnTo>
                  <a:lnTo>
                    <a:pt x="382905" y="1126513"/>
                  </a:lnTo>
                  <a:lnTo>
                    <a:pt x="373380" y="1123969"/>
                  </a:lnTo>
                  <a:lnTo>
                    <a:pt x="363220" y="1121744"/>
                  </a:lnTo>
                  <a:lnTo>
                    <a:pt x="361633" y="1139866"/>
                  </a:lnTo>
                  <a:lnTo>
                    <a:pt x="304165" y="1139866"/>
                  </a:lnTo>
                  <a:lnTo>
                    <a:pt x="300673" y="1113477"/>
                  </a:lnTo>
                  <a:lnTo>
                    <a:pt x="288925" y="1112523"/>
                  </a:lnTo>
                  <a:lnTo>
                    <a:pt x="276860" y="1112205"/>
                  </a:lnTo>
                  <a:close/>
                  <a:moveTo>
                    <a:pt x="1696009" y="1087438"/>
                  </a:moveTo>
                  <a:lnTo>
                    <a:pt x="1706562" y="1093141"/>
                  </a:lnTo>
                  <a:lnTo>
                    <a:pt x="1628215" y="1238251"/>
                  </a:lnTo>
                  <a:lnTo>
                    <a:pt x="1617662" y="1232865"/>
                  </a:lnTo>
                  <a:lnTo>
                    <a:pt x="1696009" y="1087438"/>
                  </a:lnTo>
                  <a:close/>
                  <a:moveTo>
                    <a:pt x="2290762" y="1082675"/>
                  </a:moveTo>
                  <a:lnTo>
                    <a:pt x="2349183" y="1093734"/>
                  </a:lnTo>
                  <a:lnTo>
                    <a:pt x="2351088" y="1094049"/>
                  </a:lnTo>
                  <a:lnTo>
                    <a:pt x="2352993" y="1095313"/>
                  </a:lnTo>
                  <a:lnTo>
                    <a:pt x="2354580" y="1096893"/>
                  </a:lnTo>
                  <a:lnTo>
                    <a:pt x="2356168" y="1098473"/>
                  </a:lnTo>
                  <a:lnTo>
                    <a:pt x="2357438" y="1101001"/>
                  </a:lnTo>
                  <a:lnTo>
                    <a:pt x="2358708" y="1103528"/>
                  </a:lnTo>
                  <a:lnTo>
                    <a:pt x="2360613" y="1109848"/>
                  </a:lnTo>
                  <a:lnTo>
                    <a:pt x="2362200" y="1116483"/>
                  </a:lnTo>
                  <a:lnTo>
                    <a:pt x="2363470" y="1124066"/>
                  </a:lnTo>
                  <a:lnTo>
                    <a:pt x="2365058" y="1138600"/>
                  </a:lnTo>
                  <a:lnTo>
                    <a:pt x="2365375" y="1141760"/>
                  </a:lnTo>
                  <a:lnTo>
                    <a:pt x="2365058" y="1143971"/>
                  </a:lnTo>
                  <a:lnTo>
                    <a:pt x="2364740" y="1144919"/>
                  </a:lnTo>
                  <a:lnTo>
                    <a:pt x="2363470" y="1145867"/>
                  </a:lnTo>
                  <a:lnTo>
                    <a:pt x="2362835" y="1145235"/>
                  </a:lnTo>
                  <a:lnTo>
                    <a:pt x="2361248" y="1144603"/>
                  </a:lnTo>
                  <a:lnTo>
                    <a:pt x="2359660" y="1143655"/>
                  </a:lnTo>
                  <a:lnTo>
                    <a:pt x="2358708" y="1142076"/>
                  </a:lnTo>
                  <a:lnTo>
                    <a:pt x="2355533" y="1137968"/>
                  </a:lnTo>
                  <a:lnTo>
                    <a:pt x="2352993" y="1133545"/>
                  </a:lnTo>
                  <a:lnTo>
                    <a:pt x="2351088" y="1128489"/>
                  </a:lnTo>
                  <a:lnTo>
                    <a:pt x="2350453" y="1126593"/>
                  </a:lnTo>
                  <a:lnTo>
                    <a:pt x="2350453" y="1124698"/>
                  </a:lnTo>
                  <a:lnTo>
                    <a:pt x="2350135" y="1121854"/>
                  </a:lnTo>
                  <a:lnTo>
                    <a:pt x="2349183" y="1119958"/>
                  </a:lnTo>
                  <a:lnTo>
                    <a:pt x="2347913" y="1118694"/>
                  </a:lnTo>
                  <a:lnTo>
                    <a:pt x="2346960" y="1118378"/>
                  </a:lnTo>
                  <a:lnTo>
                    <a:pt x="2346643" y="1118378"/>
                  </a:lnTo>
                  <a:lnTo>
                    <a:pt x="2346008" y="1118378"/>
                  </a:lnTo>
                  <a:lnTo>
                    <a:pt x="2345055" y="1119326"/>
                  </a:lnTo>
                  <a:lnTo>
                    <a:pt x="2344420" y="1119958"/>
                  </a:lnTo>
                  <a:lnTo>
                    <a:pt x="2343785" y="1120906"/>
                  </a:lnTo>
                  <a:lnTo>
                    <a:pt x="2342833" y="1124066"/>
                  </a:lnTo>
                  <a:lnTo>
                    <a:pt x="2342515" y="1128173"/>
                  </a:lnTo>
                  <a:lnTo>
                    <a:pt x="2342198" y="1132597"/>
                  </a:lnTo>
                  <a:lnTo>
                    <a:pt x="2341245" y="1136704"/>
                  </a:lnTo>
                  <a:lnTo>
                    <a:pt x="2340293" y="1140180"/>
                  </a:lnTo>
                  <a:lnTo>
                    <a:pt x="2339023" y="1141760"/>
                  </a:lnTo>
                  <a:lnTo>
                    <a:pt x="2338070" y="1143023"/>
                  </a:lnTo>
                  <a:lnTo>
                    <a:pt x="2336800" y="1144287"/>
                  </a:lnTo>
                  <a:lnTo>
                    <a:pt x="2335530" y="1145235"/>
                  </a:lnTo>
                  <a:lnTo>
                    <a:pt x="2333625" y="1146183"/>
                  </a:lnTo>
                  <a:lnTo>
                    <a:pt x="2331720" y="1146815"/>
                  </a:lnTo>
                  <a:lnTo>
                    <a:pt x="2329815" y="1147131"/>
                  </a:lnTo>
                  <a:lnTo>
                    <a:pt x="2326957" y="1147763"/>
                  </a:lnTo>
                  <a:lnTo>
                    <a:pt x="2321877" y="1147763"/>
                  </a:lnTo>
                  <a:lnTo>
                    <a:pt x="2319655" y="1147131"/>
                  </a:lnTo>
                  <a:lnTo>
                    <a:pt x="2317432" y="1146499"/>
                  </a:lnTo>
                  <a:lnTo>
                    <a:pt x="2315210" y="1145235"/>
                  </a:lnTo>
                  <a:lnTo>
                    <a:pt x="2313305" y="1144287"/>
                  </a:lnTo>
                  <a:lnTo>
                    <a:pt x="2311400" y="1142392"/>
                  </a:lnTo>
                  <a:lnTo>
                    <a:pt x="2309495" y="1140812"/>
                  </a:lnTo>
                  <a:lnTo>
                    <a:pt x="2306002" y="1136388"/>
                  </a:lnTo>
                  <a:lnTo>
                    <a:pt x="2303145" y="1131649"/>
                  </a:lnTo>
                  <a:lnTo>
                    <a:pt x="2300922" y="1125962"/>
                  </a:lnTo>
                  <a:lnTo>
                    <a:pt x="2298382" y="1120274"/>
                  </a:lnTo>
                  <a:lnTo>
                    <a:pt x="2296795" y="1114271"/>
                  </a:lnTo>
                  <a:lnTo>
                    <a:pt x="2295207" y="1108268"/>
                  </a:lnTo>
                  <a:lnTo>
                    <a:pt x="2293620" y="1102580"/>
                  </a:lnTo>
                  <a:lnTo>
                    <a:pt x="2291715" y="1092470"/>
                  </a:lnTo>
                  <a:lnTo>
                    <a:pt x="2291080" y="1085519"/>
                  </a:lnTo>
                  <a:lnTo>
                    <a:pt x="2290762" y="1082675"/>
                  </a:lnTo>
                  <a:close/>
                  <a:moveTo>
                    <a:pt x="2847975" y="1081088"/>
                  </a:moveTo>
                  <a:lnTo>
                    <a:pt x="2847658" y="1083616"/>
                  </a:lnTo>
                  <a:lnTo>
                    <a:pt x="2846705" y="1090883"/>
                  </a:lnTo>
                  <a:lnTo>
                    <a:pt x="2844800" y="1100993"/>
                  </a:lnTo>
                  <a:lnTo>
                    <a:pt x="2843530" y="1106997"/>
                  </a:lnTo>
                  <a:lnTo>
                    <a:pt x="2842260" y="1113000"/>
                  </a:lnTo>
                  <a:lnTo>
                    <a:pt x="2840355" y="1119003"/>
                  </a:lnTo>
                  <a:lnTo>
                    <a:pt x="2838133" y="1124375"/>
                  </a:lnTo>
                  <a:lnTo>
                    <a:pt x="2835275" y="1130062"/>
                  </a:lnTo>
                  <a:lnTo>
                    <a:pt x="2832735" y="1134801"/>
                  </a:lnTo>
                  <a:lnTo>
                    <a:pt x="2829243" y="1139225"/>
                  </a:lnTo>
                  <a:lnTo>
                    <a:pt x="2827338" y="1140805"/>
                  </a:lnTo>
                  <a:lnTo>
                    <a:pt x="2825433" y="1142384"/>
                  </a:lnTo>
                  <a:lnTo>
                    <a:pt x="2823845" y="1143964"/>
                  </a:lnTo>
                  <a:lnTo>
                    <a:pt x="2821305" y="1144596"/>
                  </a:lnTo>
                  <a:lnTo>
                    <a:pt x="2819083" y="1145544"/>
                  </a:lnTo>
                  <a:lnTo>
                    <a:pt x="2816860" y="1145860"/>
                  </a:lnTo>
                  <a:lnTo>
                    <a:pt x="2811145" y="1146176"/>
                  </a:lnTo>
                  <a:lnTo>
                    <a:pt x="2808922" y="1145860"/>
                  </a:lnTo>
                  <a:lnTo>
                    <a:pt x="2807017" y="1145544"/>
                  </a:lnTo>
                  <a:lnTo>
                    <a:pt x="2804795" y="1144596"/>
                  </a:lnTo>
                  <a:lnTo>
                    <a:pt x="2803525" y="1143964"/>
                  </a:lnTo>
                  <a:lnTo>
                    <a:pt x="2801937" y="1142700"/>
                  </a:lnTo>
                  <a:lnTo>
                    <a:pt x="2800667" y="1141752"/>
                  </a:lnTo>
                  <a:lnTo>
                    <a:pt x="2799715" y="1140173"/>
                  </a:lnTo>
                  <a:lnTo>
                    <a:pt x="2798445" y="1138593"/>
                  </a:lnTo>
                  <a:lnTo>
                    <a:pt x="2796857" y="1135433"/>
                  </a:lnTo>
                  <a:lnTo>
                    <a:pt x="2796222" y="1131326"/>
                  </a:lnTo>
                  <a:lnTo>
                    <a:pt x="2796222" y="1126586"/>
                  </a:lnTo>
                  <a:lnTo>
                    <a:pt x="2795905" y="1122163"/>
                  </a:lnTo>
                  <a:lnTo>
                    <a:pt x="2794635" y="1119319"/>
                  </a:lnTo>
                  <a:lnTo>
                    <a:pt x="2794317" y="1118371"/>
                  </a:lnTo>
                  <a:lnTo>
                    <a:pt x="2793682" y="1117423"/>
                  </a:lnTo>
                  <a:lnTo>
                    <a:pt x="2792730" y="1117107"/>
                  </a:lnTo>
                  <a:lnTo>
                    <a:pt x="2792095" y="1117107"/>
                  </a:lnTo>
                  <a:lnTo>
                    <a:pt x="2791460" y="1117107"/>
                  </a:lnTo>
                  <a:lnTo>
                    <a:pt x="2790507" y="1117107"/>
                  </a:lnTo>
                  <a:lnTo>
                    <a:pt x="2789555" y="1118371"/>
                  </a:lnTo>
                  <a:lnTo>
                    <a:pt x="2788602" y="1120267"/>
                  </a:lnTo>
                  <a:lnTo>
                    <a:pt x="2788285" y="1123427"/>
                  </a:lnTo>
                  <a:lnTo>
                    <a:pt x="2787967" y="1125322"/>
                  </a:lnTo>
                  <a:lnTo>
                    <a:pt x="2787650" y="1127218"/>
                  </a:lnTo>
                  <a:lnTo>
                    <a:pt x="2785745" y="1131642"/>
                  </a:lnTo>
                  <a:lnTo>
                    <a:pt x="2783205" y="1136381"/>
                  </a:lnTo>
                  <a:lnTo>
                    <a:pt x="2780030" y="1140489"/>
                  </a:lnTo>
                  <a:lnTo>
                    <a:pt x="2778442" y="1142068"/>
                  </a:lnTo>
                  <a:lnTo>
                    <a:pt x="2777490" y="1143332"/>
                  </a:lnTo>
                  <a:lnTo>
                    <a:pt x="2775902" y="1143964"/>
                  </a:lnTo>
                  <a:lnTo>
                    <a:pt x="2774950" y="1143964"/>
                  </a:lnTo>
                  <a:lnTo>
                    <a:pt x="2773997" y="1143648"/>
                  </a:lnTo>
                  <a:lnTo>
                    <a:pt x="2773680" y="1142384"/>
                  </a:lnTo>
                  <a:lnTo>
                    <a:pt x="2773362" y="1140173"/>
                  </a:lnTo>
                  <a:lnTo>
                    <a:pt x="2773362" y="1137329"/>
                  </a:lnTo>
                  <a:lnTo>
                    <a:pt x="2775267" y="1122479"/>
                  </a:lnTo>
                  <a:lnTo>
                    <a:pt x="2776220" y="1115212"/>
                  </a:lnTo>
                  <a:lnTo>
                    <a:pt x="2777807" y="1108261"/>
                  </a:lnTo>
                  <a:lnTo>
                    <a:pt x="2780030" y="1101941"/>
                  </a:lnTo>
                  <a:lnTo>
                    <a:pt x="2781300" y="1099414"/>
                  </a:lnTo>
                  <a:lnTo>
                    <a:pt x="2782252" y="1097202"/>
                  </a:lnTo>
                  <a:lnTo>
                    <a:pt x="2783840" y="1095306"/>
                  </a:lnTo>
                  <a:lnTo>
                    <a:pt x="2785427" y="1093410"/>
                  </a:lnTo>
                  <a:lnTo>
                    <a:pt x="2787332" y="1092778"/>
                  </a:lnTo>
                  <a:lnTo>
                    <a:pt x="2789237" y="1092147"/>
                  </a:lnTo>
                  <a:lnTo>
                    <a:pt x="2847975" y="1081088"/>
                  </a:lnTo>
                  <a:close/>
                  <a:moveTo>
                    <a:pt x="2154535" y="1031875"/>
                  </a:moveTo>
                  <a:lnTo>
                    <a:pt x="2276475" y="1148694"/>
                  </a:lnTo>
                  <a:lnTo>
                    <a:pt x="2268240" y="1157288"/>
                  </a:lnTo>
                  <a:lnTo>
                    <a:pt x="2146300" y="1040469"/>
                  </a:lnTo>
                  <a:lnTo>
                    <a:pt x="2154535" y="1031875"/>
                  </a:lnTo>
                  <a:close/>
                  <a:moveTo>
                    <a:pt x="951225" y="992188"/>
                  </a:moveTo>
                  <a:lnTo>
                    <a:pt x="954087" y="1004130"/>
                  </a:lnTo>
                  <a:lnTo>
                    <a:pt x="747081" y="1054101"/>
                  </a:lnTo>
                  <a:lnTo>
                    <a:pt x="744537" y="1042158"/>
                  </a:lnTo>
                  <a:lnTo>
                    <a:pt x="951225" y="992188"/>
                  </a:lnTo>
                  <a:close/>
                  <a:moveTo>
                    <a:pt x="263208" y="913173"/>
                  </a:moveTo>
                  <a:lnTo>
                    <a:pt x="242887" y="1082955"/>
                  </a:lnTo>
                  <a:lnTo>
                    <a:pt x="259715" y="1082001"/>
                  </a:lnTo>
                  <a:lnTo>
                    <a:pt x="276860" y="1081683"/>
                  </a:lnTo>
                  <a:lnTo>
                    <a:pt x="296863" y="1082001"/>
                  </a:lnTo>
                  <a:lnTo>
                    <a:pt x="275590" y="913173"/>
                  </a:lnTo>
                  <a:lnTo>
                    <a:pt x="271780" y="913491"/>
                  </a:lnTo>
                  <a:lnTo>
                    <a:pt x="267970" y="913491"/>
                  </a:lnTo>
                  <a:lnTo>
                    <a:pt x="265748" y="913491"/>
                  </a:lnTo>
                  <a:lnTo>
                    <a:pt x="263208" y="913173"/>
                  </a:lnTo>
                  <a:close/>
                  <a:moveTo>
                    <a:pt x="1967124" y="852488"/>
                  </a:moveTo>
                  <a:lnTo>
                    <a:pt x="2032000" y="915353"/>
                  </a:lnTo>
                  <a:lnTo>
                    <a:pt x="2023538" y="923926"/>
                  </a:lnTo>
                  <a:lnTo>
                    <a:pt x="1958975" y="861378"/>
                  </a:lnTo>
                  <a:lnTo>
                    <a:pt x="1967124" y="852488"/>
                  </a:lnTo>
                  <a:close/>
                  <a:moveTo>
                    <a:pt x="71437" y="820738"/>
                  </a:moveTo>
                  <a:lnTo>
                    <a:pt x="113846" y="828515"/>
                  </a:lnTo>
                  <a:lnTo>
                    <a:pt x="115452" y="828826"/>
                  </a:lnTo>
                  <a:lnTo>
                    <a:pt x="116737" y="829759"/>
                  </a:lnTo>
                  <a:lnTo>
                    <a:pt x="117701" y="830692"/>
                  </a:lnTo>
                  <a:lnTo>
                    <a:pt x="118986" y="832247"/>
                  </a:lnTo>
                  <a:lnTo>
                    <a:pt x="120914" y="835669"/>
                  </a:lnTo>
                  <a:lnTo>
                    <a:pt x="121878" y="840024"/>
                  </a:lnTo>
                  <a:lnTo>
                    <a:pt x="123163" y="844690"/>
                  </a:lnTo>
                  <a:lnTo>
                    <a:pt x="124127" y="850289"/>
                  </a:lnTo>
                  <a:lnTo>
                    <a:pt x="125412" y="860555"/>
                  </a:lnTo>
                  <a:lnTo>
                    <a:pt x="125412" y="862732"/>
                  </a:lnTo>
                  <a:lnTo>
                    <a:pt x="125412" y="863976"/>
                  </a:lnTo>
                  <a:lnTo>
                    <a:pt x="125090" y="864909"/>
                  </a:lnTo>
                  <a:lnTo>
                    <a:pt x="124127" y="865532"/>
                  </a:lnTo>
                  <a:lnTo>
                    <a:pt x="123484" y="865532"/>
                  </a:lnTo>
                  <a:lnTo>
                    <a:pt x="122842" y="864598"/>
                  </a:lnTo>
                  <a:lnTo>
                    <a:pt x="120271" y="862732"/>
                  </a:lnTo>
                  <a:lnTo>
                    <a:pt x="118344" y="859932"/>
                  </a:lnTo>
                  <a:lnTo>
                    <a:pt x="116737" y="856511"/>
                  </a:lnTo>
                  <a:lnTo>
                    <a:pt x="115131" y="853089"/>
                  </a:lnTo>
                  <a:lnTo>
                    <a:pt x="114810" y="850600"/>
                  </a:lnTo>
                  <a:lnTo>
                    <a:pt x="114167" y="848423"/>
                  </a:lnTo>
                  <a:lnTo>
                    <a:pt x="113846" y="846868"/>
                  </a:lnTo>
                  <a:lnTo>
                    <a:pt x="112882" y="846245"/>
                  </a:lnTo>
                  <a:lnTo>
                    <a:pt x="111597" y="846245"/>
                  </a:lnTo>
                  <a:lnTo>
                    <a:pt x="110954" y="846556"/>
                  </a:lnTo>
                  <a:lnTo>
                    <a:pt x="109669" y="847801"/>
                  </a:lnTo>
                  <a:lnTo>
                    <a:pt x="109348" y="849978"/>
                  </a:lnTo>
                  <a:lnTo>
                    <a:pt x="109026" y="852778"/>
                  </a:lnTo>
                  <a:lnTo>
                    <a:pt x="108705" y="856200"/>
                  </a:lnTo>
                  <a:lnTo>
                    <a:pt x="108384" y="858999"/>
                  </a:lnTo>
                  <a:lnTo>
                    <a:pt x="107099" y="861799"/>
                  </a:lnTo>
                  <a:lnTo>
                    <a:pt x="105492" y="863665"/>
                  </a:lnTo>
                  <a:lnTo>
                    <a:pt x="103565" y="864909"/>
                  </a:lnTo>
                  <a:lnTo>
                    <a:pt x="100994" y="866154"/>
                  </a:lnTo>
                  <a:lnTo>
                    <a:pt x="98103" y="866776"/>
                  </a:lnTo>
                  <a:lnTo>
                    <a:pt x="93926" y="866465"/>
                  </a:lnTo>
                  <a:lnTo>
                    <a:pt x="92320" y="866465"/>
                  </a:lnTo>
                  <a:lnTo>
                    <a:pt x="90392" y="865843"/>
                  </a:lnTo>
                  <a:lnTo>
                    <a:pt x="87822" y="864287"/>
                  </a:lnTo>
                  <a:lnTo>
                    <a:pt x="84931" y="861799"/>
                  </a:lnTo>
                  <a:lnTo>
                    <a:pt x="82360" y="858688"/>
                  </a:lnTo>
                  <a:lnTo>
                    <a:pt x="80433" y="855577"/>
                  </a:lnTo>
                  <a:lnTo>
                    <a:pt x="78505" y="851534"/>
                  </a:lnTo>
                  <a:lnTo>
                    <a:pt x="76899" y="847490"/>
                  </a:lnTo>
                  <a:lnTo>
                    <a:pt x="75613" y="843446"/>
                  </a:lnTo>
                  <a:lnTo>
                    <a:pt x="73686" y="834736"/>
                  </a:lnTo>
                  <a:lnTo>
                    <a:pt x="72079" y="827892"/>
                  </a:lnTo>
                  <a:lnTo>
                    <a:pt x="71437" y="820738"/>
                  </a:lnTo>
                  <a:close/>
                  <a:moveTo>
                    <a:pt x="471487" y="819150"/>
                  </a:moveTo>
                  <a:lnTo>
                    <a:pt x="470534" y="826277"/>
                  </a:lnTo>
                  <a:lnTo>
                    <a:pt x="468947" y="833729"/>
                  </a:lnTo>
                  <a:lnTo>
                    <a:pt x="467042" y="842152"/>
                  </a:lnTo>
                  <a:lnTo>
                    <a:pt x="465772" y="846688"/>
                  </a:lnTo>
                  <a:lnTo>
                    <a:pt x="464184" y="850900"/>
                  </a:lnTo>
                  <a:lnTo>
                    <a:pt x="462279" y="854788"/>
                  </a:lnTo>
                  <a:lnTo>
                    <a:pt x="460374" y="858675"/>
                  </a:lnTo>
                  <a:lnTo>
                    <a:pt x="457834" y="861591"/>
                  </a:lnTo>
                  <a:lnTo>
                    <a:pt x="455294" y="864507"/>
                  </a:lnTo>
                  <a:lnTo>
                    <a:pt x="452119" y="865803"/>
                  </a:lnTo>
                  <a:lnTo>
                    <a:pt x="450532" y="866451"/>
                  </a:lnTo>
                  <a:lnTo>
                    <a:pt x="449262" y="866775"/>
                  </a:lnTo>
                  <a:lnTo>
                    <a:pt x="445134" y="866775"/>
                  </a:lnTo>
                  <a:lnTo>
                    <a:pt x="441959" y="866451"/>
                  </a:lnTo>
                  <a:lnTo>
                    <a:pt x="439419" y="865155"/>
                  </a:lnTo>
                  <a:lnTo>
                    <a:pt x="437514" y="863535"/>
                  </a:lnTo>
                  <a:lnTo>
                    <a:pt x="435927" y="861267"/>
                  </a:lnTo>
                  <a:lnTo>
                    <a:pt x="434974" y="858999"/>
                  </a:lnTo>
                  <a:lnTo>
                    <a:pt x="434022" y="856084"/>
                  </a:lnTo>
                  <a:lnTo>
                    <a:pt x="434022" y="852520"/>
                  </a:lnTo>
                  <a:lnTo>
                    <a:pt x="433704" y="849280"/>
                  </a:lnTo>
                  <a:lnTo>
                    <a:pt x="433387" y="847012"/>
                  </a:lnTo>
                  <a:lnTo>
                    <a:pt x="432117" y="846040"/>
                  </a:lnTo>
                  <a:lnTo>
                    <a:pt x="431482" y="845068"/>
                  </a:lnTo>
                  <a:lnTo>
                    <a:pt x="430212" y="845716"/>
                  </a:lnTo>
                  <a:lnTo>
                    <a:pt x="429259" y="846364"/>
                  </a:lnTo>
                  <a:lnTo>
                    <a:pt x="428942" y="847984"/>
                  </a:lnTo>
                  <a:lnTo>
                    <a:pt x="428624" y="850252"/>
                  </a:lnTo>
                  <a:lnTo>
                    <a:pt x="427989" y="852844"/>
                  </a:lnTo>
                  <a:lnTo>
                    <a:pt x="426719" y="856408"/>
                  </a:lnTo>
                  <a:lnTo>
                    <a:pt x="424814" y="859647"/>
                  </a:lnTo>
                  <a:lnTo>
                    <a:pt x="422592" y="862563"/>
                  </a:lnTo>
                  <a:lnTo>
                    <a:pt x="420687" y="864831"/>
                  </a:lnTo>
                  <a:lnTo>
                    <a:pt x="419734" y="865155"/>
                  </a:lnTo>
                  <a:lnTo>
                    <a:pt x="419099" y="865479"/>
                  </a:lnTo>
                  <a:lnTo>
                    <a:pt x="418464" y="865155"/>
                  </a:lnTo>
                  <a:lnTo>
                    <a:pt x="417829" y="863859"/>
                  </a:lnTo>
                  <a:lnTo>
                    <a:pt x="417512" y="862563"/>
                  </a:lnTo>
                  <a:lnTo>
                    <a:pt x="417829" y="860619"/>
                  </a:lnTo>
                  <a:lnTo>
                    <a:pt x="419099" y="849280"/>
                  </a:lnTo>
                  <a:lnTo>
                    <a:pt x="419734" y="844096"/>
                  </a:lnTo>
                  <a:lnTo>
                    <a:pt x="421004" y="838913"/>
                  </a:lnTo>
                  <a:lnTo>
                    <a:pt x="422592" y="834377"/>
                  </a:lnTo>
                  <a:lnTo>
                    <a:pt x="424179" y="830489"/>
                  </a:lnTo>
                  <a:lnTo>
                    <a:pt x="425449" y="829193"/>
                  </a:lnTo>
                  <a:lnTo>
                    <a:pt x="426719" y="828221"/>
                  </a:lnTo>
                  <a:lnTo>
                    <a:pt x="427672" y="827573"/>
                  </a:lnTo>
                  <a:lnTo>
                    <a:pt x="429259" y="827249"/>
                  </a:lnTo>
                  <a:lnTo>
                    <a:pt x="471487" y="819150"/>
                  </a:lnTo>
                  <a:close/>
                  <a:moveTo>
                    <a:pt x="1825625" y="773113"/>
                  </a:moveTo>
                  <a:lnTo>
                    <a:pt x="1867021" y="773113"/>
                  </a:lnTo>
                  <a:lnTo>
                    <a:pt x="1873657" y="778074"/>
                  </a:lnTo>
                  <a:lnTo>
                    <a:pt x="1879660" y="782704"/>
                  </a:lnTo>
                  <a:lnTo>
                    <a:pt x="1885664" y="787996"/>
                  </a:lnTo>
                  <a:lnTo>
                    <a:pt x="1888192" y="790972"/>
                  </a:lnTo>
                  <a:lnTo>
                    <a:pt x="1890404" y="793618"/>
                  </a:lnTo>
                  <a:lnTo>
                    <a:pt x="1891668" y="796264"/>
                  </a:lnTo>
                  <a:lnTo>
                    <a:pt x="1891984" y="797587"/>
                  </a:lnTo>
                  <a:lnTo>
                    <a:pt x="1892300" y="798579"/>
                  </a:lnTo>
                  <a:lnTo>
                    <a:pt x="1891984" y="799902"/>
                  </a:lnTo>
                  <a:lnTo>
                    <a:pt x="1891668" y="801225"/>
                  </a:lnTo>
                  <a:lnTo>
                    <a:pt x="1891036" y="801886"/>
                  </a:lnTo>
                  <a:lnTo>
                    <a:pt x="1889772" y="802548"/>
                  </a:lnTo>
                  <a:lnTo>
                    <a:pt x="1888192" y="803540"/>
                  </a:lnTo>
                  <a:lnTo>
                    <a:pt x="1886296" y="804201"/>
                  </a:lnTo>
                  <a:lnTo>
                    <a:pt x="1881556" y="804863"/>
                  </a:lnTo>
                  <a:lnTo>
                    <a:pt x="1875237" y="804863"/>
                  </a:lnTo>
                  <a:lnTo>
                    <a:pt x="1869233" y="804201"/>
                  </a:lnTo>
                  <a:lnTo>
                    <a:pt x="1863861" y="802878"/>
                  </a:lnTo>
                  <a:lnTo>
                    <a:pt x="1859121" y="801556"/>
                  </a:lnTo>
                  <a:lnTo>
                    <a:pt x="1854697" y="799240"/>
                  </a:lnTo>
                  <a:lnTo>
                    <a:pt x="1849957" y="796595"/>
                  </a:lnTo>
                  <a:lnTo>
                    <a:pt x="1846481" y="793949"/>
                  </a:lnTo>
                  <a:lnTo>
                    <a:pt x="1842373" y="790972"/>
                  </a:lnTo>
                  <a:lnTo>
                    <a:pt x="1840477" y="789649"/>
                  </a:lnTo>
                  <a:lnTo>
                    <a:pt x="1839213" y="789319"/>
                  </a:lnTo>
                  <a:lnTo>
                    <a:pt x="1838581" y="789319"/>
                  </a:lnTo>
                  <a:lnTo>
                    <a:pt x="1838265" y="789649"/>
                  </a:lnTo>
                  <a:lnTo>
                    <a:pt x="1837317" y="790972"/>
                  </a:lnTo>
                  <a:lnTo>
                    <a:pt x="1837317" y="791303"/>
                  </a:lnTo>
                  <a:lnTo>
                    <a:pt x="1836685" y="791303"/>
                  </a:lnTo>
                  <a:lnTo>
                    <a:pt x="1832261" y="791303"/>
                  </a:lnTo>
                  <a:lnTo>
                    <a:pt x="1829417" y="790972"/>
                  </a:lnTo>
                  <a:lnTo>
                    <a:pt x="1827521" y="790642"/>
                  </a:lnTo>
                  <a:lnTo>
                    <a:pt x="1826573" y="782704"/>
                  </a:lnTo>
                  <a:lnTo>
                    <a:pt x="1826257" y="778074"/>
                  </a:lnTo>
                  <a:lnTo>
                    <a:pt x="1826573" y="775759"/>
                  </a:lnTo>
                  <a:lnTo>
                    <a:pt x="1826573" y="774767"/>
                  </a:lnTo>
                  <a:lnTo>
                    <a:pt x="1825625" y="773113"/>
                  </a:lnTo>
                  <a:close/>
                  <a:moveTo>
                    <a:pt x="1722120" y="773113"/>
                  </a:moveTo>
                  <a:lnTo>
                    <a:pt x="1763712" y="773113"/>
                  </a:lnTo>
                  <a:lnTo>
                    <a:pt x="1762760" y="774767"/>
                  </a:lnTo>
                  <a:lnTo>
                    <a:pt x="1763077" y="775759"/>
                  </a:lnTo>
                  <a:lnTo>
                    <a:pt x="1763077" y="778074"/>
                  </a:lnTo>
                  <a:lnTo>
                    <a:pt x="1762760" y="782704"/>
                  </a:lnTo>
                  <a:lnTo>
                    <a:pt x="1761807" y="790642"/>
                  </a:lnTo>
                  <a:lnTo>
                    <a:pt x="1759902" y="790972"/>
                  </a:lnTo>
                  <a:lnTo>
                    <a:pt x="1757680" y="791303"/>
                  </a:lnTo>
                  <a:lnTo>
                    <a:pt x="1752600" y="791303"/>
                  </a:lnTo>
                  <a:lnTo>
                    <a:pt x="1752282" y="791303"/>
                  </a:lnTo>
                  <a:lnTo>
                    <a:pt x="1751965" y="790972"/>
                  </a:lnTo>
                  <a:lnTo>
                    <a:pt x="1751330" y="789649"/>
                  </a:lnTo>
                  <a:lnTo>
                    <a:pt x="1750695" y="789319"/>
                  </a:lnTo>
                  <a:lnTo>
                    <a:pt x="1750060" y="789319"/>
                  </a:lnTo>
                  <a:lnTo>
                    <a:pt x="1748790" y="789649"/>
                  </a:lnTo>
                  <a:lnTo>
                    <a:pt x="1747202" y="790972"/>
                  </a:lnTo>
                  <a:lnTo>
                    <a:pt x="1743392" y="793949"/>
                  </a:lnTo>
                  <a:lnTo>
                    <a:pt x="1739265" y="796595"/>
                  </a:lnTo>
                  <a:lnTo>
                    <a:pt x="1734502" y="799240"/>
                  </a:lnTo>
                  <a:lnTo>
                    <a:pt x="1730057" y="801556"/>
                  </a:lnTo>
                  <a:lnTo>
                    <a:pt x="1725295" y="802878"/>
                  </a:lnTo>
                  <a:lnTo>
                    <a:pt x="1719897" y="804201"/>
                  </a:lnTo>
                  <a:lnTo>
                    <a:pt x="1713865" y="804863"/>
                  </a:lnTo>
                  <a:lnTo>
                    <a:pt x="1707515" y="804863"/>
                  </a:lnTo>
                  <a:lnTo>
                    <a:pt x="1702752" y="804201"/>
                  </a:lnTo>
                  <a:lnTo>
                    <a:pt x="1700847" y="803540"/>
                  </a:lnTo>
                  <a:lnTo>
                    <a:pt x="1699260" y="802548"/>
                  </a:lnTo>
                  <a:lnTo>
                    <a:pt x="1698307" y="801886"/>
                  </a:lnTo>
                  <a:lnTo>
                    <a:pt x="1697355" y="801225"/>
                  </a:lnTo>
                  <a:lnTo>
                    <a:pt x="1697037" y="799902"/>
                  </a:lnTo>
                  <a:lnTo>
                    <a:pt x="1697037" y="798579"/>
                  </a:lnTo>
                  <a:lnTo>
                    <a:pt x="1697037" y="797587"/>
                  </a:lnTo>
                  <a:lnTo>
                    <a:pt x="1697355" y="796264"/>
                  </a:lnTo>
                  <a:lnTo>
                    <a:pt x="1698625" y="793618"/>
                  </a:lnTo>
                  <a:lnTo>
                    <a:pt x="1700847" y="790972"/>
                  </a:lnTo>
                  <a:lnTo>
                    <a:pt x="1703387" y="787996"/>
                  </a:lnTo>
                  <a:lnTo>
                    <a:pt x="1709420" y="782704"/>
                  </a:lnTo>
                  <a:lnTo>
                    <a:pt x="1715452" y="778074"/>
                  </a:lnTo>
                  <a:lnTo>
                    <a:pt x="1722120" y="773113"/>
                  </a:lnTo>
                  <a:close/>
                  <a:moveTo>
                    <a:pt x="1800322" y="754463"/>
                  </a:moveTo>
                  <a:lnTo>
                    <a:pt x="1784168" y="754780"/>
                  </a:lnTo>
                  <a:lnTo>
                    <a:pt x="1768964" y="756049"/>
                  </a:lnTo>
                  <a:lnTo>
                    <a:pt x="1767697" y="764936"/>
                  </a:lnTo>
                  <a:lnTo>
                    <a:pt x="1720500" y="765888"/>
                  </a:lnTo>
                  <a:lnTo>
                    <a:pt x="1720183" y="764618"/>
                  </a:lnTo>
                  <a:lnTo>
                    <a:pt x="1713215" y="766522"/>
                  </a:lnTo>
                  <a:lnTo>
                    <a:pt x="1706880" y="768744"/>
                  </a:lnTo>
                  <a:lnTo>
                    <a:pt x="1700861" y="770966"/>
                  </a:lnTo>
                  <a:lnTo>
                    <a:pt x="1695476" y="773187"/>
                  </a:lnTo>
                  <a:lnTo>
                    <a:pt x="1690092" y="776043"/>
                  </a:lnTo>
                  <a:lnTo>
                    <a:pt x="1685340" y="778265"/>
                  </a:lnTo>
                  <a:lnTo>
                    <a:pt x="1680589" y="780804"/>
                  </a:lnTo>
                  <a:lnTo>
                    <a:pt x="1676471" y="783343"/>
                  </a:lnTo>
                  <a:lnTo>
                    <a:pt x="1673304" y="786199"/>
                  </a:lnTo>
                  <a:lnTo>
                    <a:pt x="1670136" y="789055"/>
                  </a:lnTo>
                  <a:lnTo>
                    <a:pt x="1667602" y="791594"/>
                  </a:lnTo>
                  <a:lnTo>
                    <a:pt x="1665385" y="794451"/>
                  </a:lnTo>
                  <a:lnTo>
                    <a:pt x="1663484" y="796989"/>
                  </a:lnTo>
                  <a:lnTo>
                    <a:pt x="1662217" y="799528"/>
                  </a:lnTo>
                  <a:lnTo>
                    <a:pt x="1661584" y="802067"/>
                  </a:lnTo>
                  <a:lnTo>
                    <a:pt x="1661267" y="804924"/>
                  </a:lnTo>
                  <a:lnTo>
                    <a:pt x="1661584" y="806828"/>
                  </a:lnTo>
                  <a:lnTo>
                    <a:pt x="1661900" y="808732"/>
                  </a:lnTo>
                  <a:lnTo>
                    <a:pt x="1662534" y="810954"/>
                  </a:lnTo>
                  <a:lnTo>
                    <a:pt x="1663801" y="813175"/>
                  </a:lnTo>
                  <a:lnTo>
                    <a:pt x="1665068" y="815079"/>
                  </a:lnTo>
                  <a:lnTo>
                    <a:pt x="1666969" y="817301"/>
                  </a:lnTo>
                  <a:lnTo>
                    <a:pt x="1671086" y="821427"/>
                  </a:lnTo>
                  <a:lnTo>
                    <a:pt x="1676154" y="825870"/>
                  </a:lnTo>
                  <a:lnTo>
                    <a:pt x="1682490" y="829995"/>
                  </a:lnTo>
                  <a:lnTo>
                    <a:pt x="1690092" y="833804"/>
                  </a:lnTo>
                  <a:lnTo>
                    <a:pt x="1698644" y="837930"/>
                  </a:lnTo>
                  <a:lnTo>
                    <a:pt x="1708147" y="841421"/>
                  </a:lnTo>
                  <a:lnTo>
                    <a:pt x="1718600" y="844594"/>
                  </a:lnTo>
                  <a:lnTo>
                    <a:pt x="1729686" y="847768"/>
                  </a:lnTo>
                  <a:lnTo>
                    <a:pt x="1742356" y="849989"/>
                  </a:lnTo>
                  <a:lnTo>
                    <a:pt x="1755660" y="852211"/>
                  </a:lnTo>
                  <a:lnTo>
                    <a:pt x="1769597" y="853798"/>
                  </a:lnTo>
                  <a:lnTo>
                    <a:pt x="1784485" y="854750"/>
                  </a:lnTo>
                  <a:lnTo>
                    <a:pt x="1800322" y="854750"/>
                  </a:lnTo>
                  <a:lnTo>
                    <a:pt x="1816477" y="854750"/>
                  </a:lnTo>
                  <a:lnTo>
                    <a:pt x="1831048" y="853798"/>
                  </a:lnTo>
                  <a:lnTo>
                    <a:pt x="1845302" y="852211"/>
                  </a:lnTo>
                  <a:lnTo>
                    <a:pt x="1858605" y="849989"/>
                  </a:lnTo>
                  <a:lnTo>
                    <a:pt x="1870959" y="847768"/>
                  </a:lnTo>
                  <a:lnTo>
                    <a:pt x="1882362" y="844594"/>
                  </a:lnTo>
                  <a:lnTo>
                    <a:pt x="1893132" y="841421"/>
                  </a:lnTo>
                  <a:lnTo>
                    <a:pt x="1902318" y="837930"/>
                  </a:lnTo>
                  <a:lnTo>
                    <a:pt x="1910870" y="833804"/>
                  </a:lnTo>
                  <a:lnTo>
                    <a:pt x="1918472" y="829995"/>
                  </a:lnTo>
                  <a:lnTo>
                    <a:pt x="1924807" y="825870"/>
                  </a:lnTo>
                  <a:lnTo>
                    <a:pt x="1930192" y="821427"/>
                  </a:lnTo>
                  <a:lnTo>
                    <a:pt x="1934310" y="817301"/>
                  </a:lnTo>
                  <a:lnTo>
                    <a:pt x="1935894" y="815079"/>
                  </a:lnTo>
                  <a:lnTo>
                    <a:pt x="1937161" y="813175"/>
                  </a:lnTo>
                  <a:lnTo>
                    <a:pt x="1938428" y="810954"/>
                  </a:lnTo>
                  <a:lnTo>
                    <a:pt x="1939061" y="808732"/>
                  </a:lnTo>
                  <a:lnTo>
                    <a:pt x="1939378" y="806828"/>
                  </a:lnTo>
                  <a:lnTo>
                    <a:pt x="1939378" y="804924"/>
                  </a:lnTo>
                  <a:lnTo>
                    <a:pt x="1939378" y="801750"/>
                  </a:lnTo>
                  <a:lnTo>
                    <a:pt x="1938428" y="799211"/>
                  </a:lnTo>
                  <a:lnTo>
                    <a:pt x="1936844" y="796037"/>
                  </a:lnTo>
                  <a:lnTo>
                    <a:pt x="1934627" y="793181"/>
                  </a:lnTo>
                  <a:lnTo>
                    <a:pt x="1932093" y="790325"/>
                  </a:lnTo>
                  <a:lnTo>
                    <a:pt x="1928925" y="787151"/>
                  </a:lnTo>
                  <a:lnTo>
                    <a:pt x="1924807" y="784295"/>
                  </a:lnTo>
                  <a:lnTo>
                    <a:pt x="1920689" y="781121"/>
                  </a:lnTo>
                  <a:lnTo>
                    <a:pt x="1915938" y="778265"/>
                  </a:lnTo>
                  <a:lnTo>
                    <a:pt x="1910236" y="775409"/>
                  </a:lnTo>
                  <a:lnTo>
                    <a:pt x="1904218" y="772870"/>
                  </a:lnTo>
                  <a:lnTo>
                    <a:pt x="1897883" y="770331"/>
                  </a:lnTo>
                  <a:lnTo>
                    <a:pt x="1890914" y="767475"/>
                  </a:lnTo>
                  <a:lnTo>
                    <a:pt x="1883629" y="765253"/>
                  </a:lnTo>
                  <a:lnTo>
                    <a:pt x="1875710" y="763349"/>
                  </a:lnTo>
                  <a:lnTo>
                    <a:pt x="1867158" y="761127"/>
                  </a:lnTo>
                  <a:lnTo>
                    <a:pt x="1867158" y="765888"/>
                  </a:lnTo>
                  <a:lnTo>
                    <a:pt x="1821228" y="765888"/>
                  </a:lnTo>
                  <a:lnTo>
                    <a:pt x="1820278" y="755097"/>
                  </a:lnTo>
                  <a:lnTo>
                    <a:pt x="1810459" y="754780"/>
                  </a:lnTo>
                  <a:lnTo>
                    <a:pt x="1800322" y="754463"/>
                  </a:lnTo>
                  <a:close/>
                  <a:moveTo>
                    <a:pt x="2034836" y="711200"/>
                  </a:moveTo>
                  <a:lnTo>
                    <a:pt x="2039938" y="721912"/>
                  </a:lnTo>
                  <a:lnTo>
                    <a:pt x="1973603" y="752475"/>
                  </a:lnTo>
                  <a:lnTo>
                    <a:pt x="1968500" y="741762"/>
                  </a:lnTo>
                  <a:lnTo>
                    <a:pt x="2034836" y="711200"/>
                  </a:lnTo>
                  <a:close/>
                  <a:moveTo>
                    <a:pt x="1625600" y="692150"/>
                  </a:moveTo>
                  <a:lnTo>
                    <a:pt x="1697038" y="735585"/>
                  </a:lnTo>
                  <a:lnTo>
                    <a:pt x="1690688" y="746125"/>
                  </a:lnTo>
                  <a:lnTo>
                    <a:pt x="1619250" y="702689"/>
                  </a:lnTo>
                  <a:lnTo>
                    <a:pt x="1625600" y="692150"/>
                  </a:lnTo>
                  <a:close/>
                  <a:moveTo>
                    <a:pt x="1231408" y="690563"/>
                  </a:moveTo>
                  <a:lnTo>
                    <a:pt x="1244414" y="691513"/>
                  </a:lnTo>
                  <a:lnTo>
                    <a:pt x="1256468" y="692463"/>
                  </a:lnTo>
                  <a:lnTo>
                    <a:pt x="1267888" y="694046"/>
                  </a:lnTo>
                  <a:lnTo>
                    <a:pt x="1279308" y="696262"/>
                  </a:lnTo>
                  <a:lnTo>
                    <a:pt x="1289776" y="698795"/>
                  </a:lnTo>
                  <a:lnTo>
                    <a:pt x="1299927" y="702277"/>
                  </a:lnTo>
                  <a:lnTo>
                    <a:pt x="1309761" y="705760"/>
                  </a:lnTo>
                  <a:lnTo>
                    <a:pt x="1318643" y="708926"/>
                  </a:lnTo>
                  <a:lnTo>
                    <a:pt x="1327208" y="713042"/>
                  </a:lnTo>
                  <a:lnTo>
                    <a:pt x="1335773" y="716841"/>
                  </a:lnTo>
                  <a:lnTo>
                    <a:pt x="1343069" y="720957"/>
                  </a:lnTo>
                  <a:lnTo>
                    <a:pt x="1350047" y="725073"/>
                  </a:lnTo>
                  <a:lnTo>
                    <a:pt x="1356392" y="729189"/>
                  </a:lnTo>
                  <a:lnTo>
                    <a:pt x="1367494" y="737104"/>
                  </a:lnTo>
                  <a:lnTo>
                    <a:pt x="1376059" y="744386"/>
                  </a:lnTo>
                  <a:lnTo>
                    <a:pt x="1382721" y="749769"/>
                  </a:lnTo>
                  <a:lnTo>
                    <a:pt x="1387479" y="754834"/>
                  </a:lnTo>
                  <a:lnTo>
                    <a:pt x="1385893" y="758634"/>
                  </a:lnTo>
                  <a:lnTo>
                    <a:pt x="1383672" y="762750"/>
                  </a:lnTo>
                  <a:lnTo>
                    <a:pt x="1380183" y="768132"/>
                  </a:lnTo>
                  <a:lnTo>
                    <a:pt x="1376694" y="774147"/>
                  </a:lnTo>
                  <a:lnTo>
                    <a:pt x="1371301" y="780796"/>
                  </a:lnTo>
                  <a:lnTo>
                    <a:pt x="1365274" y="787445"/>
                  </a:lnTo>
                  <a:lnTo>
                    <a:pt x="1361784" y="790928"/>
                  </a:lnTo>
                  <a:lnTo>
                    <a:pt x="1358295" y="793777"/>
                  </a:lnTo>
                  <a:lnTo>
                    <a:pt x="1354488" y="796627"/>
                  </a:lnTo>
                  <a:lnTo>
                    <a:pt x="1350047" y="799793"/>
                  </a:lnTo>
                  <a:lnTo>
                    <a:pt x="1345924" y="802326"/>
                  </a:lnTo>
                  <a:lnTo>
                    <a:pt x="1340848" y="804542"/>
                  </a:lnTo>
                  <a:lnTo>
                    <a:pt x="1336090" y="806758"/>
                  </a:lnTo>
                  <a:lnTo>
                    <a:pt x="1330380" y="808658"/>
                  </a:lnTo>
                  <a:lnTo>
                    <a:pt x="1324987" y="809924"/>
                  </a:lnTo>
                  <a:lnTo>
                    <a:pt x="1318960" y="810874"/>
                  </a:lnTo>
                  <a:lnTo>
                    <a:pt x="1312616" y="811507"/>
                  </a:lnTo>
                  <a:lnTo>
                    <a:pt x="1306271" y="811507"/>
                  </a:lnTo>
                  <a:lnTo>
                    <a:pt x="1299610" y="810557"/>
                  </a:lnTo>
                  <a:lnTo>
                    <a:pt x="1292948" y="809608"/>
                  </a:lnTo>
                  <a:lnTo>
                    <a:pt x="1285335" y="807708"/>
                  </a:lnTo>
                  <a:lnTo>
                    <a:pt x="1277405" y="805492"/>
                  </a:lnTo>
                  <a:lnTo>
                    <a:pt x="1269474" y="802009"/>
                  </a:lnTo>
                  <a:lnTo>
                    <a:pt x="1261227" y="798210"/>
                  </a:lnTo>
                  <a:lnTo>
                    <a:pt x="1251710" y="793777"/>
                  </a:lnTo>
                  <a:lnTo>
                    <a:pt x="1242194" y="789345"/>
                  </a:lnTo>
                  <a:lnTo>
                    <a:pt x="1281529" y="808341"/>
                  </a:lnTo>
                  <a:lnTo>
                    <a:pt x="1300244" y="816890"/>
                  </a:lnTo>
                  <a:lnTo>
                    <a:pt x="1309444" y="820689"/>
                  </a:lnTo>
                  <a:lnTo>
                    <a:pt x="1318009" y="823855"/>
                  </a:lnTo>
                  <a:lnTo>
                    <a:pt x="1326256" y="826388"/>
                  </a:lnTo>
                  <a:lnTo>
                    <a:pt x="1334187" y="828287"/>
                  </a:lnTo>
                  <a:lnTo>
                    <a:pt x="1341483" y="829870"/>
                  </a:lnTo>
                  <a:lnTo>
                    <a:pt x="1348779" y="830187"/>
                  </a:lnTo>
                  <a:lnTo>
                    <a:pt x="1352268" y="830187"/>
                  </a:lnTo>
                  <a:lnTo>
                    <a:pt x="1355440" y="829870"/>
                  </a:lnTo>
                  <a:lnTo>
                    <a:pt x="1358929" y="828921"/>
                  </a:lnTo>
                  <a:lnTo>
                    <a:pt x="1361784" y="828287"/>
                  </a:lnTo>
                  <a:lnTo>
                    <a:pt x="1364957" y="827021"/>
                  </a:lnTo>
                  <a:lnTo>
                    <a:pt x="1367494" y="826071"/>
                  </a:lnTo>
                  <a:lnTo>
                    <a:pt x="1370032" y="824488"/>
                  </a:lnTo>
                  <a:lnTo>
                    <a:pt x="1372887" y="822272"/>
                  </a:lnTo>
                  <a:lnTo>
                    <a:pt x="1373521" y="829554"/>
                  </a:lnTo>
                  <a:lnTo>
                    <a:pt x="1374473" y="835886"/>
                  </a:lnTo>
                  <a:lnTo>
                    <a:pt x="1374790" y="848234"/>
                  </a:lnTo>
                  <a:lnTo>
                    <a:pt x="1374790" y="860265"/>
                  </a:lnTo>
                  <a:lnTo>
                    <a:pt x="1373839" y="871346"/>
                  </a:lnTo>
                  <a:lnTo>
                    <a:pt x="1376059" y="869130"/>
                  </a:lnTo>
                  <a:lnTo>
                    <a:pt x="1377328" y="868813"/>
                  </a:lnTo>
                  <a:lnTo>
                    <a:pt x="1377962" y="868497"/>
                  </a:lnTo>
                  <a:lnTo>
                    <a:pt x="1379549" y="868813"/>
                  </a:lnTo>
                  <a:lnTo>
                    <a:pt x="1381135" y="869446"/>
                  </a:lnTo>
                  <a:lnTo>
                    <a:pt x="1382721" y="871030"/>
                  </a:lnTo>
                  <a:lnTo>
                    <a:pt x="1383672" y="872929"/>
                  </a:lnTo>
                  <a:lnTo>
                    <a:pt x="1384941" y="875462"/>
                  </a:lnTo>
                  <a:lnTo>
                    <a:pt x="1385893" y="878628"/>
                  </a:lnTo>
                  <a:lnTo>
                    <a:pt x="1388113" y="885277"/>
                  </a:lnTo>
                  <a:lnTo>
                    <a:pt x="1390017" y="893825"/>
                  </a:lnTo>
                  <a:lnTo>
                    <a:pt x="1391286" y="903640"/>
                  </a:lnTo>
                  <a:lnTo>
                    <a:pt x="1391920" y="914405"/>
                  </a:lnTo>
                  <a:lnTo>
                    <a:pt x="1392237" y="926119"/>
                  </a:lnTo>
                  <a:lnTo>
                    <a:pt x="1391920" y="937834"/>
                  </a:lnTo>
                  <a:lnTo>
                    <a:pt x="1391286" y="948599"/>
                  </a:lnTo>
                  <a:lnTo>
                    <a:pt x="1390017" y="958413"/>
                  </a:lnTo>
                  <a:lnTo>
                    <a:pt x="1388113" y="966645"/>
                  </a:lnTo>
                  <a:lnTo>
                    <a:pt x="1385893" y="973611"/>
                  </a:lnTo>
                  <a:lnTo>
                    <a:pt x="1384941" y="976777"/>
                  </a:lnTo>
                  <a:lnTo>
                    <a:pt x="1383672" y="978993"/>
                  </a:lnTo>
                  <a:lnTo>
                    <a:pt x="1382721" y="980893"/>
                  </a:lnTo>
                  <a:lnTo>
                    <a:pt x="1381135" y="982476"/>
                  </a:lnTo>
                  <a:lnTo>
                    <a:pt x="1379549" y="983425"/>
                  </a:lnTo>
                  <a:lnTo>
                    <a:pt x="1377962" y="983425"/>
                  </a:lnTo>
                  <a:lnTo>
                    <a:pt x="1376694" y="983425"/>
                  </a:lnTo>
                  <a:lnTo>
                    <a:pt x="1375425" y="982476"/>
                  </a:lnTo>
                  <a:lnTo>
                    <a:pt x="1373839" y="980893"/>
                  </a:lnTo>
                  <a:lnTo>
                    <a:pt x="1372570" y="978676"/>
                  </a:lnTo>
                  <a:lnTo>
                    <a:pt x="1371301" y="976143"/>
                  </a:lnTo>
                  <a:lnTo>
                    <a:pt x="1370032" y="972977"/>
                  </a:lnTo>
                  <a:lnTo>
                    <a:pt x="1367812" y="965379"/>
                  </a:lnTo>
                  <a:lnTo>
                    <a:pt x="1366860" y="975194"/>
                  </a:lnTo>
                  <a:lnTo>
                    <a:pt x="1364957" y="985325"/>
                  </a:lnTo>
                  <a:lnTo>
                    <a:pt x="1363053" y="994823"/>
                  </a:lnTo>
                  <a:lnTo>
                    <a:pt x="1360516" y="1004005"/>
                  </a:lnTo>
                  <a:lnTo>
                    <a:pt x="1357661" y="1013187"/>
                  </a:lnTo>
                  <a:lnTo>
                    <a:pt x="1354806" y="1021735"/>
                  </a:lnTo>
                  <a:lnTo>
                    <a:pt x="1351316" y="1030283"/>
                  </a:lnTo>
                  <a:lnTo>
                    <a:pt x="1347510" y="1038515"/>
                  </a:lnTo>
                  <a:lnTo>
                    <a:pt x="1343386" y="1046430"/>
                  </a:lnTo>
                  <a:lnTo>
                    <a:pt x="1339262" y="1054346"/>
                  </a:lnTo>
                  <a:lnTo>
                    <a:pt x="1334821" y="1061628"/>
                  </a:lnTo>
                  <a:lnTo>
                    <a:pt x="1330380" y="1068593"/>
                  </a:lnTo>
                  <a:lnTo>
                    <a:pt x="1325622" y="1075242"/>
                  </a:lnTo>
                  <a:lnTo>
                    <a:pt x="1320546" y="1081891"/>
                  </a:lnTo>
                  <a:lnTo>
                    <a:pt x="1315471" y="1088223"/>
                  </a:lnTo>
                  <a:lnTo>
                    <a:pt x="1309761" y="1094238"/>
                  </a:lnTo>
                  <a:lnTo>
                    <a:pt x="1304368" y="1099304"/>
                  </a:lnTo>
                  <a:lnTo>
                    <a:pt x="1298658" y="1104686"/>
                  </a:lnTo>
                  <a:lnTo>
                    <a:pt x="1293266" y="1109435"/>
                  </a:lnTo>
                  <a:lnTo>
                    <a:pt x="1287238" y="1113868"/>
                  </a:lnTo>
                  <a:lnTo>
                    <a:pt x="1281211" y="1118617"/>
                  </a:lnTo>
                  <a:lnTo>
                    <a:pt x="1275501" y="1122100"/>
                  </a:lnTo>
                  <a:lnTo>
                    <a:pt x="1269474" y="1125899"/>
                  </a:lnTo>
                  <a:lnTo>
                    <a:pt x="1263447" y="1129065"/>
                  </a:lnTo>
                  <a:lnTo>
                    <a:pt x="1257420" y="1131915"/>
                  </a:lnTo>
                  <a:lnTo>
                    <a:pt x="1251393" y="1134131"/>
                  </a:lnTo>
                  <a:lnTo>
                    <a:pt x="1245366" y="1136347"/>
                  </a:lnTo>
                  <a:lnTo>
                    <a:pt x="1239339" y="1137930"/>
                  </a:lnTo>
                  <a:lnTo>
                    <a:pt x="1233312" y="1139513"/>
                  </a:lnTo>
                  <a:lnTo>
                    <a:pt x="1227919" y="1140463"/>
                  </a:lnTo>
                  <a:lnTo>
                    <a:pt x="1222209" y="1141096"/>
                  </a:lnTo>
                  <a:lnTo>
                    <a:pt x="1216499" y="1141413"/>
                  </a:lnTo>
                  <a:lnTo>
                    <a:pt x="1212058" y="1141096"/>
                  </a:lnTo>
                  <a:lnTo>
                    <a:pt x="1207617" y="1140146"/>
                  </a:lnTo>
                  <a:lnTo>
                    <a:pt x="1202542" y="1139513"/>
                  </a:lnTo>
                  <a:lnTo>
                    <a:pt x="1197466" y="1137930"/>
                  </a:lnTo>
                  <a:lnTo>
                    <a:pt x="1192073" y="1136031"/>
                  </a:lnTo>
                  <a:lnTo>
                    <a:pt x="1186998" y="1133814"/>
                  </a:lnTo>
                  <a:lnTo>
                    <a:pt x="1181288" y="1131281"/>
                  </a:lnTo>
                  <a:lnTo>
                    <a:pt x="1175895" y="1128749"/>
                  </a:lnTo>
                  <a:lnTo>
                    <a:pt x="1170186" y="1125266"/>
                  </a:lnTo>
                  <a:lnTo>
                    <a:pt x="1164476" y="1121467"/>
                  </a:lnTo>
                  <a:lnTo>
                    <a:pt x="1158766" y="1117667"/>
                  </a:lnTo>
                  <a:lnTo>
                    <a:pt x="1153056" y="1113235"/>
                  </a:lnTo>
                  <a:lnTo>
                    <a:pt x="1147029" y="1108802"/>
                  </a:lnTo>
                  <a:lnTo>
                    <a:pt x="1141319" y="1103736"/>
                  </a:lnTo>
                  <a:lnTo>
                    <a:pt x="1135926" y="1098671"/>
                  </a:lnTo>
                  <a:lnTo>
                    <a:pt x="1130216" y="1092972"/>
                  </a:lnTo>
                  <a:lnTo>
                    <a:pt x="1124506" y="1087273"/>
                  </a:lnTo>
                  <a:lnTo>
                    <a:pt x="1118796" y="1080941"/>
                  </a:lnTo>
                  <a:lnTo>
                    <a:pt x="1113721" y="1074925"/>
                  </a:lnTo>
                  <a:lnTo>
                    <a:pt x="1108011" y="1068276"/>
                  </a:lnTo>
                  <a:lnTo>
                    <a:pt x="1102936" y="1061628"/>
                  </a:lnTo>
                  <a:lnTo>
                    <a:pt x="1097860" y="1054346"/>
                  </a:lnTo>
                  <a:lnTo>
                    <a:pt x="1092785" y="1046747"/>
                  </a:lnTo>
                  <a:lnTo>
                    <a:pt x="1088344" y="1039465"/>
                  </a:lnTo>
                  <a:lnTo>
                    <a:pt x="1083903" y="1031550"/>
                  </a:lnTo>
                  <a:lnTo>
                    <a:pt x="1079779" y="1023635"/>
                  </a:lnTo>
                  <a:lnTo>
                    <a:pt x="1075655" y="1015403"/>
                  </a:lnTo>
                  <a:lnTo>
                    <a:pt x="1071848" y="1007171"/>
                  </a:lnTo>
                  <a:lnTo>
                    <a:pt x="1068676" y="998623"/>
                  </a:lnTo>
                  <a:lnTo>
                    <a:pt x="1065187" y="989758"/>
                  </a:lnTo>
                  <a:lnTo>
                    <a:pt x="1062649" y="980893"/>
                  </a:lnTo>
                  <a:lnTo>
                    <a:pt x="1059794" y="972028"/>
                  </a:lnTo>
                  <a:lnTo>
                    <a:pt x="1057891" y="977726"/>
                  </a:lnTo>
                  <a:lnTo>
                    <a:pt x="1055670" y="982476"/>
                  </a:lnTo>
                  <a:lnTo>
                    <a:pt x="1054719" y="984375"/>
                  </a:lnTo>
                  <a:lnTo>
                    <a:pt x="1053133" y="985325"/>
                  </a:lnTo>
                  <a:lnTo>
                    <a:pt x="1051864" y="986275"/>
                  </a:lnTo>
                  <a:lnTo>
                    <a:pt x="1050595" y="986591"/>
                  </a:lnTo>
                  <a:lnTo>
                    <a:pt x="1049326" y="986275"/>
                  </a:lnTo>
                  <a:lnTo>
                    <a:pt x="1047740" y="985325"/>
                  </a:lnTo>
                  <a:lnTo>
                    <a:pt x="1046471" y="983742"/>
                  </a:lnTo>
                  <a:lnTo>
                    <a:pt x="1045202" y="982159"/>
                  </a:lnTo>
                  <a:lnTo>
                    <a:pt x="1044250" y="979309"/>
                  </a:lnTo>
                  <a:lnTo>
                    <a:pt x="1042664" y="976460"/>
                  </a:lnTo>
                  <a:lnTo>
                    <a:pt x="1040761" y="969495"/>
                  </a:lnTo>
                  <a:lnTo>
                    <a:pt x="1038858" y="960946"/>
                  </a:lnTo>
                  <a:lnTo>
                    <a:pt x="1037589" y="951131"/>
                  </a:lnTo>
                  <a:lnTo>
                    <a:pt x="1036954" y="940367"/>
                  </a:lnTo>
                  <a:lnTo>
                    <a:pt x="1036637" y="928652"/>
                  </a:lnTo>
                  <a:lnTo>
                    <a:pt x="1036954" y="917254"/>
                  </a:lnTo>
                  <a:lnTo>
                    <a:pt x="1037589" y="906173"/>
                  </a:lnTo>
                  <a:lnTo>
                    <a:pt x="1038858" y="896358"/>
                  </a:lnTo>
                  <a:lnTo>
                    <a:pt x="1040761" y="888126"/>
                  </a:lnTo>
                  <a:lnTo>
                    <a:pt x="1042664" y="881161"/>
                  </a:lnTo>
                  <a:lnTo>
                    <a:pt x="1044250" y="877995"/>
                  </a:lnTo>
                  <a:lnTo>
                    <a:pt x="1045202" y="875779"/>
                  </a:lnTo>
                  <a:lnTo>
                    <a:pt x="1046471" y="873879"/>
                  </a:lnTo>
                  <a:lnTo>
                    <a:pt x="1047740" y="872613"/>
                  </a:lnTo>
                  <a:lnTo>
                    <a:pt x="1049326" y="871346"/>
                  </a:lnTo>
                  <a:lnTo>
                    <a:pt x="1050595" y="871346"/>
                  </a:lnTo>
                  <a:lnTo>
                    <a:pt x="1051546" y="871346"/>
                  </a:lnTo>
                  <a:lnTo>
                    <a:pt x="1052498" y="871663"/>
                  </a:lnTo>
                  <a:lnTo>
                    <a:pt x="1052815" y="864381"/>
                  </a:lnTo>
                  <a:lnTo>
                    <a:pt x="1053133" y="856782"/>
                  </a:lnTo>
                  <a:lnTo>
                    <a:pt x="1053767" y="850133"/>
                  </a:lnTo>
                  <a:lnTo>
                    <a:pt x="1055036" y="843801"/>
                  </a:lnTo>
                  <a:lnTo>
                    <a:pt x="1054719" y="835886"/>
                  </a:lnTo>
                  <a:lnTo>
                    <a:pt x="1054401" y="827971"/>
                  </a:lnTo>
                  <a:lnTo>
                    <a:pt x="1054401" y="820689"/>
                  </a:lnTo>
                  <a:lnTo>
                    <a:pt x="1054401" y="814040"/>
                  </a:lnTo>
                  <a:lnTo>
                    <a:pt x="1055036" y="807708"/>
                  </a:lnTo>
                  <a:lnTo>
                    <a:pt x="1055670" y="801692"/>
                  </a:lnTo>
                  <a:lnTo>
                    <a:pt x="1057256" y="796310"/>
                  </a:lnTo>
                  <a:lnTo>
                    <a:pt x="1058842" y="791244"/>
                  </a:lnTo>
                  <a:lnTo>
                    <a:pt x="1060746" y="786179"/>
                  </a:lnTo>
                  <a:lnTo>
                    <a:pt x="1062649" y="781746"/>
                  </a:lnTo>
                  <a:lnTo>
                    <a:pt x="1064870" y="777630"/>
                  </a:lnTo>
                  <a:lnTo>
                    <a:pt x="1067407" y="773831"/>
                  </a:lnTo>
                  <a:lnTo>
                    <a:pt x="1070262" y="770665"/>
                  </a:lnTo>
                  <a:lnTo>
                    <a:pt x="1073434" y="767499"/>
                  </a:lnTo>
                  <a:lnTo>
                    <a:pt x="1076924" y="764649"/>
                  </a:lnTo>
                  <a:lnTo>
                    <a:pt x="1080096" y="762433"/>
                  </a:lnTo>
                  <a:lnTo>
                    <a:pt x="1064235" y="762433"/>
                  </a:lnTo>
                  <a:lnTo>
                    <a:pt x="1052498" y="762750"/>
                  </a:lnTo>
                  <a:lnTo>
                    <a:pt x="1041713" y="763383"/>
                  </a:lnTo>
                  <a:lnTo>
                    <a:pt x="1049009" y="759583"/>
                  </a:lnTo>
                  <a:lnTo>
                    <a:pt x="1056622" y="754834"/>
                  </a:lnTo>
                  <a:lnTo>
                    <a:pt x="1063918" y="749452"/>
                  </a:lnTo>
                  <a:lnTo>
                    <a:pt x="1071531" y="743753"/>
                  </a:lnTo>
                  <a:lnTo>
                    <a:pt x="1085806" y="733305"/>
                  </a:lnTo>
                  <a:lnTo>
                    <a:pt x="1092150" y="728872"/>
                  </a:lnTo>
                  <a:lnTo>
                    <a:pt x="1098495" y="725073"/>
                  </a:lnTo>
                  <a:lnTo>
                    <a:pt x="1106742" y="720957"/>
                  </a:lnTo>
                  <a:lnTo>
                    <a:pt x="1114990" y="717158"/>
                  </a:lnTo>
                  <a:lnTo>
                    <a:pt x="1122920" y="713675"/>
                  </a:lnTo>
                  <a:lnTo>
                    <a:pt x="1130851" y="710193"/>
                  </a:lnTo>
                  <a:lnTo>
                    <a:pt x="1138781" y="707660"/>
                  </a:lnTo>
                  <a:lnTo>
                    <a:pt x="1146711" y="704494"/>
                  </a:lnTo>
                  <a:lnTo>
                    <a:pt x="1161938" y="700061"/>
                  </a:lnTo>
                  <a:lnTo>
                    <a:pt x="1176847" y="696262"/>
                  </a:lnTo>
                  <a:lnTo>
                    <a:pt x="1191439" y="693729"/>
                  </a:lnTo>
                  <a:lnTo>
                    <a:pt x="1205397" y="692146"/>
                  </a:lnTo>
                  <a:lnTo>
                    <a:pt x="1218720" y="691196"/>
                  </a:lnTo>
                  <a:lnTo>
                    <a:pt x="1231408" y="690563"/>
                  </a:lnTo>
                  <a:close/>
                  <a:moveTo>
                    <a:pt x="1798422" y="585942"/>
                  </a:moveTo>
                  <a:lnTo>
                    <a:pt x="1795888" y="586577"/>
                  </a:lnTo>
                  <a:lnTo>
                    <a:pt x="1792720" y="586577"/>
                  </a:lnTo>
                  <a:lnTo>
                    <a:pt x="1789236" y="586577"/>
                  </a:lnTo>
                  <a:lnTo>
                    <a:pt x="1771814" y="728756"/>
                  </a:lnTo>
                  <a:lnTo>
                    <a:pt x="1786068" y="727804"/>
                  </a:lnTo>
                  <a:lnTo>
                    <a:pt x="1800322" y="727487"/>
                  </a:lnTo>
                  <a:lnTo>
                    <a:pt x="1808558" y="727804"/>
                  </a:lnTo>
                  <a:lnTo>
                    <a:pt x="1816477" y="728121"/>
                  </a:lnTo>
                  <a:lnTo>
                    <a:pt x="1798422" y="585942"/>
                  </a:lnTo>
                  <a:close/>
                  <a:moveTo>
                    <a:pt x="2691328" y="534988"/>
                  </a:moveTo>
                  <a:lnTo>
                    <a:pt x="2700209" y="535623"/>
                  </a:lnTo>
                  <a:lnTo>
                    <a:pt x="2709091" y="535940"/>
                  </a:lnTo>
                  <a:lnTo>
                    <a:pt x="2718289" y="536893"/>
                  </a:lnTo>
                  <a:lnTo>
                    <a:pt x="2727170" y="538480"/>
                  </a:lnTo>
                  <a:lnTo>
                    <a:pt x="2736368" y="540385"/>
                  </a:lnTo>
                  <a:lnTo>
                    <a:pt x="2745249" y="542608"/>
                  </a:lnTo>
                  <a:lnTo>
                    <a:pt x="2753813" y="544830"/>
                  </a:lnTo>
                  <a:lnTo>
                    <a:pt x="2763011" y="548005"/>
                  </a:lnTo>
                  <a:lnTo>
                    <a:pt x="2771575" y="550863"/>
                  </a:lnTo>
                  <a:lnTo>
                    <a:pt x="2780139" y="554355"/>
                  </a:lnTo>
                  <a:lnTo>
                    <a:pt x="2789020" y="558165"/>
                  </a:lnTo>
                  <a:lnTo>
                    <a:pt x="2797267" y="561658"/>
                  </a:lnTo>
                  <a:lnTo>
                    <a:pt x="2812809" y="569595"/>
                  </a:lnTo>
                  <a:lnTo>
                    <a:pt x="2827716" y="577850"/>
                  </a:lnTo>
                  <a:lnTo>
                    <a:pt x="2841355" y="586105"/>
                  </a:lnTo>
                  <a:lnTo>
                    <a:pt x="2853408" y="594678"/>
                  </a:lnTo>
                  <a:lnTo>
                    <a:pt x="2864509" y="602933"/>
                  </a:lnTo>
                  <a:lnTo>
                    <a:pt x="2873073" y="609918"/>
                  </a:lnTo>
                  <a:lnTo>
                    <a:pt x="2879734" y="616585"/>
                  </a:lnTo>
                  <a:lnTo>
                    <a:pt x="2882271" y="619760"/>
                  </a:lnTo>
                  <a:lnTo>
                    <a:pt x="2884809" y="622300"/>
                  </a:lnTo>
                  <a:lnTo>
                    <a:pt x="2886077" y="624523"/>
                  </a:lnTo>
                  <a:lnTo>
                    <a:pt x="2887029" y="626428"/>
                  </a:lnTo>
                  <a:lnTo>
                    <a:pt x="2887346" y="630238"/>
                  </a:lnTo>
                  <a:lnTo>
                    <a:pt x="2887663" y="635635"/>
                  </a:lnTo>
                  <a:lnTo>
                    <a:pt x="2887663" y="650875"/>
                  </a:lnTo>
                  <a:lnTo>
                    <a:pt x="2887029" y="671513"/>
                  </a:lnTo>
                  <a:lnTo>
                    <a:pt x="2885443" y="697230"/>
                  </a:lnTo>
                  <a:lnTo>
                    <a:pt x="2883540" y="726123"/>
                  </a:lnTo>
                  <a:lnTo>
                    <a:pt x="2881320" y="758190"/>
                  </a:lnTo>
                  <a:lnTo>
                    <a:pt x="2875610" y="827723"/>
                  </a:lnTo>
                  <a:lnTo>
                    <a:pt x="2868950" y="899161"/>
                  </a:lnTo>
                  <a:lnTo>
                    <a:pt x="2861654" y="965518"/>
                  </a:lnTo>
                  <a:lnTo>
                    <a:pt x="2858483" y="995363"/>
                  </a:lnTo>
                  <a:lnTo>
                    <a:pt x="2854994" y="1021398"/>
                  </a:lnTo>
                  <a:lnTo>
                    <a:pt x="2852139" y="1042671"/>
                  </a:lnTo>
                  <a:lnTo>
                    <a:pt x="2848967" y="1059181"/>
                  </a:lnTo>
                  <a:lnTo>
                    <a:pt x="2838817" y="1062991"/>
                  </a:lnTo>
                  <a:lnTo>
                    <a:pt x="2828985" y="1066483"/>
                  </a:lnTo>
                  <a:lnTo>
                    <a:pt x="2820104" y="1069023"/>
                  </a:lnTo>
                  <a:lnTo>
                    <a:pt x="2810905" y="1070928"/>
                  </a:lnTo>
                  <a:lnTo>
                    <a:pt x="2803293" y="1072198"/>
                  </a:lnTo>
                  <a:lnTo>
                    <a:pt x="2795998" y="1072516"/>
                  </a:lnTo>
                  <a:lnTo>
                    <a:pt x="2792509" y="1072198"/>
                  </a:lnTo>
                  <a:lnTo>
                    <a:pt x="2789654" y="1071563"/>
                  </a:lnTo>
                  <a:lnTo>
                    <a:pt x="2786483" y="1070928"/>
                  </a:lnTo>
                  <a:lnTo>
                    <a:pt x="2784262" y="1070293"/>
                  </a:lnTo>
                  <a:lnTo>
                    <a:pt x="2785214" y="1057911"/>
                  </a:lnTo>
                  <a:lnTo>
                    <a:pt x="2786165" y="1039813"/>
                  </a:lnTo>
                  <a:lnTo>
                    <a:pt x="2787751" y="990918"/>
                  </a:lnTo>
                  <a:lnTo>
                    <a:pt x="2789337" y="930276"/>
                  </a:lnTo>
                  <a:lnTo>
                    <a:pt x="2790289" y="865188"/>
                  </a:lnTo>
                  <a:lnTo>
                    <a:pt x="2790606" y="803593"/>
                  </a:lnTo>
                  <a:lnTo>
                    <a:pt x="2790606" y="775653"/>
                  </a:lnTo>
                  <a:lnTo>
                    <a:pt x="2790289" y="751840"/>
                  </a:lnTo>
                  <a:lnTo>
                    <a:pt x="2789654" y="731838"/>
                  </a:lnTo>
                  <a:lnTo>
                    <a:pt x="2788386" y="717233"/>
                  </a:lnTo>
                  <a:lnTo>
                    <a:pt x="2788068" y="711835"/>
                  </a:lnTo>
                  <a:lnTo>
                    <a:pt x="2787434" y="708343"/>
                  </a:lnTo>
                  <a:lnTo>
                    <a:pt x="2786483" y="707073"/>
                  </a:lnTo>
                  <a:lnTo>
                    <a:pt x="2785848" y="706438"/>
                  </a:lnTo>
                  <a:lnTo>
                    <a:pt x="2785531" y="707073"/>
                  </a:lnTo>
                  <a:lnTo>
                    <a:pt x="2780773" y="713740"/>
                  </a:lnTo>
                  <a:lnTo>
                    <a:pt x="2775381" y="720725"/>
                  </a:lnTo>
                  <a:lnTo>
                    <a:pt x="2774113" y="722630"/>
                  </a:lnTo>
                  <a:lnTo>
                    <a:pt x="2757936" y="960756"/>
                  </a:lnTo>
                  <a:lnTo>
                    <a:pt x="2753813" y="1010921"/>
                  </a:lnTo>
                  <a:lnTo>
                    <a:pt x="2750324" y="1049338"/>
                  </a:lnTo>
                  <a:lnTo>
                    <a:pt x="2746835" y="1083946"/>
                  </a:lnTo>
                  <a:lnTo>
                    <a:pt x="2746518" y="1087438"/>
                  </a:lnTo>
                  <a:lnTo>
                    <a:pt x="2744932" y="1092836"/>
                  </a:lnTo>
                  <a:lnTo>
                    <a:pt x="2742712" y="1097916"/>
                  </a:lnTo>
                  <a:lnTo>
                    <a:pt x="2740491" y="1103631"/>
                  </a:lnTo>
                  <a:lnTo>
                    <a:pt x="2737637" y="1109028"/>
                  </a:lnTo>
                  <a:lnTo>
                    <a:pt x="2732245" y="1119506"/>
                  </a:lnTo>
                  <a:lnTo>
                    <a:pt x="2725267" y="1129666"/>
                  </a:lnTo>
                  <a:lnTo>
                    <a:pt x="2699258" y="1479233"/>
                  </a:lnTo>
                  <a:lnTo>
                    <a:pt x="2716386" y="1483361"/>
                  </a:lnTo>
                  <a:lnTo>
                    <a:pt x="2732879" y="1487488"/>
                  </a:lnTo>
                  <a:lnTo>
                    <a:pt x="2870853" y="1410971"/>
                  </a:lnTo>
                  <a:lnTo>
                    <a:pt x="2876879" y="1421766"/>
                  </a:lnTo>
                  <a:lnTo>
                    <a:pt x="2749055" y="1492886"/>
                  </a:lnTo>
                  <a:lnTo>
                    <a:pt x="2761743" y="1497013"/>
                  </a:lnTo>
                  <a:lnTo>
                    <a:pt x="2773795" y="1501776"/>
                  </a:lnTo>
                  <a:lnTo>
                    <a:pt x="2785214" y="1507173"/>
                  </a:lnTo>
                  <a:lnTo>
                    <a:pt x="2795998" y="1512253"/>
                  </a:lnTo>
                  <a:lnTo>
                    <a:pt x="2805831" y="1517968"/>
                  </a:lnTo>
                  <a:lnTo>
                    <a:pt x="2815029" y="1524001"/>
                  </a:lnTo>
                  <a:lnTo>
                    <a:pt x="2823910" y="1530033"/>
                  </a:lnTo>
                  <a:lnTo>
                    <a:pt x="2831839" y="1536383"/>
                  </a:lnTo>
                  <a:lnTo>
                    <a:pt x="2838500" y="1543051"/>
                  </a:lnTo>
                  <a:lnTo>
                    <a:pt x="2844844" y="1550036"/>
                  </a:lnTo>
                  <a:lnTo>
                    <a:pt x="2850236" y="1557021"/>
                  </a:lnTo>
                  <a:lnTo>
                    <a:pt x="2854359" y="1564323"/>
                  </a:lnTo>
                  <a:lnTo>
                    <a:pt x="2856262" y="1568133"/>
                  </a:lnTo>
                  <a:lnTo>
                    <a:pt x="2857848" y="1571626"/>
                  </a:lnTo>
                  <a:lnTo>
                    <a:pt x="2859117" y="1575436"/>
                  </a:lnTo>
                  <a:lnTo>
                    <a:pt x="2860386" y="1579246"/>
                  </a:lnTo>
                  <a:lnTo>
                    <a:pt x="2861337" y="1583056"/>
                  </a:lnTo>
                  <a:lnTo>
                    <a:pt x="2861654" y="1586866"/>
                  </a:lnTo>
                  <a:lnTo>
                    <a:pt x="2861972" y="1590993"/>
                  </a:lnTo>
                  <a:lnTo>
                    <a:pt x="2862606" y="1594803"/>
                  </a:lnTo>
                  <a:lnTo>
                    <a:pt x="2861972" y="1598931"/>
                  </a:lnTo>
                  <a:lnTo>
                    <a:pt x="2861654" y="1603058"/>
                  </a:lnTo>
                  <a:lnTo>
                    <a:pt x="2861020" y="1607186"/>
                  </a:lnTo>
                  <a:lnTo>
                    <a:pt x="2860386" y="1611313"/>
                  </a:lnTo>
                  <a:lnTo>
                    <a:pt x="2858800" y="1615123"/>
                  </a:lnTo>
                  <a:lnTo>
                    <a:pt x="2857214" y="1619251"/>
                  </a:lnTo>
                  <a:lnTo>
                    <a:pt x="2855628" y="1622743"/>
                  </a:lnTo>
                  <a:lnTo>
                    <a:pt x="2853408" y="1626553"/>
                  </a:lnTo>
                  <a:lnTo>
                    <a:pt x="2851187" y="1630681"/>
                  </a:lnTo>
                  <a:lnTo>
                    <a:pt x="2848967" y="1634491"/>
                  </a:lnTo>
                  <a:lnTo>
                    <a:pt x="2842941" y="1641793"/>
                  </a:lnTo>
                  <a:lnTo>
                    <a:pt x="2836597" y="1648778"/>
                  </a:lnTo>
                  <a:lnTo>
                    <a:pt x="2828668" y="1655763"/>
                  </a:lnTo>
                  <a:lnTo>
                    <a:pt x="2820421" y="1662431"/>
                  </a:lnTo>
                  <a:lnTo>
                    <a:pt x="2810905" y="1668781"/>
                  </a:lnTo>
                  <a:lnTo>
                    <a:pt x="2800756" y="1674813"/>
                  </a:lnTo>
                  <a:lnTo>
                    <a:pt x="2789972" y="1680528"/>
                  </a:lnTo>
                  <a:lnTo>
                    <a:pt x="2778236" y="1685926"/>
                  </a:lnTo>
                  <a:lnTo>
                    <a:pt x="2765866" y="1691006"/>
                  </a:lnTo>
                  <a:lnTo>
                    <a:pt x="2752861" y="1695768"/>
                  </a:lnTo>
                  <a:lnTo>
                    <a:pt x="2739223" y="1700213"/>
                  </a:lnTo>
                  <a:lnTo>
                    <a:pt x="2869267" y="1786891"/>
                  </a:lnTo>
                  <a:lnTo>
                    <a:pt x="2862606" y="1797051"/>
                  </a:lnTo>
                  <a:lnTo>
                    <a:pt x="2723998" y="1704341"/>
                  </a:lnTo>
                  <a:lnTo>
                    <a:pt x="2707822" y="1708151"/>
                  </a:lnTo>
                  <a:lnTo>
                    <a:pt x="2690694" y="1711961"/>
                  </a:lnTo>
                  <a:lnTo>
                    <a:pt x="2673566" y="1715136"/>
                  </a:lnTo>
                  <a:lnTo>
                    <a:pt x="2655487" y="1717358"/>
                  </a:lnTo>
                  <a:lnTo>
                    <a:pt x="2637091" y="1719581"/>
                  </a:lnTo>
                  <a:lnTo>
                    <a:pt x="2618060" y="1720533"/>
                  </a:lnTo>
                  <a:lnTo>
                    <a:pt x="2598712" y="1721803"/>
                  </a:lnTo>
                  <a:lnTo>
                    <a:pt x="2579046" y="1721803"/>
                  </a:lnTo>
                  <a:lnTo>
                    <a:pt x="2563822" y="1721803"/>
                  </a:lnTo>
                  <a:lnTo>
                    <a:pt x="2549549" y="1721486"/>
                  </a:lnTo>
                  <a:lnTo>
                    <a:pt x="2534958" y="1720533"/>
                  </a:lnTo>
                  <a:lnTo>
                    <a:pt x="2521002" y="1719581"/>
                  </a:lnTo>
                  <a:lnTo>
                    <a:pt x="2507046" y="1717993"/>
                  </a:lnTo>
                  <a:lnTo>
                    <a:pt x="2493725" y="1716088"/>
                  </a:lnTo>
                  <a:lnTo>
                    <a:pt x="2480403" y="1714183"/>
                  </a:lnTo>
                  <a:lnTo>
                    <a:pt x="2467399" y="1711961"/>
                  </a:lnTo>
                  <a:lnTo>
                    <a:pt x="2455029" y="1709738"/>
                  </a:lnTo>
                  <a:lnTo>
                    <a:pt x="2442659" y="1706881"/>
                  </a:lnTo>
                  <a:lnTo>
                    <a:pt x="2430923" y="1703706"/>
                  </a:lnTo>
                  <a:lnTo>
                    <a:pt x="2419187" y="1700213"/>
                  </a:lnTo>
                  <a:lnTo>
                    <a:pt x="2408086" y="1697038"/>
                  </a:lnTo>
                  <a:lnTo>
                    <a:pt x="2397619" y="1693228"/>
                  </a:lnTo>
                  <a:lnTo>
                    <a:pt x="2387469" y="1689418"/>
                  </a:lnTo>
                  <a:lnTo>
                    <a:pt x="2377637" y="1684973"/>
                  </a:lnTo>
                  <a:lnTo>
                    <a:pt x="2368121" y="1680846"/>
                  </a:lnTo>
                  <a:lnTo>
                    <a:pt x="2359240" y="1676401"/>
                  </a:lnTo>
                  <a:lnTo>
                    <a:pt x="2350994" y="1671321"/>
                  </a:lnTo>
                  <a:lnTo>
                    <a:pt x="2343064" y="1666558"/>
                  </a:lnTo>
                  <a:lnTo>
                    <a:pt x="2335769" y="1661161"/>
                  </a:lnTo>
                  <a:lnTo>
                    <a:pt x="2329108" y="1656081"/>
                  </a:lnTo>
                  <a:lnTo>
                    <a:pt x="2322764" y="1650366"/>
                  </a:lnTo>
                  <a:lnTo>
                    <a:pt x="2317055" y="1644651"/>
                  </a:lnTo>
                  <a:lnTo>
                    <a:pt x="2312298" y="1638936"/>
                  </a:lnTo>
                  <a:lnTo>
                    <a:pt x="2307857" y="1632903"/>
                  </a:lnTo>
                  <a:lnTo>
                    <a:pt x="2304051" y="1627188"/>
                  </a:lnTo>
                  <a:lnTo>
                    <a:pt x="2300879" y="1620521"/>
                  </a:lnTo>
                  <a:lnTo>
                    <a:pt x="2298659" y="1614171"/>
                  </a:lnTo>
                  <a:lnTo>
                    <a:pt x="2296756" y="1607821"/>
                  </a:lnTo>
                  <a:lnTo>
                    <a:pt x="2295804" y="1601471"/>
                  </a:lnTo>
                  <a:lnTo>
                    <a:pt x="2295170" y="1594803"/>
                  </a:lnTo>
                  <a:lnTo>
                    <a:pt x="2295170" y="1590676"/>
                  </a:lnTo>
                  <a:lnTo>
                    <a:pt x="2296121" y="1585913"/>
                  </a:lnTo>
                  <a:lnTo>
                    <a:pt x="2296756" y="1581468"/>
                  </a:lnTo>
                  <a:lnTo>
                    <a:pt x="2298024" y="1577341"/>
                  </a:lnTo>
                  <a:lnTo>
                    <a:pt x="2299293" y="1573213"/>
                  </a:lnTo>
                  <a:lnTo>
                    <a:pt x="2300879" y="1568768"/>
                  </a:lnTo>
                  <a:lnTo>
                    <a:pt x="2302782" y="1564641"/>
                  </a:lnTo>
                  <a:lnTo>
                    <a:pt x="2305320" y="1560831"/>
                  </a:lnTo>
                  <a:lnTo>
                    <a:pt x="2307857" y="1556703"/>
                  </a:lnTo>
                  <a:lnTo>
                    <a:pt x="2310712" y="1552576"/>
                  </a:lnTo>
                  <a:lnTo>
                    <a:pt x="2313566" y="1548766"/>
                  </a:lnTo>
                  <a:lnTo>
                    <a:pt x="2317372" y="1544956"/>
                  </a:lnTo>
                  <a:lnTo>
                    <a:pt x="2320861" y="1541146"/>
                  </a:lnTo>
                  <a:lnTo>
                    <a:pt x="2324985" y="1537653"/>
                  </a:lnTo>
                  <a:lnTo>
                    <a:pt x="2333549" y="1530351"/>
                  </a:lnTo>
                  <a:lnTo>
                    <a:pt x="2343064" y="1523366"/>
                  </a:lnTo>
                  <a:lnTo>
                    <a:pt x="2353848" y="1517016"/>
                  </a:lnTo>
                  <a:lnTo>
                    <a:pt x="2365267" y="1510348"/>
                  </a:lnTo>
                  <a:lnTo>
                    <a:pt x="2377637" y="1504316"/>
                  </a:lnTo>
                  <a:lnTo>
                    <a:pt x="2390641" y="1499236"/>
                  </a:lnTo>
                  <a:lnTo>
                    <a:pt x="2404597" y="1493838"/>
                  </a:lnTo>
                  <a:lnTo>
                    <a:pt x="2419187" y="1489393"/>
                  </a:lnTo>
                  <a:lnTo>
                    <a:pt x="2434729" y="1484948"/>
                  </a:lnTo>
                  <a:lnTo>
                    <a:pt x="2421090" y="1301751"/>
                  </a:lnTo>
                  <a:lnTo>
                    <a:pt x="2390958" y="1273493"/>
                  </a:lnTo>
                  <a:lnTo>
                    <a:pt x="2399205" y="1264603"/>
                  </a:lnTo>
                  <a:lnTo>
                    <a:pt x="2419505" y="1283653"/>
                  </a:lnTo>
                  <a:lnTo>
                    <a:pt x="2407769" y="1124268"/>
                  </a:lnTo>
                  <a:lnTo>
                    <a:pt x="2401742" y="1115378"/>
                  </a:lnTo>
                  <a:lnTo>
                    <a:pt x="2396350" y="1106171"/>
                  </a:lnTo>
                  <a:lnTo>
                    <a:pt x="2391910" y="1097281"/>
                  </a:lnTo>
                  <a:lnTo>
                    <a:pt x="2390007" y="1092201"/>
                  </a:lnTo>
                  <a:lnTo>
                    <a:pt x="2388104" y="1087756"/>
                  </a:lnTo>
                  <a:lnTo>
                    <a:pt x="2387787" y="1083946"/>
                  </a:lnTo>
                  <a:lnTo>
                    <a:pt x="2382712" y="1029971"/>
                  </a:lnTo>
                  <a:lnTo>
                    <a:pt x="2377320" y="970916"/>
                  </a:lnTo>
                  <a:lnTo>
                    <a:pt x="2371293" y="897573"/>
                  </a:lnTo>
                  <a:lnTo>
                    <a:pt x="2359240" y="716280"/>
                  </a:lnTo>
                  <a:lnTo>
                    <a:pt x="2354165" y="712153"/>
                  </a:lnTo>
                  <a:lnTo>
                    <a:pt x="2349090" y="707073"/>
                  </a:lnTo>
                  <a:lnTo>
                    <a:pt x="2348773" y="707073"/>
                  </a:lnTo>
                  <a:lnTo>
                    <a:pt x="2348773" y="707390"/>
                  </a:lnTo>
                  <a:lnTo>
                    <a:pt x="2347822" y="709295"/>
                  </a:lnTo>
                  <a:lnTo>
                    <a:pt x="2347505" y="713105"/>
                  </a:lnTo>
                  <a:lnTo>
                    <a:pt x="2347187" y="718503"/>
                  </a:lnTo>
                  <a:lnTo>
                    <a:pt x="2347187" y="733743"/>
                  </a:lnTo>
                  <a:lnTo>
                    <a:pt x="2347187" y="754063"/>
                  </a:lnTo>
                  <a:lnTo>
                    <a:pt x="2348773" y="806133"/>
                  </a:lnTo>
                  <a:lnTo>
                    <a:pt x="2350994" y="868363"/>
                  </a:lnTo>
                  <a:lnTo>
                    <a:pt x="2353848" y="932498"/>
                  </a:lnTo>
                  <a:lnTo>
                    <a:pt x="2357020" y="993141"/>
                  </a:lnTo>
                  <a:lnTo>
                    <a:pt x="2359875" y="1041718"/>
                  </a:lnTo>
                  <a:lnTo>
                    <a:pt x="2362095" y="1072198"/>
                  </a:lnTo>
                  <a:lnTo>
                    <a:pt x="2348139" y="1072516"/>
                  </a:lnTo>
                  <a:lnTo>
                    <a:pt x="2339258" y="1072198"/>
                  </a:lnTo>
                  <a:lnTo>
                    <a:pt x="2329108" y="1071246"/>
                  </a:lnTo>
                  <a:lnTo>
                    <a:pt x="2323716" y="1070611"/>
                  </a:lnTo>
                  <a:lnTo>
                    <a:pt x="2318641" y="1069658"/>
                  </a:lnTo>
                  <a:lnTo>
                    <a:pt x="2312932" y="1068706"/>
                  </a:lnTo>
                  <a:lnTo>
                    <a:pt x="2307223" y="1067118"/>
                  </a:lnTo>
                  <a:lnTo>
                    <a:pt x="2302148" y="1065213"/>
                  </a:lnTo>
                  <a:lnTo>
                    <a:pt x="2296438" y="1062991"/>
                  </a:lnTo>
                  <a:lnTo>
                    <a:pt x="2290729" y="1060451"/>
                  </a:lnTo>
                  <a:lnTo>
                    <a:pt x="2285654" y="1057276"/>
                  </a:lnTo>
                  <a:lnTo>
                    <a:pt x="2282800" y="1041718"/>
                  </a:lnTo>
                  <a:lnTo>
                    <a:pt x="2280262" y="1020446"/>
                  </a:lnTo>
                  <a:lnTo>
                    <a:pt x="2277408" y="995681"/>
                  </a:lnTo>
                  <a:lnTo>
                    <a:pt x="2274553" y="967423"/>
                  </a:lnTo>
                  <a:lnTo>
                    <a:pt x="2272016" y="936626"/>
                  </a:lnTo>
                  <a:lnTo>
                    <a:pt x="2269478" y="904241"/>
                  </a:lnTo>
                  <a:lnTo>
                    <a:pt x="2264403" y="836930"/>
                  </a:lnTo>
                  <a:lnTo>
                    <a:pt x="2260597" y="771525"/>
                  </a:lnTo>
                  <a:lnTo>
                    <a:pt x="2259328" y="741680"/>
                  </a:lnTo>
                  <a:lnTo>
                    <a:pt x="2258060" y="714058"/>
                  </a:lnTo>
                  <a:lnTo>
                    <a:pt x="2257425" y="689928"/>
                  </a:lnTo>
                  <a:lnTo>
                    <a:pt x="2257425" y="670560"/>
                  </a:lnTo>
                  <a:lnTo>
                    <a:pt x="2257425" y="655955"/>
                  </a:lnTo>
                  <a:lnTo>
                    <a:pt x="2257742" y="650875"/>
                  </a:lnTo>
                  <a:lnTo>
                    <a:pt x="2258377" y="647065"/>
                  </a:lnTo>
                  <a:lnTo>
                    <a:pt x="2259011" y="641033"/>
                  </a:lnTo>
                  <a:lnTo>
                    <a:pt x="2260280" y="635635"/>
                  </a:lnTo>
                  <a:lnTo>
                    <a:pt x="2262183" y="629920"/>
                  </a:lnTo>
                  <a:lnTo>
                    <a:pt x="2264403" y="624205"/>
                  </a:lnTo>
                  <a:lnTo>
                    <a:pt x="2267575" y="619125"/>
                  </a:lnTo>
                  <a:lnTo>
                    <a:pt x="2271381" y="614045"/>
                  </a:lnTo>
                  <a:lnTo>
                    <a:pt x="2275505" y="609283"/>
                  </a:lnTo>
                  <a:lnTo>
                    <a:pt x="2279945" y="604203"/>
                  </a:lnTo>
                  <a:lnTo>
                    <a:pt x="2284703" y="599758"/>
                  </a:lnTo>
                  <a:lnTo>
                    <a:pt x="2290412" y="595313"/>
                  </a:lnTo>
                  <a:lnTo>
                    <a:pt x="2296121" y="591185"/>
                  </a:lnTo>
                  <a:lnTo>
                    <a:pt x="2302465" y="587058"/>
                  </a:lnTo>
                  <a:lnTo>
                    <a:pt x="2309126" y="583248"/>
                  </a:lnTo>
                  <a:lnTo>
                    <a:pt x="2316104" y="579438"/>
                  </a:lnTo>
                  <a:lnTo>
                    <a:pt x="2323399" y="575628"/>
                  </a:lnTo>
                  <a:lnTo>
                    <a:pt x="2331011" y="572453"/>
                  </a:lnTo>
                  <a:lnTo>
                    <a:pt x="2338941" y="568960"/>
                  </a:lnTo>
                  <a:lnTo>
                    <a:pt x="2347187" y="566103"/>
                  </a:lnTo>
                  <a:lnTo>
                    <a:pt x="2363681" y="560070"/>
                  </a:lnTo>
                  <a:lnTo>
                    <a:pt x="2381443" y="554673"/>
                  </a:lnTo>
                  <a:lnTo>
                    <a:pt x="2399205" y="550228"/>
                  </a:lnTo>
                  <a:lnTo>
                    <a:pt x="2417284" y="546100"/>
                  </a:lnTo>
                  <a:lnTo>
                    <a:pt x="2435681" y="542290"/>
                  </a:lnTo>
                  <a:lnTo>
                    <a:pt x="2453760" y="539115"/>
                  </a:lnTo>
                  <a:lnTo>
                    <a:pt x="2471522" y="536575"/>
                  </a:lnTo>
                  <a:lnTo>
                    <a:pt x="2475646" y="536258"/>
                  </a:lnTo>
                  <a:lnTo>
                    <a:pt x="2479769" y="536258"/>
                  </a:lnTo>
                  <a:lnTo>
                    <a:pt x="2537813" y="750888"/>
                  </a:lnTo>
                  <a:lnTo>
                    <a:pt x="2539082" y="742315"/>
                  </a:lnTo>
                  <a:lnTo>
                    <a:pt x="2559064" y="595313"/>
                  </a:lnTo>
                  <a:lnTo>
                    <a:pt x="2553355" y="580708"/>
                  </a:lnTo>
                  <a:lnTo>
                    <a:pt x="2564773" y="561340"/>
                  </a:lnTo>
                  <a:lnTo>
                    <a:pt x="2590148" y="561340"/>
                  </a:lnTo>
                  <a:lnTo>
                    <a:pt x="2600615" y="580708"/>
                  </a:lnTo>
                  <a:lnTo>
                    <a:pt x="2595857" y="597853"/>
                  </a:lnTo>
                  <a:lnTo>
                    <a:pt x="2613619" y="753110"/>
                  </a:lnTo>
                  <a:lnTo>
                    <a:pt x="2661196" y="542925"/>
                  </a:lnTo>
                  <a:lnTo>
                    <a:pt x="2666271" y="540703"/>
                  </a:lnTo>
                  <a:lnTo>
                    <a:pt x="2670712" y="538480"/>
                  </a:lnTo>
                  <a:lnTo>
                    <a:pt x="2673249" y="536893"/>
                  </a:lnTo>
                  <a:lnTo>
                    <a:pt x="2673566" y="536575"/>
                  </a:lnTo>
                  <a:lnTo>
                    <a:pt x="2682130" y="535623"/>
                  </a:lnTo>
                  <a:lnTo>
                    <a:pt x="2691328" y="534988"/>
                  </a:lnTo>
                  <a:close/>
                  <a:moveTo>
                    <a:pt x="1954213" y="512763"/>
                  </a:moveTo>
                  <a:lnTo>
                    <a:pt x="1953574" y="518429"/>
                  </a:lnTo>
                  <a:lnTo>
                    <a:pt x="1952294" y="524094"/>
                  </a:lnTo>
                  <a:lnTo>
                    <a:pt x="1951015" y="530705"/>
                  </a:lnTo>
                  <a:lnTo>
                    <a:pt x="1948775" y="537629"/>
                  </a:lnTo>
                  <a:lnTo>
                    <a:pt x="1947176" y="540462"/>
                  </a:lnTo>
                  <a:lnTo>
                    <a:pt x="1945577" y="542981"/>
                  </a:lnTo>
                  <a:lnTo>
                    <a:pt x="1943657" y="545813"/>
                  </a:lnTo>
                  <a:lnTo>
                    <a:pt x="1941418" y="547387"/>
                  </a:lnTo>
                  <a:lnTo>
                    <a:pt x="1939179" y="548961"/>
                  </a:lnTo>
                  <a:lnTo>
                    <a:pt x="1936620" y="549276"/>
                  </a:lnTo>
                  <a:lnTo>
                    <a:pt x="1933421" y="549276"/>
                  </a:lnTo>
                  <a:lnTo>
                    <a:pt x="1930863" y="548961"/>
                  </a:lnTo>
                  <a:lnTo>
                    <a:pt x="1928943" y="548332"/>
                  </a:lnTo>
                  <a:lnTo>
                    <a:pt x="1927024" y="547073"/>
                  </a:lnTo>
                  <a:lnTo>
                    <a:pt x="1925745" y="545184"/>
                  </a:lnTo>
                  <a:lnTo>
                    <a:pt x="1925105" y="543295"/>
                  </a:lnTo>
                  <a:lnTo>
                    <a:pt x="1924785" y="541092"/>
                  </a:lnTo>
                  <a:lnTo>
                    <a:pt x="1924785" y="538574"/>
                  </a:lnTo>
                  <a:lnTo>
                    <a:pt x="1924465" y="536056"/>
                  </a:lnTo>
                  <a:lnTo>
                    <a:pt x="1924145" y="534482"/>
                  </a:lnTo>
                  <a:lnTo>
                    <a:pt x="1923186" y="533223"/>
                  </a:lnTo>
                  <a:lnTo>
                    <a:pt x="1922546" y="532908"/>
                  </a:lnTo>
                  <a:lnTo>
                    <a:pt x="1921266" y="532908"/>
                  </a:lnTo>
                  <a:lnTo>
                    <a:pt x="1920627" y="533852"/>
                  </a:lnTo>
                  <a:lnTo>
                    <a:pt x="1920307" y="534797"/>
                  </a:lnTo>
                  <a:lnTo>
                    <a:pt x="1920307" y="536685"/>
                  </a:lnTo>
                  <a:lnTo>
                    <a:pt x="1919987" y="538889"/>
                  </a:lnTo>
                  <a:lnTo>
                    <a:pt x="1918707" y="541721"/>
                  </a:lnTo>
                  <a:lnTo>
                    <a:pt x="1917108" y="544240"/>
                  </a:lnTo>
                  <a:lnTo>
                    <a:pt x="1915189" y="546443"/>
                  </a:lnTo>
                  <a:lnTo>
                    <a:pt x="1913909" y="548017"/>
                  </a:lnTo>
                  <a:lnTo>
                    <a:pt x="1912950" y="548332"/>
                  </a:lnTo>
                  <a:lnTo>
                    <a:pt x="1912310" y="548332"/>
                  </a:lnTo>
                  <a:lnTo>
                    <a:pt x="1911990" y="548332"/>
                  </a:lnTo>
                  <a:lnTo>
                    <a:pt x="1911350" y="547387"/>
                  </a:lnTo>
                  <a:lnTo>
                    <a:pt x="1911350" y="546443"/>
                  </a:lnTo>
                  <a:lnTo>
                    <a:pt x="1911350" y="544554"/>
                  </a:lnTo>
                  <a:lnTo>
                    <a:pt x="1912630" y="536370"/>
                  </a:lnTo>
                  <a:lnTo>
                    <a:pt x="1913269" y="532278"/>
                  </a:lnTo>
                  <a:lnTo>
                    <a:pt x="1914229" y="528186"/>
                  </a:lnTo>
                  <a:lnTo>
                    <a:pt x="1915189" y="524409"/>
                  </a:lnTo>
                  <a:lnTo>
                    <a:pt x="1916788" y="521891"/>
                  </a:lnTo>
                  <a:lnTo>
                    <a:pt x="1917428" y="520632"/>
                  </a:lnTo>
                  <a:lnTo>
                    <a:pt x="1918387" y="520003"/>
                  </a:lnTo>
                  <a:lnTo>
                    <a:pt x="1919347" y="519058"/>
                  </a:lnTo>
                  <a:lnTo>
                    <a:pt x="1920627" y="518743"/>
                  </a:lnTo>
                  <a:lnTo>
                    <a:pt x="1954213" y="512763"/>
                  </a:lnTo>
                  <a:close/>
                  <a:moveTo>
                    <a:pt x="1636712" y="512763"/>
                  </a:moveTo>
                  <a:lnTo>
                    <a:pt x="1670299" y="519003"/>
                  </a:lnTo>
                  <a:lnTo>
                    <a:pt x="1671578" y="519332"/>
                  </a:lnTo>
                  <a:lnTo>
                    <a:pt x="1672218" y="519660"/>
                  </a:lnTo>
                  <a:lnTo>
                    <a:pt x="1673498" y="520974"/>
                  </a:lnTo>
                  <a:lnTo>
                    <a:pt x="1674137" y="521959"/>
                  </a:lnTo>
                  <a:lnTo>
                    <a:pt x="1675737" y="524587"/>
                  </a:lnTo>
                  <a:lnTo>
                    <a:pt x="1676696" y="528528"/>
                  </a:lnTo>
                  <a:lnTo>
                    <a:pt x="1677656" y="532470"/>
                  </a:lnTo>
                  <a:lnTo>
                    <a:pt x="1678296" y="537068"/>
                  </a:lnTo>
                  <a:lnTo>
                    <a:pt x="1679575" y="545608"/>
                  </a:lnTo>
                  <a:lnTo>
                    <a:pt x="1679575" y="547578"/>
                  </a:lnTo>
                  <a:lnTo>
                    <a:pt x="1679575" y="548892"/>
                  </a:lnTo>
                  <a:lnTo>
                    <a:pt x="1679255" y="549549"/>
                  </a:lnTo>
                  <a:lnTo>
                    <a:pt x="1678616" y="549549"/>
                  </a:lnTo>
                  <a:lnTo>
                    <a:pt x="1677976" y="549549"/>
                  </a:lnTo>
                  <a:lnTo>
                    <a:pt x="1677336" y="549221"/>
                  </a:lnTo>
                  <a:lnTo>
                    <a:pt x="1675737" y="547578"/>
                  </a:lnTo>
                  <a:lnTo>
                    <a:pt x="1673818" y="545279"/>
                  </a:lnTo>
                  <a:lnTo>
                    <a:pt x="1672218" y="542323"/>
                  </a:lnTo>
                  <a:lnTo>
                    <a:pt x="1671259" y="539367"/>
                  </a:lnTo>
                  <a:lnTo>
                    <a:pt x="1670939" y="537725"/>
                  </a:lnTo>
                  <a:lnTo>
                    <a:pt x="1670939" y="535754"/>
                  </a:lnTo>
                  <a:lnTo>
                    <a:pt x="1670299" y="534440"/>
                  </a:lnTo>
                  <a:lnTo>
                    <a:pt x="1669659" y="533784"/>
                  </a:lnTo>
                  <a:lnTo>
                    <a:pt x="1668380" y="533784"/>
                  </a:lnTo>
                  <a:lnTo>
                    <a:pt x="1667740" y="534112"/>
                  </a:lnTo>
                  <a:lnTo>
                    <a:pt x="1667100" y="535097"/>
                  </a:lnTo>
                  <a:lnTo>
                    <a:pt x="1666780" y="536740"/>
                  </a:lnTo>
                  <a:lnTo>
                    <a:pt x="1666141" y="539367"/>
                  </a:lnTo>
                  <a:lnTo>
                    <a:pt x="1666141" y="542323"/>
                  </a:lnTo>
                  <a:lnTo>
                    <a:pt x="1665821" y="544622"/>
                  </a:lnTo>
                  <a:lnTo>
                    <a:pt x="1665181" y="546593"/>
                  </a:lnTo>
                  <a:lnTo>
                    <a:pt x="1663901" y="548564"/>
                  </a:lnTo>
                  <a:lnTo>
                    <a:pt x="1661982" y="549549"/>
                  </a:lnTo>
                  <a:lnTo>
                    <a:pt x="1660063" y="550534"/>
                  </a:lnTo>
                  <a:lnTo>
                    <a:pt x="1657504" y="550863"/>
                  </a:lnTo>
                  <a:lnTo>
                    <a:pt x="1654625" y="550863"/>
                  </a:lnTo>
                  <a:lnTo>
                    <a:pt x="1651746" y="549878"/>
                  </a:lnTo>
                  <a:lnTo>
                    <a:pt x="1649507" y="548892"/>
                  </a:lnTo>
                  <a:lnTo>
                    <a:pt x="1647268" y="546921"/>
                  </a:lnTo>
                  <a:lnTo>
                    <a:pt x="1645349" y="544294"/>
                  </a:lnTo>
                  <a:lnTo>
                    <a:pt x="1643749" y="541338"/>
                  </a:lnTo>
                  <a:lnTo>
                    <a:pt x="1642470" y="538053"/>
                  </a:lnTo>
                  <a:lnTo>
                    <a:pt x="1640231" y="531484"/>
                  </a:lnTo>
                  <a:lnTo>
                    <a:pt x="1638631" y="524259"/>
                  </a:lnTo>
                  <a:lnTo>
                    <a:pt x="1637352" y="518018"/>
                  </a:lnTo>
                  <a:lnTo>
                    <a:pt x="1636712" y="512763"/>
                  </a:lnTo>
                  <a:close/>
                  <a:moveTo>
                    <a:pt x="358458" y="427038"/>
                  </a:moveTo>
                  <a:lnTo>
                    <a:pt x="365125" y="427038"/>
                  </a:lnTo>
                  <a:lnTo>
                    <a:pt x="371475" y="427356"/>
                  </a:lnTo>
                  <a:lnTo>
                    <a:pt x="377825" y="427992"/>
                  </a:lnTo>
                  <a:lnTo>
                    <a:pt x="384493" y="429263"/>
                  </a:lnTo>
                  <a:lnTo>
                    <a:pt x="390843" y="430853"/>
                  </a:lnTo>
                  <a:lnTo>
                    <a:pt x="397193" y="432125"/>
                  </a:lnTo>
                  <a:lnTo>
                    <a:pt x="403860" y="434033"/>
                  </a:lnTo>
                  <a:lnTo>
                    <a:pt x="410210" y="435940"/>
                  </a:lnTo>
                  <a:lnTo>
                    <a:pt x="422593" y="441027"/>
                  </a:lnTo>
                  <a:lnTo>
                    <a:pt x="434658" y="446114"/>
                  </a:lnTo>
                  <a:lnTo>
                    <a:pt x="445770" y="451837"/>
                  </a:lnTo>
                  <a:lnTo>
                    <a:pt x="456883" y="457878"/>
                  </a:lnTo>
                  <a:lnTo>
                    <a:pt x="466408" y="463919"/>
                  </a:lnTo>
                  <a:lnTo>
                    <a:pt x="475298" y="469960"/>
                  </a:lnTo>
                  <a:lnTo>
                    <a:pt x="482918" y="475365"/>
                  </a:lnTo>
                  <a:lnTo>
                    <a:pt x="489585" y="480770"/>
                  </a:lnTo>
                  <a:lnTo>
                    <a:pt x="494348" y="485539"/>
                  </a:lnTo>
                  <a:lnTo>
                    <a:pt x="497840" y="489355"/>
                  </a:lnTo>
                  <a:lnTo>
                    <a:pt x="498475" y="491262"/>
                  </a:lnTo>
                  <a:lnTo>
                    <a:pt x="499110" y="492534"/>
                  </a:lnTo>
                  <a:lnTo>
                    <a:pt x="499745" y="495396"/>
                  </a:lnTo>
                  <a:lnTo>
                    <a:pt x="499745" y="499211"/>
                  </a:lnTo>
                  <a:lnTo>
                    <a:pt x="499745" y="510021"/>
                  </a:lnTo>
                  <a:lnTo>
                    <a:pt x="499110" y="525282"/>
                  </a:lnTo>
                  <a:lnTo>
                    <a:pt x="498158" y="543405"/>
                  </a:lnTo>
                  <a:lnTo>
                    <a:pt x="494983" y="587281"/>
                  </a:lnTo>
                  <a:lnTo>
                    <a:pt x="490855" y="637198"/>
                  </a:lnTo>
                  <a:lnTo>
                    <a:pt x="486093" y="688705"/>
                  </a:lnTo>
                  <a:lnTo>
                    <a:pt x="481013" y="736397"/>
                  </a:lnTo>
                  <a:lnTo>
                    <a:pt x="476250" y="776457"/>
                  </a:lnTo>
                  <a:lnTo>
                    <a:pt x="474028" y="792037"/>
                  </a:lnTo>
                  <a:lnTo>
                    <a:pt x="472123" y="803800"/>
                  </a:lnTo>
                  <a:lnTo>
                    <a:pt x="464503" y="806344"/>
                  </a:lnTo>
                  <a:lnTo>
                    <a:pt x="457835" y="808888"/>
                  </a:lnTo>
                  <a:lnTo>
                    <a:pt x="451168" y="810477"/>
                  </a:lnTo>
                  <a:lnTo>
                    <a:pt x="444818" y="812067"/>
                  </a:lnTo>
                  <a:lnTo>
                    <a:pt x="439103" y="813021"/>
                  </a:lnTo>
                  <a:lnTo>
                    <a:pt x="433705" y="813339"/>
                  </a:lnTo>
                  <a:lnTo>
                    <a:pt x="429260" y="813021"/>
                  </a:lnTo>
                  <a:lnTo>
                    <a:pt x="425450" y="811749"/>
                  </a:lnTo>
                  <a:lnTo>
                    <a:pt x="425768" y="802847"/>
                  </a:lnTo>
                  <a:lnTo>
                    <a:pt x="426720" y="789811"/>
                  </a:lnTo>
                  <a:lnTo>
                    <a:pt x="428308" y="754519"/>
                  </a:lnTo>
                  <a:lnTo>
                    <a:pt x="429260" y="710961"/>
                  </a:lnTo>
                  <a:lnTo>
                    <a:pt x="429895" y="664541"/>
                  </a:lnTo>
                  <a:lnTo>
                    <a:pt x="429895" y="619711"/>
                  </a:lnTo>
                  <a:lnTo>
                    <a:pt x="429578" y="582512"/>
                  </a:lnTo>
                  <a:lnTo>
                    <a:pt x="429260" y="568205"/>
                  </a:lnTo>
                  <a:lnTo>
                    <a:pt x="428625" y="557712"/>
                  </a:lnTo>
                  <a:lnTo>
                    <a:pt x="428308" y="554215"/>
                  </a:lnTo>
                  <a:lnTo>
                    <a:pt x="427673" y="551672"/>
                  </a:lnTo>
                  <a:lnTo>
                    <a:pt x="427038" y="550400"/>
                  </a:lnTo>
                  <a:lnTo>
                    <a:pt x="426720" y="550400"/>
                  </a:lnTo>
                  <a:lnTo>
                    <a:pt x="426403" y="550400"/>
                  </a:lnTo>
                  <a:lnTo>
                    <a:pt x="422910" y="555487"/>
                  </a:lnTo>
                  <a:lnTo>
                    <a:pt x="419100" y="560256"/>
                  </a:lnTo>
                  <a:lnTo>
                    <a:pt x="418465" y="561846"/>
                  </a:lnTo>
                  <a:lnTo>
                    <a:pt x="406718" y="733217"/>
                  </a:lnTo>
                  <a:lnTo>
                    <a:pt x="401003" y="796806"/>
                  </a:lnTo>
                  <a:lnTo>
                    <a:pt x="398463" y="821605"/>
                  </a:lnTo>
                  <a:lnTo>
                    <a:pt x="398463" y="823831"/>
                  </a:lnTo>
                  <a:lnTo>
                    <a:pt x="395288" y="831779"/>
                  </a:lnTo>
                  <a:lnTo>
                    <a:pt x="392113" y="839728"/>
                  </a:lnTo>
                  <a:lnTo>
                    <a:pt x="387985" y="847041"/>
                  </a:lnTo>
                  <a:lnTo>
                    <a:pt x="382905" y="854353"/>
                  </a:lnTo>
                  <a:lnTo>
                    <a:pt x="365443" y="1090267"/>
                  </a:lnTo>
                  <a:lnTo>
                    <a:pt x="378778" y="1093447"/>
                  </a:lnTo>
                  <a:lnTo>
                    <a:pt x="391160" y="1096944"/>
                  </a:lnTo>
                  <a:lnTo>
                    <a:pt x="403860" y="1100441"/>
                  </a:lnTo>
                  <a:lnTo>
                    <a:pt x="414973" y="1104575"/>
                  </a:lnTo>
                  <a:lnTo>
                    <a:pt x="425450" y="1109344"/>
                  </a:lnTo>
                  <a:lnTo>
                    <a:pt x="435293" y="1114113"/>
                  </a:lnTo>
                  <a:lnTo>
                    <a:pt x="444818" y="1119518"/>
                  </a:lnTo>
                  <a:lnTo>
                    <a:pt x="453073" y="1124923"/>
                  </a:lnTo>
                  <a:lnTo>
                    <a:pt x="450215" y="1114749"/>
                  </a:lnTo>
                  <a:lnTo>
                    <a:pt x="538480" y="1093447"/>
                  </a:lnTo>
                  <a:lnTo>
                    <a:pt x="541338" y="1105211"/>
                  </a:lnTo>
                  <a:lnTo>
                    <a:pt x="454343" y="1126513"/>
                  </a:lnTo>
                  <a:lnTo>
                    <a:pt x="461645" y="1132236"/>
                  </a:lnTo>
                  <a:lnTo>
                    <a:pt x="467678" y="1137959"/>
                  </a:lnTo>
                  <a:lnTo>
                    <a:pt x="472758" y="1144000"/>
                  </a:lnTo>
                  <a:lnTo>
                    <a:pt x="476885" y="1150358"/>
                  </a:lnTo>
                  <a:lnTo>
                    <a:pt x="478790" y="1153538"/>
                  </a:lnTo>
                  <a:lnTo>
                    <a:pt x="480378" y="1156717"/>
                  </a:lnTo>
                  <a:lnTo>
                    <a:pt x="481965" y="1159897"/>
                  </a:lnTo>
                  <a:lnTo>
                    <a:pt x="482918" y="1163394"/>
                  </a:lnTo>
                  <a:lnTo>
                    <a:pt x="483870" y="1166891"/>
                  </a:lnTo>
                  <a:lnTo>
                    <a:pt x="484505" y="1170707"/>
                  </a:lnTo>
                  <a:lnTo>
                    <a:pt x="484823" y="1173886"/>
                  </a:lnTo>
                  <a:lnTo>
                    <a:pt x="484823" y="1177384"/>
                  </a:lnTo>
                  <a:lnTo>
                    <a:pt x="484823" y="1182789"/>
                  </a:lnTo>
                  <a:lnTo>
                    <a:pt x="484188" y="1187558"/>
                  </a:lnTo>
                  <a:lnTo>
                    <a:pt x="482600" y="1192327"/>
                  </a:lnTo>
                  <a:lnTo>
                    <a:pt x="480695" y="1197414"/>
                  </a:lnTo>
                  <a:lnTo>
                    <a:pt x="478790" y="1201865"/>
                  </a:lnTo>
                  <a:lnTo>
                    <a:pt x="475933" y="1206634"/>
                  </a:lnTo>
                  <a:lnTo>
                    <a:pt x="472758" y="1211404"/>
                  </a:lnTo>
                  <a:lnTo>
                    <a:pt x="469265" y="1215537"/>
                  </a:lnTo>
                  <a:lnTo>
                    <a:pt x="465138" y="1219988"/>
                  </a:lnTo>
                  <a:lnTo>
                    <a:pt x="460375" y="1224121"/>
                  </a:lnTo>
                  <a:lnTo>
                    <a:pt x="455613" y="1227937"/>
                  </a:lnTo>
                  <a:lnTo>
                    <a:pt x="450215" y="1232070"/>
                  </a:lnTo>
                  <a:lnTo>
                    <a:pt x="444818" y="1235249"/>
                  </a:lnTo>
                  <a:lnTo>
                    <a:pt x="438785" y="1239065"/>
                  </a:lnTo>
                  <a:lnTo>
                    <a:pt x="432435" y="1242562"/>
                  </a:lnTo>
                  <a:lnTo>
                    <a:pt x="425450" y="1245741"/>
                  </a:lnTo>
                  <a:lnTo>
                    <a:pt x="418465" y="1248921"/>
                  </a:lnTo>
                  <a:lnTo>
                    <a:pt x="410845" y="1251782"/>
                  </a:lnTo>
                  <a:lnTo>
                    <a:pt x="402908" y="1254644"/>
                  </a:lnTo>
                  <a:lnTo>
                    <a:pt x="394970" y="1257187"/>
                  </a:lnTo>
                  <a:lnTo>
                    <a:pt x="386398" y="1259731"/>
                  </a:lnTo>
                  <a:lnTo>
                    <a:pt x="377825" y="1261956"/>
                  </a:lnTo>
                  <a:lnTo>
                    <a:pt x="368618" y="1263864"/>
                  </a:lnTo>
                  <a:lnTo>
                    <a:pt x="359410" y="1265772"/>
                  </a:lnTo>
                  <a:lnTo>
                    <a:pt x="349885" y="1267679"/>
                  </a:lnTo>
                  <a:lnTo>
                    <a:pt x="340043" y="1269269"/>
                  </a:lnTo>
                  <a:lnTo>
                    <a:pt x="329883" y="1270223"/>
                  </a:lnTo>
                  <a:lnTo>
                    <a:pt x="319723" y="1271495"/>
                  </a:lnTo>
                  <a:lnTo>
                    <a:pt x="309245" y="1272131"/>
                  </a:lnTo>
                  <a:lnTo>
                    <a:pt x="298768" y="1272767"/>
                  </a:lnTo>
                  <a:lnTo>
                    <a:pt x="287973" y="1273085"/>
                  </a:lnTo>
                  <a:lnTo>
                    <a:pt x="276860" y="1273402"/>
                  </a:lnTo>
                  <a:lnTo>
                    <a:pt x="273685" y="1273085"/>
                  </a:lnTo>
                  <a:lnTo>
                    <a:pt x="313055" y="1331268"/>
                  </a:lnTo>
                  <a:lnTo>
                    <a:pt x="302895" y="1338263"/>
                  </a:lnTo>
                  <a:lnTo>
                    <a:pt x="259080" y="1273085"/>
                  </a:lnTo>
                  <a:lnTo>
                    <a:pt x="244157" y="1272131"/>
                  </a:lnTo>
                  <a:lnTo>
                    <a:pt x="230505" y="1271177"/>
                  </a:lnTo>
                  <a:lnTo>
                    <a:pt x="216852" y="1269587"/>
                  </a:lnTo>
                  <a:lnTo>
                    <a:pt x="203835" y="1267362"/>
                  </a:lnTo>
                  <a:lnTo>
                    <a:pt x="190817" y="1265136"/>
                  </a:lnTo>
                  <a:lnTo>
                    <a:pt x="178435" y="1262592"/>
                  </a:lnTo>
                  <a:lnTo>
                    <a:pt x="166687" y="1259413"/>
                  </a:lnTo>
                  <a:lnTo>
                    <a:pt x="155575" y="1255916"/>
                  </a:lnTo>
                  <a:lnTo>
                    <a:pt x="144780" y="1252736"/>
                  </a:lnTo>
                  <a:lnTo>
                    <a:pt x="134937" y="1248603"/>
                  </a:lnTo>
                  <a:lnTo>
                    <a:pt x="125095" y="1244470"/>
                  </a:lnTo>
                  <a:lnTo>
                    <a:pt x="116522" y="1239383"/>
                  </a:lnTo>
                  <a:lnTo>
                    <a:pt x="108267" y="1234931"/>
                  </a:lnTo>
                  <a:lnTo>
                    <a:pt x="100647" y="1229844"/>
                  </a:lnTo>
                  <a:lnTo>
                    <a:pt x="93980" y="1224439"/>
                  </a:lnTo>
                  <a:lnTo>
                    <a:pt x="87947" y="1218716"/>
                  </a:lnTo>
                  <a:lnTo>
                    <a:pt x="2857" y="1238747"/>
                  </a:lnTo>
                  <a:lnTo>
                    <a:pt x="0" y="1226983"/>
                  </a:lnTo>
                  <a:lnTo>
                    <a:pt x="79375" y="1208224"/>
                  </a:lnTo>
                  <a:lnTo>
                    <a:pt x="76835" y="1204727"/>
                  </a:lnTo>
                  <a:lnTo>
                    <a:pt x="74612" y="1201229"/>
                  </a:lnTo>
                  <a:lnTo>
                    <a:pt x="72707" y="1197414"/>
                  </a:lnTo>
                  <a:lnTo>
                    <a:pt x="71437" y="1193599"/>
                  </a:lnTo>
                  <a:lnTo>
                    <a:pt x="70167" y="1189465"/>
                  </a:lnTo>
                  <a:lnTo>
                    <a:pt x="69532" y="1185650"/>
                  </a:lnTo>
                  <a:lnTo>
                    <a:pt x="69215" y="1181517"/>
                  </a:lnTo>
                  <a:lnTo>
                    <a:pt x="68580" y="1177384"/>
                  </a:lnTo>
                  <a:lnTo>
                    <a:pt x="69215" y="1171661"/>
                  </a:lnTo>
                  <a:lnTo>
                    <a:pt x="70167" y="1166574"/>
                  </a:lnTo>
                  <a:lnTo>
                    <a:pt x="71755" y="1161169"/>
                  </a:lnTo>
                  <a:lnTo>
                    <a:pt x="73977" y="1155763"/>
                  </a:lnTo>
                  <a:lnTo>
                    <a:pt x="76517" y="1150676"/>
                  </a:lnTo>
                  <a:lnTo>
                    <a:pt x="80010" y="1145589"/>
                  </a:lnTo>
                  <a:lnTo>
                    <a:pt x="83820" y="1140820"/>
                  </a:lnTo>
                  <a:lnTo>
                    <a:pt x="88265" y="1136051"/>
                  </a:lnTo>
                  <a:lnTo>
                    <a:pt x="93027" y="1131282"/>
                  </a:lnTo>
                  <a:lnTo>
                    <a:pt x="98425" y="1126831"/>
                  </a:lnTo>
                  <a:lnTo>
                    <a:pt x="104457" y="1122697"/>
                  </a:lnTo>
                  <a:lnTo>
                    <a:pt x="110807" y="1118564"/>
                  </a:lnTo>
                  <a:lnTo>
                    <a:pt x="117475" y="1114431"/>
                  </a:lnTo>
                  <a:lnTo>
                    <a:pt x="124777" y="1111251"/>
                  </a:lnTo>
                  <a:lnTo>
                    <a:pt x="132715" y="1107436"/>
                  </a:lnTo>
                  <a:lnTo>
                    <a:pt x="140652" y="1103939"/>
                  </a:lnTo>
                  <a:lnTo>
                    <a:pt x="89852" y="1023817"/>
                  </a:lnTo>
                  <a:lnTo>
                    <a:pt x="100012" y="1017458"/>
                  </a:lnTo>
                  <a:lnTo>
                    <a:pt x="152400" y="1099805"/>
                  </a:lnTo>
                  <a:lnTo>
                    <a:pt x="162242" y="1096944"/>
                  </a:lnTo>
                  <a:lnTo>
                    <a:pt x="172720" y="1093765"/>
                  </a:lnTo>
                  <a:lnTo>
                    <a:pt x="154940" y="850538"/>
                  </a:lnTo>
                  <a:lnTo>
                    <a:pt x="150812" y="844179"/>
                  </a:lnTo>
                  <a:lnTo>
                    <a:pt x="146367" y="837820"/>
                  </a:lnTo>
                  <a:lnTo>
                    <a:pt x="143510" y="830826"/>
                  </a:lnTo>
                  <a:lnTo>
                    <a:pt x="140652" y="824149"/>
                  </a:lnTo>
                  <a:lnTo>
                    <a:pt x="140652" y="821605"/>
                  </a:lnTo>
                  <a:lnTo>
                    <a:pt x="136842" y="782816"/>
                  </a:lnTo>
                  <a:lnTo>
                    <a:pt x="133032" y="740212"/>
                  </a:lnTo>
                  <a:lnTo>
                    <a:pt x="128587" y="687433"/>
                  </a:lnTo>
                  <a:lnTo>
                    <a:pt x="119697" y="557077"/>
                  </a:lnTo>
                  <a:lnTo>
                    <a:pt x="116522" y="554215"/>
                  </a:lnTo>
                  <a:lnTo>
                    <a:pt x="112712" y="550400"/>
                  </a:lnTo>
                  <a:lnTo>
                    <a:pt x="112395" y="550400"/>
                  </a:lnTo>
                  <a:lnTo>
                    <a:pt x="112395" y="550718"/>
                  </a:lnTo>
                  <a:lnTo>
                    <a:pt x="112077" y="552307"/>
                  </a:lnTo>
                  <a:lnTo>
                    <a:pt x="111125" y="558666"/>
                  </a:lnTo>
                  <a:lnTo>
                    <a:pt x="111125" y="569794"/>
                  </a:lnTo>
                  <a:lnTo>
                    <a:pt x="111125" y="584420"/>
                  </a:lnTo>
                  <a:lnTo>
                    <a:pt x="112395" y="621937"/>
                  </a:lnTo>
                  <a:lnTo>
                    <a:pt x="113665" y="666449"/>
                  </a:lnTo>
                  <a:lnTo>
                    <a:pt x="116205" y="712869"/>
                  </a:lnTo>
                  <a:lnTo>
                    <a:pt x="118427" y="756109"/>
                  </a:lnTo>
                  <a:lnTo>
                    <a:pt x="120332" y="791401"/>
                  </a:lnTo>
                  <a:lnTo>
                    <a:pt x="122237" y="813021"/>
                  </a:lnTo>
                  <a:lnTo>
                    <a:pt x="112077" y="813339"/>
                  </a:lnTo>
                  <a:lnTo>
                    <a:pt x="105410" y="813339"/>
                  </a:lnTo>
                  <a:lnTo>
                    <a:pt x="98425" y="812385"/>
                  </a:lnTo>
                  <a:lnTo>
                    <a:pt x="90487" y="811431"/>
                  </a:lnTo>
                  <a:lnTo>
                    <a:pt x="82550" y="809523"/>
                  </a:lnTo>
                  <a:lnTo>
                    <a:pt x="78740" y="807934"/>
                  </a:lnTo>
                  <a:lnTo>
                    <a:pt x="74612" y="806344"/>
                  </a:lnTo>
                  <a:lnTo>
                    <a:pt x="70802" y="804754"/>
                  </a:lnTo>
                  <a:lnTo>
                    <a:pt x="66675" y="802211"/>
                  </a:lnTo>
                  <a:lnTo>
                    <a:pt x="65087" y="791083"/>
                  </a:lnTo>
                  <a:lnTo>
                    <a:pt x="63182" y="776139"/>
                  </a:lnTo>
                  <a:lnTo>
                    <a:pt x="61277" y="758335"/>
                  </a:lnTo>
                  <a:lnTo>
                    <a:pt x="59055" y="737986"/>
                  </a:lnTo>
                  <a:lnTo>
                    <a:pt x="55245" y="692520"/>
                  </a:lnTo>
                  <a:lnTo>
                    <a:pt x="51752" y="643875"/>
                  </a:lnTo>
                  <a:lnTo>
                    <a:pt x="49212" y="596819"/>
                  </a:lnTo>
                  <a:lnTo>
                    <a:pt x="47307" y="555487"/>
                  </a:lnTo>
                  <a:lnTo>
                    <a:pt x="46990" y="538318"/>
                  </a:lnTo>
                  <a:lnTo>
                    <a:pt x="46355" y="524011"/>
                  </a:lnTo>
                  <a:lnTo>
                    <a:pt x="46990" y="513836"/>
                  </a:lnTo>
                  <a:lnTo>
                    <a:pt x="47307" y="507477"/>
                  </a:lnTo>
                  <a:lnTo>
                    <a:pt x="47625" y="503026"/>
                  </a:lnTo>
                  <a:lnTo>
                    <a:pt x="48895" y="498893"/>
                  </a:lnTo>
                  <a:lnTo>
                    <a:pt x="49847" y="495078"/>
                  </a:lnTo>
                  <a:lnTo>
                    <a:pt x="51752" y="490944"/>
                  </a:lnTo>
                  <a:lnTo>
                    <a:pt x="53975" y="487129"/>
                  </a:lnTo>
                  <a:lnTo>
                    <a:pt x="56515" y="483314"/>
                  </a:lnTo>
                  <a:lnTo>
                    <a:pt x="59690" y="480134"/>
                  </a:lnTo>
                  <a:lnTo>
                    <a:pt x="62547" y="476637"/>
                  </a:lnTo>
                  <a:lnTo>
                    <a:pt x="66357" y="473140"/>
                  </a:lnTo>
                  <a:lnTo>
                    <a:pt x="70167" y="470278"/>
                  </a:lnTo>
                  <a:lnTo>
                    <a:pt x="74612" y="467099"/>
                  </a:lnTo>
                  <a:lnTo>
                    <a:pt x="79375" y="464237"/>
                  </a:lnTo>
                  <a:lnTo>
                    <a:pt x="88900" y="458514"/>
                  </a:lnTo>
                  <a:lnTo>
                    <a:pt x="99377" y="453745"/>
                  </a:lnTo>
                  <a:lnTo>
                    <a:pt x="111125" y="449294"/>
                  </a:lnTo>
                  <a:lnTo>
                    <a:pt x="123190" y="444525"/>
                  </a:lnTo>
                  <a:lnTo>
                    <a:pt x="135572" y="441027"/>
                  </a:lnTo>
                  <a:lnTo>
                    <a:pt x="148907" y="437530"/>
                  </a:lnTo>
                  <a:lnTo>
                    <a:pt x="161607" y="434351"/>
                  </a:lnTo>
                  <a:lnTo>
                    <a:pt x="174625" y="431807"/>
                  </a:lnTo>
                  <a:lnTo>
                    <a:pt x="187960" y="429581"/>
                  </a:lnTo>
                  <a:lnTo>
                    <a:pt x="200660" y="427674"/>
                  </a:lnTo>
                  <a:lnTo>
                    <a:pt x="203835" y="427674"/>
                  </a:lnTo>
                  <a:lnTo>
                    <a:pt x="206692" y="427674"/>
                  </a:lnTo>
                  <a:lnTo>
                    <a:pt x="248285" y="582194"/>
                  </a:lnTo>
                  <a:lnTo>
                    <a:pt x="249237" y="576153"/>
                  </a:lnTo>
                  <a:lnTo>
                    <a:pt x="263525" y="470278"/>
                  </a:lnTo>
                  <a:lnTo>
                    <a:pt x="259715" y="459786"/>
                  </a:lnTo>
                  <a:lnTo>
                    <a:pt x="267653" y="445797"/>
                  </a:lnTo>
                  <a:lnTo>
                    <a:pt x="285750" y="445797"/>
                  </a:lnTo>
                  <a:lnTo>
                    <a:pt x="293688" y="459786"/>
                  </a:lnTo>
                  <a:lnTo>
                    <a:pt x="289878" y="472186"/>
                  </a:lnTo>
                  <a:lnTo>
                    <a:pt x="302578" y="584102"/>
                  </a:lnTo>
                  <a:lnTo>
                    <a:pt x="336868" y="432443"/>
                  </a:lnTo>
                  <a:lnTo>
                    <a:pt x="343853" y="429263"/>
                  </a:lnTo>
                  <a:lnTo>
                    <a:pt x="345440" y="428310"/>
                  </a:lnTo>
                  <a:lnTo>
                    <a:pt x="345758" y="427674"/>
                  </a:lnTo>
                  <a:lnTo>
                    <a:pt x="352108" y="427356"/>
                  </a:lnTo>
                  <a:lnTo>
                    <a:pt x="358458" y="427038"/>
                  </a:lnTo>
                  <a:close/>
                  <a:moveTo>
                    <a:pt x="1859239" y="201613"/>
                  </a:moveTo>
                  <a:lnTo>
                    <a:pt x="1864624" y="201613"/>
                  </a:lnTo>
                  <a:lnTo>
                    <a:pt x="1869375" y="201613"/>
                  </a:lnTo>
                  <a:lnTo>
                    <a:pt x="1874760" y="201930"/>
                  </a:lnTo>
                  <a:lnTo>
                    <a:pt x="1879828" y="202248"/>
                  </a:lnTo>
                  <a:lnTo>
                    <a:pt x="1884896" y="203517"/>
                  </a:lnTo>
                  <a:lnTo>
                    <a:pt x="1895349" y="205739"/>
                  </a:lnTo>
                  <a:lnTo>
                    <a:pt x="1905485" y="208595"/>
                  </a:lnTo>
                  <a:lnTo>
                    <a:pt x="1914988" y="212403"/>
                  </a:lnTo>
                  <a:lnTo>
                    <a:pt x="1924490" y="216529"/>
                  </a:lnTo>
                  <a:lnTo>
                    <a:pt x="1933676" y="221290"/>
                  </a:lnTo>
                  <a:lnTo>
                    <a:pt x="1942229" y="225733"/>
                  </a:lnTo>
                  <a:lnTo>
                    <a:pt x="1949514" y="230493"/>
                  </a:lnTo>
                  <a:lnTo>
                    <a:pt x="1956799" y="235571"/>
                  </a:lnTo>
                  <a:lnTo>
                    <a:pt x="1962818" y="240014"/>
                  </a:lnTo>
                  <a:lnTo>
                    <a:pt x="1967886" y="244140"/>
                  </a:lnTo>
                  <a:lnTo>
                    <a:pt x="1971687" y="247948"/>
                  </a:lnTo>
                  <a:lnTo>
                    <a:pt x="1974538" y="251122"/>
                  </a:lnTo>
                  <a:lnTo>
                    <a:pt x="1975488" y="253343"/>
                  </a:lnTo>
                  <a:lnTo>
                    <a:pt x="1976438" y="258739"/>
                  </a:lnTo>
                  <a:lnTo>
                    <a:pt x="1975805" y="267307"/>
                  </a:lnTo>
                  <a:lnTo>
                    <a:pt x="1975488" y="279367"/>
                  </a:lnTo>
                  <a:lnTo>
                    <a:pt x="1974854" y="293649"/>
                  </a:lnTo>
                  <a:lnTo>
                    <a:pt x="1972637" y="328241"/>
                  </a:lnTo>
                  <a:lnTo>
                    <a:pt x="1969153" y="368229"/>
                  </a:lnTo>
                  <a:lnTo>
                    <a:pt x="1965352" y="408852"/>
                  </a:lnTo>
                  <a:lnTo>
                    <a:pt x="1961234" y="446619"/>
                  </a:lnTo>
                  <a:lnTo>
                    <a:pt x="1957433" y="478355"/>
                  </a:lnTo>
                  <a:lnTo>
                    <a:pt x="1956166" y="490732"/>
                  </a:lnTo>
                  <a:lnTo>
                    <a:pt x="1954265" y="499619"/>
                  </a:lnTo>
                  <a:lnTo>
                    <a:pt x="1948564" y="501840"/>
                  </a:lnTo>
                  <a:lnTo>
                    <a:pt x="1942862" y="503744"/>
                  </a:lnTo>
                  <a:lnTo>
                    <a:pt x="1937794" y="505331"/>
                  </a:lnTo>
                  <a:lnTo>
                    <a:pt x="1932726" y="506283"/>
                  </a:lnTo>
                  <a:lnTo>
                    <a:pt x="1928291" y="507235"/>
                  </a:lnTo>
                  <a:lnTo>
                    <a:pt x="1924174" y="507235"/>
                  </a:lnTo>
                  <a:lnTo>
                    <a:pt x="1920373" y="506918"/>
                  </a:lnTo>
                  <a:lnTo>
                    <a:pt x="1917522" y="505966"/>
                  </a:lnTo>
                  <a:lnTo>
                    <a:pt x="1918472" y="488828"/>
                  </a:lnTo>
                  <a:lnTo>
                    <a:pt x="1919422" y="460900"/>
                  </a:lnTo>
                  <a:lnTo>
                    <a:pt x="1920373" y="426307"/>
                  </a:lnTo>
                  <a:lnTo>
                    <a:pt x="1920689" y="389493"/>
                  </a:lnTo>
                  <a:lnTo>
                    <a:pt x="1921006" y="354265"/>
                  </a:lnTo>
                  <a:lnTo>
                    <a:pt x="1920689" y="324750"/>
                  </a:lnTo>
                  <a:lnTo>
                    <a:pt x="1920373" y="313325"/>
                  </a:lnTo>
                  <a:lnTo>
                    <a:pt x="1919739" y="305074"/>
                  </a:lnTo>
                  <a:lnTo>
                    <a:pt x="1918789" y="299996"/>
                  </a:lnTo>
                  <a:lnTo>
                    <a:pt x="1918472" y="299361"/>
                  </a:lnTo>
                  <a:lnTo>
                    <a:pt x="1918472" y="299044"/>
                  </a:lnTo>
                  <a:lnTo>
                    <a:pt x="1918155" y="299361"/>
                  </a:lnTo>
                  <a:lnTo>
                    <a:pt x="1914988" y="303170"/>
                  </a:lnTo>
                  <a:lnTo>
                    <a:pt x="1912454" y="307295"/>
                  </a:lnTo>
                  <a:lnTo>
                    <a:pt x="1911820" y="308247"/>
                  </a:lnTo>
                  <a:lnTo>
                    <a:pt x="1902318" y="443762"/>
                  </a:lnTo>
                  <a:lnTo>
                    <a:pt x="1897883" y="493906"/>
                  </a:lnTo>
                  <a:lnTo>
                    <a:pt x="1895982" y="513900"/>
                  </a:lnTo>
                  <a:lnTo>
                    <a:pt x="1895982" y="515804"/>
                  </a:lnTo>
                  <a:lnTo>
                    <a:pt x="1893765" y="521834"/>
                  </a:lnTo>
                  <a:lnTo>
                    <a:pt x="1891231" y="528181"/>
                  </a:lnTo>
                  <a:lnTo>
                    <a:pt x="1887747" y="534211"/>
                  </a:lnTo>
                  <a:lnTo>
                    <a:pt x="1883946" y="539924"/>
                  </a:lnTo>
                  <a:lnTo>
                    <a:pt x="1869375" y="734151"/>
                  </a:lnTo>
                  <a:lnTo>
                    <a:pt x="1879828" y="736373"/>
                  </a:lnTo>
                  <a:lnTo>
                    <a:pt x="1890281" y="738912"/>
                  </a:lnTo>
                  <a:lnTo>
                    <a:pt x="1899784" y="742403"/>
                  </a:lnTo>
                  <a:lnTo>
                    <a:pt x="1909286" y="745576"/>
                  </a:lnTo>
                  <a:lnTo>
                    <a:pt x="1917839" y="749067"/>
                  </a:lnTo>
                  <a:lnTo>
                    <a:pt x="1925757" y="752876"/>
                  </a:lnTo>
                  <a:lnTo>
                    <a:pt x="1933043" y="757002"/>
                  </a:lnTo>
                  <a:lnTo>
                    <a:pt x="1940011" y="761762"/>
                  </a:lnTo>
                  <a:lnTo>
                    <a:pt x="1946030" y="766522"/>
                  </a:lnTo>
                  <a:lnTo>
                    <a:pt x="1951098" y="771283"/>
                  </a:lnTo>
                  <a:lnTo>
                    <a:pt x="1955532" y="776361"/>
                  </a:lnTo>
                  <a:lnTo>
                    <a:pt x="1959333" y="781439"/>
                  </a:lnTo>
                  <a:lnTo>
                    <a:pt x="1962501" y="787151"/>
                  </a:lnTo>
                  <a:lnTo>
                    <a:pt x="1964718" y="792864"/>
                  </a:lnTo>
                  <a:lnTo>
                    <a:pt x="1966302" y="798894"/>
                  </a:lnTo>
                  <a:lnTo>
                    <a:pt x="1966619" y="801750"/>
                  </a:lnTo>
                  <a:lnTo>
                    <a:pt x="1966619" y="804924"/>
                  </a:lnTo>
                  <a:lnTo>
                    <a:pt x="1966302" y="808732"/>
                  </a:lnTo>
                  <a:lnTo>
                    <a:pt x="1965669" y="812223"/>
                  </a:lnTo>
                  <a:lnTo>
                    <a:pt x="1965035" y="816031"/>
                  </a:lnTo>
                  <a:lnTo>
                    <a:pt x="1963451" y="819522"/>
                  </a:lnTo>
                  <a:lnTo>
                    <a:pt x="1962184" y="823331"/>
                  </a:lnTo>
                  <a:lnTo>
                    <a:pt x="1960284" y="826504"/>
                  </a:lnTo>
                  <a:lnTo>
                    <a:pt x="1958066" y="829995"/>
                  </a:lnTo>
                  <a:lnTo>
                    <a:pt x="1955532" y="833486"/>
                  </a:lnTo>
                  <a:lnTo>
                    <a:pt x="1952682" y="836660"/>
                  </a:lnTo>
                  <a:lnTo>
                    <a:pt x="1949514" y="839834"/>
                  </a:lnTo>
                  <a:lnTo>
                    <a:pt x="1946030" y="842690"/>
                  </a:lnTo>
                  <a:lnTo>
                    <a:pt x="1942545" y="845864"/>
                  </a:lnTo>
                  <a:lnTo>
                    <a:pt x="1938428" y="848720"/>
                  </a:lnTo>
                  <a:lnTo>
                    <a:pt x="1934310" y="851576"/>
                  </a:lnTo>
                  <a:lnTo>
                    <a:pt x="1924807" y="856654"/>
                  </a:lnTo>
                  <a:lnTo>
                    <a:pt x="1914354" y="861732"/>
                  </a:lnTo>
                  <a:lnTo>
                    <a:pt x="1903268" y="865858"/>
                  </a:lnTo>
                  <a:lnTo>
                    <a:pt x="1891231" y="869983"/>
                  </a:lnTo>
                  <a:lnTo>
                    <a:pt x="1878244" y="873157"/>
                  </a:lnTo>
                  <a:lnTo>
                    <a:pt x="1864624" y="876013"/>
                  </a:lnTo>
                  <a:lnTo>
                    <a:pt x="1850370" y="878235"/>
                  </a:lnTo>
                  <a:lnTo>
                    <a:pt x="1835165" y="880139"/>
                  </a:lnTo>
                  <a:lnTo>
                    <a:pt x="1819644" y="881091"/>
                  </a:lnTo>
                  <a:lnTo>
                    <a:pt x="1783851" y="947738"/>
                  </a:lnTo>
                  <a:lnTo>
                    <a:pt x="1773398" y="941708"/>
                  </a:lnTo>
                  <a:lnTo>
                    <a:pt x="1805390" y="881409"/>
                  </a:lnTo>
                  <a:lnTo>
                    <a:pt x="1800322" y="881726"/>
                  </a:lnTo>
                  <a:lnTo>
                    <a:pt x="1787335" y="881409"/>
                  </a:lnTo>
                  <a:lnTo>
                    <a:pt x="1774032" y="881091"/>
                  </a:lnTo>
                  <a:lnTo>
                    <a:pt x="1761678" y="880139"/>
                  </a:lnTo>
                  <a:lnTo>
                    <a:pt x="1749642" y="878552"/>
                  </a:lnTo>
                  <a:lnTo>
                    <a:pt x="1737605" y="876648"/>
                  </a:lnTo>
                  <a:lnTo>
                    <a:pt x="1726518" y="874427"/>
                  </a:lnTo>
                  <a:lnTo>
                    <a:pt x="1716066" y="871888"/>
                  </a:lnTo>
                  <a:lnTo>
                    <a:pt x="1705296" y="868714"/>
                  </a:lnTo>
                  <a:lnTo>
                    <a:pt x="1696110" y="865223"/>
                  </a:lnTo>
                  <a:lnTo>
                    <a:pt x="1686607" y="862049"/>
                  </a:lnTo>
                  <a:lnTo>
                    <a:pt x="1678372" y="857924"/>
                  </a:lnTo>
                  <a:lnTo>
                    <a:pt x="1670453" y="853798"/>
                  </a:lnTo>
                  <a:lnTo>
                    <a:pt x="1663484" y="849037"/>
                  </a:lnTo>
                  <a:lnTo>
                    <a:pt x="1657149" y="844594"/>
                  </a:lnTo>
                  <a:lnTo>
                    <a:pt x="1651448" y="839516"/>
                  </a:lnTo>
                  <a:lnTo>
                    <a:pt x="1646696" y="834439"/>
                  </a:lnTo>
                  <a:lnTo>
                    <a:pt x="1574476" y="851894"/>
                  </a:lnTo>
                  <a:lnTo>
                    <a:pt x="1571625" y="840151"/>
                  </a:lnTo>
                  <a:lnTo>
                    <a:pt x="1639411" y="823648"/>
                  </a:lnTo>
                  <a:lnTo>
                    <a:pt x="1637510" y="819205"/>
                  </a:lnTo>
                  <a:lnTo>
                    <a:pt x="1635927" y="814127"/>
                  </a:lnTo>
                  <a:lnTo>
                    <a:pt x="1634976" y="809684"/>
                  </a:lnTo>
                  <a:lnTo>
                    <a:pt x="1634660" y="804924"/>
                  </a:lnTo>
                  <a:lnTo>
                    <a:pt x="1634976" y="799211"/>
                  </a:lnTo>
                  <a:lnTo>
                    <a:pt x="1635927" y="793816"/>
                  </a:lnTo>
                  <a:lnTo>
                    <a:pt x="1637827" y="788738"/>
                  </a:lnTo>
                  <a:lnTo>
                    <a:pt x="1640678" y="783343"/>
                  </a:lnTo>
                  <a:lnTo>
                    <a:pt x="1643529" y="778582"/>
                  </a:lnTo>
                  <a:lnTo>
                    <a:pt x="1647646" y="773504"/>
                  </a:lnTo>
                  <a:lnTo>
                    <a:pt x="1652081" y="769061"/>
                  </a:lnTo>
                  <a:lnTo>
                    <a:pt x="1657466" y="764618"/>
                  </a:lnTo>
                  <a:lnTo>
                    <a:pt x="1663167" y="760493"/>
                  </a:lnTo>
                  <a:lnTo>
                    <a:pt x="1669503" y="756684"/>
                  </a:lnTo>
                  <a:lnTo>
                    <a:pt x="1676154" y="752876"/>
                  </a:lnTo>
                  <a:lnTo>
                    <a:pt x="1683757" y="749067"/>
                  </a:lnTo>
                  <a:lnTo>
                    <a:pt x="1691675" y="745894"/>
                  </a:lnTo>
                  <a:lnTo>
                    <a:pt x="1700228" y="742720"/>
                  </a:lnTo>
                  <a:lnTo>
                    <a:pt x="1708780" y="740181"/>
                  </a:lnTo>
                  <a:lnTo>
                    <a:pt x="1718283" y="737642"/>
                  </a:lnTo>
                  <a:lnTo>
                    <a:pt x="1703079" y="536750"/>
                  </a:lnTo>
                  <a:lnTo>
                    <a:pt x="1699911" y="531990"/>
                  </a:lnTo>
                  <a:lnTo>
                    <a:pt x="1696744" y="526595"/>
                  </a:lnTo>
                  <a:lnTo>
                    <a:pt x="1694209" y="521517"/>
                  </a:lnTo>
                  <a:lnTo>
                    <a:pt x="1691992" y="516122"/>
                  </a:lnTo>
                  <a:lnTo>
                    <a:pt x="1691992" y="513900"/>
                  </a:lnTo>
                  <a:lnTo>
                    <a:pt x="1688825" y="483116"/>
                  </a:lnTo>
                  <a:lnTo>
                    <a:pt x="1685974" y="449792"/>
                  </a:lnTo>
                  <a:lnTo>
                    <a:pt x="1682490" y="407583"/>
                  </a:lnTo>
                  <a:lnTo>
                    <a:pt x="1675521" y="304439"/>
                  </a:lnTo>
                  <a:lnTo>
                    <a:pt x="1672670" y="302218"/>
                  </a:lnTo>
                  <a:lnTo>
                    <a:pt x="1669819" y="299361"/>
                  </a:lnTo>
                  <a:lnTo>
                    <a:pt x="1669503" y="299361"/>
                  </a:lnTo>
                  <a:lnTo>
                    <a:pt x="1669186" y="300948"/>
                  </a:lnTo>
                  <a:lnTo>
                    <a:pt x="1668552" y="305709"/>
                  </a:lnTo>
                  <a:lnTo>
                    <a:pt x="1668552" y="314277"/>
                  </a:lnTo>
                  <a:lnTo>
                    <a:pt x="1668552" y="326020"/>
                  </a:lnTo>
                  <a:lnTo>
                    <a:pt x="1669503" y="355852"/>
                  </a:lnTo>
                  <a:lnTo>
                    <a:pt x="1671086" y="391080"/>
                  </a:lnTo>
                  <a:lnTo>
                    <a:pt x="1672353" y="427894"/>
                  </a:lnTo>
                  <a:lnTo>
                    <a:pt x="1674254" y="462169"/>
                  </a:lnTo>
                  <a:lnTo>
                    <a:pt x="1675838" y="489780"/>
                  </a:lnTo>
                  <a:lnTo>
                    <a:pt x="1677421" y="507235"/>
                  </a:lnTo>
                  <a:lnTo>
                    <a:pt x="1669503" y="507235"/>
                  </a:lnTo>
                  <a:lnTo>
                    <a:pt x="1664118" y="507235"/>
                  </a:lnTo>
                  <a:lnTo>
                    <a:pt x="1658416" y="506918"/>
                  </a:lnTo>
                  <a:lnTo>
                    <a:pt x="1652715" y="505648"/>
                  </a:lnTo>
                  <a:lnTo>
                    <a:pt x="1646063" y="504062"/>
                  </a:lnTo>
                  <a:lnTo>
                    <a:pt x="1639728" y="501840"/>
                  </a:lnTo>
                  <a:lnTo>
                    <a:pt x="1636877" y="500253"/>
                  </a:lnTo>
                  <a:lnTo>
                    <a:pt x="1633709" y="498984"/>
                  </a:lnTo>
                  <a:lnTo>
                    <a:pt x="1632442" y="489780"/>
                  </a:lnTo>
                  <a:lnTo>
                    <a:pt x="1630858" y="477720"/>
                  </a:lnTo>
                  <a:lnTo>
                    <a:pt x="1627374" y="447888"/>
                  </a:lnTo>
                  <a:lnTo>
                    <a:pt x="1624523" y="411708"/>
                  </a:lnTo>
                  <a:lnTo>
                    <a:pt x="1621673" y="373307"/>
                  </a:lnTo>
                  <a:lnTo>
                    <a:pt x="1619455" y="336176"/>
                  </a:lnTo>
                  <a:lnTo>
                    <a:pt x="1618188" y="303487"/>
                  </a:lnTo>
                  <a:lnTo>
                    <a:pt x="1617555" y="278733"/>
                  </a:lnTo>
                  <a:lnTo>
                    <a:pt x="1617555" y="270481"/>
                  </a:lnTo>
                  <a:lnTo>
                    <a:pt x="1618188" y="265086"/>
                  </a:lnTo>
                  <a:lnTo>
                    <a:pt x="1618505" y="261595"/>
                  </a:lnTo>
                  <a:lnTo>
                    <a:pt x="1619139" y="258421"/>
                  </a:lnTo>
                  <a:lnTo>
                    <a:pt x="1620406" y="255248"/>
                  </a:lnTo>
                  <a:lnTo>
                    <a:pt x="1621673" y="252391"/>
                  </a:lnTo>
                  <a:lnTo>
                    <a:pt x="1623573" y="249218"/>
                  </a:lnTo>
                  <a:lnTo>
                    <a:pt x="1625474" y="246361"/>
                  </a:lnTo>
                  <a:lnTo>
                    <a:pt x="1627691" y="243822"/>
                  </a:lnTo>
                  <a:lnTo>
                    <a:pt x="1630542" y="240649"/>
                  </a:lnTo>
                  <a:lnTo>
                    <a:pt x="1633392" y="238110"/>
                  </a:lnTo>
                  <a:lnTo>
                    <a:pt x="1636560" y="235888"/>
                  </a:lnTo>
                  <a:lnTo>
                    <a:pt x="1643212" y="230810"/>
                  </a:lnTo>
                  <a:lnTo>
                    <a:pt x="1651131" y="226685"/>
                  </a:lnTo>
                  <a:lnTo>
                    <a:pt x="1659683" y="222559"/>
                  </a:lnTo>
                  <a:lnTo>
                    <a:pt x="1668552" y="218751"/>
                  </a:lnTo>
                  <a:lnTo>
                    <a:pt x="1678055" y="215577"/>
                  </a:lnTo>
                  <a:lnTo>
                    <a:pt x="1688191" y="212403"/>
                  </a:lnTo>
                  <a:lnTo>
                    <a:pt x="1698327" y="209864"/>
                  </a:lnTo>
                  <a:lnTo>
                    <a:pt x="1708780" y="207643"/>
                  </a:lnTo>
                  <a:lnTo>
                    <a:pt x="1718916" y="205421"/>
                  </a:lnTo>
                  <a:lnTo>
                    <a:pt x="1729369" y="203834"/>
                  </a:lnTo>
                  <a:lnTo>
                    <a:pt x="1739505" y="202248"/>
                  </a:lnTo>
                  <a:lnTo>
                    <a:pt x="1741723" y="201930"/>
                  </a:lnTo>
                  <a:lnTo>
                    <a:pt x="1743940" y="201930"/>
                  </a:lnTo>
                  <a:lnTo>
                    <a:pt x="1777516" y="324433"/>
                  </a:lnTo>
                  <a:lnTo>
                    <a:pt x="1777833" y="319673"/>
                  </a:lnTo>
                  <a:lnTo>
                    <a:pt x="1789553" y="235888"/>
                  </a:lnTo>
                  <a:lnTo>
                    <a:pt x="1786068" y="227637"/>
                  </a:lnTo>
                  <a:lnTo>
                    <a:pt x="1792404" y="216529"/>
                  </a:lnTo>
                  <a:lnTo>
                    <a:pt x="1806658" y="216212"/>
                  </a:lnTo>
                  <a:lnTo>
                    <a:pt x="1812676" y="227637"/>
                  </a:lnTo>
                  <a:lnTo>
                    <a:pt x="1810142" y="237158"/>
                  </a:lnTo>
                  <a:lnTo>
                    <a:pt x="1820278" y="325703"/>
                  </a:lnTo>
                  <a:lnTo>
                    <a:pt x="1847202" y="206056"/>
                  </a:lnTo>
                  <a:lnTo>
                    <a:pt x="1852904" y="203517"/>
                  </a:lnTo>
                  <a:lnTo>
                    <a:pt x="1853854" y="202882"/>
                  </a:lnTo>
                  <a:lnTo>
                    <a:pt x="1854488" y="202248"/>
                  </a:lnTo>
                  <a:lnTo>
                    <a:pt x="1859239" y="201613"/>
                  </a:lnTo>
                  <a:close/>
                  <a:moveTo>
                    <a:pt x="2576838" y="182563"/>
                  </a:moveTo>
                  <a:lnTo>
                    <a:pt x="2587021" y="182563"/>
                  </a:lnTo>
                  <a:lnTo>
                    <a:pt x="2597204" y="182880"/>
                  </a:lnTo>
                  <a:lnTo>
                    <a:pt x="2606432" y="183515"/>
                  </a:lnTo>
                  <a:lnTo>
                    <a:pt x="2615979" y="185103"/>
                  </a:lnTo>
                  <a:lnTo>
                    <a:pt x="2624570" y="186690"/>
                  </a:lnTo>
                  <a:lnTo>
                    <a:pt x="2633162" y="188913"/>
                  </a:lnTo>
                  <a:lnTo>
                    <a:pt x="2641118" y="191135"/>
                  </a:lnTo>
                  <a:lnTo>
                    <a:pt x="2649073" y="193993"/>
                  </a:lnTo>
                  <a:lnTo>
                    <a:pt x="2656392" y="196850"/>
                  </a:lnTo>
                  <a:lnTo>
                    <a:pt x="2663074" y="200025"/>
                  </a:lnTo>
                  <a:lnTo>
                    <a:pt x="2669439" y="203200"/>
                  </a:lnTo>
                  <a:lnTo>
                    <a:pt x="2675485" y="206375"/>
                  </a:lnTo>
                  <a:lnTo>
                    <a:pt x="2685986" y="213043"/>
                  </a:lnTo>
                  <a:lnTo>
                    <a:pt x="2694578" y="219393"/>
                  </a:lnTo>
                  <a:lnTo>
                    <a:pt x="2701578" y="224473"/>
                  </a:lnTo>
                  <a:lnTo>
                    <a:pt x="2706670" y="228918"/>
                  </a:lnTo>
                  <a:lnTo>
                    <a:pt x="2710488" y="233045"/>
                  </a:lnTo>
                  <a:lnTo>
                    <a:pt x="2709216" y="236220"/>
                  </a:lnTo>
                  <a:lnTo>
                    <a:pt x="2707625" y="239078"/>
                  </a:lnTo>
                  <a:lnTo>
                    <a:pt x="2705079" y="243840"/>
                  </a:lnTo>
                  <a:lnTo>
                    <a:pt x="2701897" y="248603"/>
                  </a:lnTo>
                  <a:lnTo>
                    <a:pt x="2697760" y="253365"/>
                  </a:lnTo>
                  <a:lnTo>
                    <a:pt x="2693305" y="258763"/>
                  </a:lnTo>
                  <a:lnTo>
                    <a:pt x="2687577" y="264160"/>
                  </a:lnTo>
                  <a:lnTo>
                    <a:pt x="2684077" y="266383"/>
                  </a:lnTo>
                  <a:lnTo>
                    <a:pt x="2681213" y="268605"/>
                  </a:lnTo>
                  <a:lnTo>
                    <a:pt x="2677394" y="270828"/>
                  </a:lnTo>
                  <a:lnTo>
                    <a:pt x="2673575" y="272733"/>
                  </a:lnTo>
                  <a:lnTo>
                    <a:pt x="2669757" y="274638"/>
                  </a:lnTo>
                  <a:lnTo>
                    <a:pt x="2665302" y="275591"/>
                  </a:lnTo>
                  <a:lnTo>
                    <a:pt x="2661165" y="276861"/>
                  </a:lnTo>
                  <a:lnTo>
                    <a:pt x="2656392" y="277496"/>
                  </a:lnTo>
                  <a:lnTo>
                    <a:pt x="2651300" y="277813"/>
                  </a:lnTo>
                  <a:lnTo>
                    <a:pt x="2646527" y="277813"/>
                  </a:lnTo>
                  <a:lnTo>
                    <a:pt x="2640799" y="277496"/>
                  </a:lnTo>
                  <a:lnTo>
                    <a:pt x="2635390" y="276543"/>
                  </a:lnTo>
                  <a:lnTo>
                    <a:pt x="2629344" y="274956"/>
                  </a:lnTo>
                  <a:lnTo>
                    <a:pt x="2623298" y="273050"/>
                  </a:lnTo>
                  <a:lnTo>
                    <a:pt x="2616933" y="270510"/>
                  </a:lnTo>
                  <a:lnTo>
                    <a:pt x="2610569" y="267335"/>
                  </a:lnTo>
                  <a:lnTo>
                    <a:pt x="2603250" y="263525"/>
                  </a:lnTo>
                  <a:lnTo>
                    <a:pt x="2595295" y="260668"/>
                  </a:lnTo>
                  <a:lnTo>
                    <a:pt x="2626480" y="275591"/>
                  </a:lnTo>
                  <a:lnTo>
                    <a:pt x="2641436" y="282576"/>
                  </a:lnTo>
                  <a:lnTo>
                    <a:pt x="2648437" y="285116"/>
                  </a:lnTo>
                  <a:lnTo>
                    <a:pt x="2655437" y="287656"/>
                  </a:lnTo>
                  <a:lnTo>
                    <a:pt x="2661802" y="289878"/>
                  </a:lnTo>
                  <a:lnTo>
                    <a:pt x="2668166" y="291466"/>
                  </a:lnTo>
                  <a:lnTo>
                    <a:pt x="2674212" y="292101"/>
                  </a:lnTo>
                  <a:lnTo>
                    <a:pt x="2679940" y="292736"/>
                  </a:lnTo>
                  <a:lnTo>
                    <a:pt x="2685349" y="292736"/>
                  </a:lnTo>
                  <a:lnTo>
                    <a:pt x="2690123" y="291466"/>
                  </a:lnTo>
                  <a:lnTo>
                    <a:pt x="2692350" y="290196"/>
                  </a:lnTo>
                  <a:lnTo>
                    <a:pt x="2694578" y="289561"/>
                  </a:lnTo>
                  <a:lnTo>
                    <a:pt x="2696805" y="287973"/>
                  </a:lnTo>
                  <a:lnTo>
                    <a:pt x="2698714" y="286703"/>
                  </a:lnTo>
                  <a:lnTo>
                    <a:pt x="2699987" y="297498"/>
                  </a:lnTo>
                  <a:lnTo>
                    <a:pt x="2700624" y="307341"/>
                  </a:lnTo>
                  <a:lnTo>
                    <a:pt x="2700306" y="316548"/>
                  </a:lnTo>
                  <a:lnTo>
                    <a:pt x="2699987" y="325756"/>
                  </a:lnTo>
                  <a:lnTo>
                    <a:pt x="2701578" y="323851"/>
                  </a:lnTo>
                  <a:lnTo>
                    <a:pt x="2702533" y="323533"/>
                  </a:lnTo>
                  <a:lnTo>
                    <a:pt x="2703488" y="322898"/>
                  </a:lnTo>
                  <a:lnTo>
                    <a:pt x="2704442" y="323533"/>
                  </a:lnTo>
                  <a:lnTo>
                    <a:pt x="2705715" y="324168"/>
                  </a:lnTo>
                  <a:lnTo>
                    <a:pt x="2706670" y="325438"/>
                  </a:lnTo>
                  <a:lnTo>
                    <a:pt x="2707625" y="326708"/>
                  </a:lnTo>
                  <a:lnTo>
                    <a:pt x="2709216" y="330836"/>
                  </a:lnTo>
                  <a:lnTo>
                    <a:pt x="2711125" y="336551"/>
                  </a:lnTo>
                  <a:lnTo>
                    <a:pt x="2712398" y="343218"/>
                  </a:lnTo>
                  <a:lnTo>
                    <a:pt x="2713671" y="351156"/>
                  </a:lnTo>
                  <a:lnTo>
                    <a:pt x="2714307" y="359411"/>
                  </a:lnTo>
                  <a:lnTo>
                    <a:pt x="2714625" y="368936"/>
                  </a:lnTo>
                  <a:lnTo>
                    <a:pt x="2714307" y="377826"/>
                  </a:lnTo>
                  <a:lnTo>
                    <a:pt x="2713671" y="386716"/>
                  </a:lnTo>
                  <a:lnTo>
                    <a:pt x="2712398" y="394653"/>
                  </a:lnTo>
                  <a:lnTo>
                    <a:pt x="2711125" y="401321"/>
                  </a:lnTo>
                  <a:lnTo>
                    <a:pt x="2709216" y="407036"/>
                  </a:lnTo>
                  <a:lnTo>
                    <a:pt x="2707625" y="411163"/>
                  </a:lnTo>
                  <a:lnTo>
                    <a:pt x="2706670" y="412433"/>
                  </a:lnTo>
                  <a:lnTo>
                    <a:pt x="2705715" y="413703"/>
                  </a:lnTo>
                  <a:lnTo>
                    <a:pt x="2704442" y="414338"/>
                  </a:lnTo>
                  <a:lnTo>
                    <a:pt x="2703488" y="414338"/>
                  </a:lnTo>
                  <a:lnTo>
                    <a:pt x="2702215" y="414338"/>
                  </a:lnTo>
                  <a:lnTo>
                    <a:pt x="2700942" y="413703"/>
                  </a:lnTo>
                  <a:lnTo>
                    <a:pt x="2699987" y="412116"/>
                  </a:lnTo>
                  <a:lnTo>
                    <a:pt x="2698714" y="410528"/>
                  </a:lnTo>
                  <a:lnTo>
                    <a:pt x="2696805" y="406083"/>
                  </a:lnTo>
                  <a:lnTo>
                    <a:pt x="2694896" y="400051"/>
                  </a:lnTo>
                  <a:lnTo>
                    <a:pt x="2693941" y="407988"/>
                  </a:lnTo>
                  <a:lnTo>
                    <a:pt x="2692668" y="415926"/>
                  </a:lnTo>
                  <a:lnTo>
                    <a:pt x="2691396" y="423546"/>
                  </a:lnTo>
                  <a:lnTo>
                    <a:pt x="2689168" y="430531"/>
                  </a:lnTo>
                  <a:lnTo>
                    <a:pt x="2687259" y="437833"/>
                  </a:lnTo>
                  <a:lnTo>
                    <a:pt x="2684395" y="444818"/>
                  </a:lnTo>
                  <a:lnTo>
                    <a:pt x="2681849" y="451803"/>
                  </a:lnTo>
                  <a:lnTo>
                    <a:pt x="2678985" y="458153"/>
                  </a:lnTo>
                  <a:lnTo>
                    <a:pt x="2675803" y="464503"/>
                  </a:lnTo>
                  <a:lnTo>
                    <a:pt x="2672303" y="470536"/>
                  </a:lnTo>
                  <a:lnTo>
                    <a:pt x="2669120" y="476568"/>
                  </a:lnTo>
                  <a:lnTo>
                    <a:pt x="2665302" y="481966"/>
                  </a:lnTo>
                  <a:lnTo>
                    <a:pt x="2661483" y="487363"/>
                  </a:lnTo>
                  <a:lnTo>
                    <a:pt x="2657347" y="492761"/>
                  </a:lnTo>
                  <a:lnTo>
                    <a:pt x="2653210" y="497523"/>
                  </a:lnTo>
                  <a:lnTo>
                    <a:pt x="2649073" y="501968"/>
                  </a:lnTo>
                  <a:lnTo>
                    <a:pt x="2644618" y="506413"/>
                  </a:lnTo>
                  <a:lnTo>
                    <a:pt x="2640163" y="510541"/>
                  </a:lnTo>
                  <a:lnTo>
                    <a:pt x="2635390" y="514351"/>
                  </a:lnTo>
                  <a:lnTo>
                    <a:pt x="2630935" y="518161"/>
                  </a:lnTo>
                  <a:lnTo>
                    <a:pt x="2626480" y="521653"/>
                  </a:lnTo>
                  <a:lnTo>
                    <a:pt x="2621706" y="524511"/>
                  </a:lnTo>
                  <a:lnTo>
                    <a:pt x="2616933" y="527368"/>
                  </a:lnTo>
                  <a:lnTo>
                    <a:pt x="2612160" y="529908"/>
                  </a:lnTo>
                  <a:lnTo>
                    <a:pt x="2607387" y="532131"/>
                  </a:lnTo>
                  <a:lnTo>
                    <a:pt x="2602614" y="534036"/>
                  </a:lnTo>
                  <a:lnTo>
                    <a:pt x="2597840" y="535941"/>
                  </a:lnTo>
                  <a:lnTo>
                    <a:pt x="2593385" y="536893"/>
                  </a:lnTo>
                  <a:lnTo>
                    <a:pt x="2588294" y="538163"/>
                  </a:lnTo>
                  <a:lnTo>
                    <a:pt x="2583839" y="538798"/>
                  </a:lnTo>
                  <a:lnTo>
                    <a:pt x="2579384" y="539116"/>
                  </a:lnTo>
                  <a:lnTo>
                    <a:pt x="2575247" y="539751"/>
                  </a:lnTo>
                  <a:lnTo>
                    <a:pt x="2571428" y="539116"/>
                  </a:lnTo>
                  <a:lnTo>
                    <a:pt x="2567610" y="538798"/>
                  </a:lnTo>
                  <a:lnTo>
                    <a:pt x="2563791" y="538163"/>
                  </a:lnTo>
                  <a:lnTo>
                    <a:pt x="2559654" y="536893"/>
                  </a:lnTo>
                  <a:lnTo>
                    <a:pt x="2555518" y="535623"/>
                  </a:lnTo>
                  <a:lnTo>
                    <a:pt x="2551381" y="533718"/>
                  </a:lnTo>
                  <a:lnTo>
                    <a:pt x="2542789" y="529591"/>
                  </a:lnTo>
                  <a:lnTo>
                    <a:pt x="2533879" y="523876"/>
                  </a:lnTo>
                  <a:lnTo>
                    <a:pt x="2524651" y="517526"/>
                  </a:lnTo>
                  <a:lnTo>
                    <a:pt x="2515423" y="509906"/>
                  </a:lnTo>
                  <a:lnTo>
                    <a:pt x="2506194" y="501333"/>
                  </a:lnTo>
                  <a:lnTo>
                    <a:pt x="2497603" y="491808"/>
                  </a:lnTo>
                  <a:lnTo>
                    <a:pt x="2489011" y="481648"/>
                  </a:lnTo>
                  <a:lnTo>
                    <a:pt x="2481055" y="470536"/>
                  </a:lnTo>
                  <a:lnTo>
                    <a:pt x="2473418" y="458788"/>
                  </a:lnTo>
                  <a:lnTo>
                    <a:pt x="2469600" y="452756"/>
                  </a:lnTo>
                  <a:lnTo>
                    <a:pt x="2466417" y="446406"/>
                  </a:lnTo>
                  <a:lnTo>
                    <a:pt x="2463235" y="440056"/>
                  </a:lnTo>
                  <a:lnTo>
                    <a:pt x="2460371" y="433071"/>
                  </a:lnTo>
                  <a:lnTo>
                    <a:pt x="2457507" y="426403"/>
                  </a:lnTo>
                  <a:lnTo>
                    <a:pt x="2454962" y="419418"/>
                  </a:lnTo>
                  <a:lnTo>
                    <a:pt x="2452734" y="412433"/>
                  </a:lnTo>
                  <a:lnTo>
                    <a:pt x="2450825" y="405448"/>
                  </a:lnTo>
                  <a:lnTo>
                    <a:pt x="2448916" y="409893"/>
                  </a:lnTo>
                  <a:lnTo>
                    <a:pt x="2447325" y="413703"/>
                  </a:lnTo>
                  <a:lnTo>
                    <a:pt x="2446370" y="414656"/>
                  </a:lnTo>
                  <a:lnTo>
                    <a:pt x="2445733" y="415926"/>
                  </a:lnTo>
                  <a:lnTo>
                    <a:pt x="2444461" y="416561"/>
                  </a:lnTo>
                  <a:lnTo>
                    <a:pt x="2443188" y="416561"/>
                  </a:lnTo>
                  <a:lnTo>
                    <a:pt x="2442233" y="416243"/>
                  </a:lnTo>
                  <a:lnTo>
                    <a:pt x="2440960" y="415926"/>
                  </a:lnTo>
                  <a:lnTo>
                    <a:pt x="2440006" y="414656"/>
                  </a:lnTo>
                  <a:lnTo>
                    <a:pt x="2439051" y="413386"/>
                  </a:lnTo>
                  <a:lnTo>
                    <a:pt x="2437142" y="408941"/>
                  </a:lnTo>
                  <a:lnTo>
                    <a:pt x="2435551" y="403543"/>
                  </a:lnTo>
                  <a:lnTo>
                    <a:pt x="2434278" y="396876"/>
                  </a:lnTo>
                  <a:lnTo>
                    <a:pt x="2433005" y="388938"/>
                  </a:lnTo>
                  <a:lnTo>
                    <a:pt x="2432368" y="380048"/>
                  </a:lnTo>
                  <a:lnTo>
                    <a:pt x="2432050" y="371158"/>
                  </a:lnTo>
                  <a:lnTo>
                    <a:pt x="2432368" y="361633"/>
                  </a:lnTo>
                  <a:lnTo>
                    <a:pt x="2433005" y="353061"/>
                  </a:lnTo>
                  <a:lnTo>
                    <a:pt x="2434278" y="345758"/>
                  </a:lnTo>
                  <a:lnTo>
                    <a:pt x="2435551" y="338773"/>
                  </a:lnTo>
                  <a:lnTo>
                    <a:pt x="2437142" y="333058"/>
                  </a:lnTo>
                  <a:lnTo>
                    <a:pt x="2439051" y="328931"/>
                  </a:lnTo>
                  <a:lnTo>
                    <a:pt x="2440006" y="327661"/>
                  </a:lnTo>
                  <a:lnTo>
                    <a:pt x="2440960" y="326391"/>
                  </a:lnTo>
                  <a:lnTo>
                    <a:pt x="2442233" y="325756"/>
                  </a:lnTo>
                  <a:lnTo>
                    <a:pt x="2443188" y="325438"/>
                  </a:lnTo>
                  <a:lnTo>
                    <a:pt x="2444142" y="325756"/>
                  </a:lnTo>
                  <a:lnTo>
                    <a:pt x="2444779" y="326073"/>
                  </a:lnTo>
                  <a:lnTo>
                    <a:pt x="2445097" y="314008"/>
                  </a:lnTo>
                  <a:lnTo>
                    <a:pt x="2446052" y="308293"/>
                  </a:lnTo>
                  <a:lnTo>
                    <a:pt x="2447006" y="303531"/>
                  </a:lnTo>
                  <a:lnTo>
                    <a:pt x="2446370" y="297181"/>
                  </a:lnTo>
                  <a:lnTo>
                    <a:pt x="2446052" y="291148"/>
                  </a:lnTo>
                  <a:lnTo>
                    <a:pt x="2446052" y="285433"/>
                  </a:lnTo>
                  <a:lnTo>
                    <a:pt x="2446370" y="280036"/>
                  </a:lnTo>
                  <a:lnTo>
                    <a:pt x="2446688" y="274956"/>
                  </a:lnTo>
                  <a:lnTo>
                    <a:pt x="2447325" y="270510"/>
                  </a:lnTo>
                  <a:lnTo>
                    <a:pt x="2448597" y="265748"/>
                  </a:lnTo>
                  <a:lnTo>
                    <a:pt x="2449870" y="261620"/>
                  </a:lnTo>
                  <a:lnTo>
                    <a:pt x="2451143" y="258128"/>
                  </a:lnTo>
                  <a:lnTo>
                    <a:pt x="2452734" y="254635"/>
                  </a:lnTo>
                  <a:lnTo>
                    <a:pt x="2454644" y="251143"/>
                  </a:lnTo>
                  <a:lnTo>
                    <a:pt x="2456871" y="248285"/>
                  </a:lnTo>
                  <a:lnTo>
                    <a:pt x="2459099" y="245745"/>
                  </a:lnTo>
                  <a:lnTo>
                    <a:pt x="2461326" y="242888"/>
                  </a:lnTo>
                  <a:lnTo>
                    <a:pt x="2464190" y="240665"/>
                  </a:lnTo>
                  <a:lnTo>
                    <a:pt x="2466736" y="238760"/>
                  </a:lnTo>
                  <a:lnTo>
                    <a:pt x="2454325" y="239078"/>
                  </a:lnTo>
                  <a:lnTo>
                    <a:pt x="2444779" y="239713"/>
                  </a:lnTo>
                  <a:lnTo>
                    <a:pt x="2436505" y="240030"/>
                  </a:lnTo>
                  <a:lnTo>
                    <a:pt x="2442233" y="236855"/>
                  </a:lnTo>
                  <a:lnTo>
                    <a:pt x="2448279" y="233045"/>
                  </a:lnTo>
                  <a:lnTo>
                    <a:pt x="2454007" y="228918"/>
                  </a:lnTo>
                  <a:lnTo>
                    <a:pt x="2460053" y="224473"/>
                  </a:lnTo>
                  <a:lnTo>
                    <a:pt x="2471191" y="215900"/>
                  </a:lnTo>
                  <a:lnTo>
                    <a:pt x="2476600" y="212408"/>
                  </a:lnTo>
                  <a:lnTo>
                    <a:pt x="2481374" y="209550"/>
                  </a:lnTo>
                  <a:lnTo>
                    <a:pt x="2494420" y="203200"/>
                  </a:lnTo>
                  <a:lnTo>
                    <a:pt x="2507149" y="197803"/>
                  </a:lnTo>
                  <a:lnTo>
                    <a:pt x="2519559" y="193358"/>
                  </a:lnTo>
                  <a:lnTo>
                    <a:pt x="2531652" y="189548"/>
                  </a:lnTo>
                  <a:lnTo>
                    <a:pt x="2543426" y="186690"/>
                  </a:lnTo>
                  <a:lnTo>
                    <a:pt x="2554881" y="184785"/>
                  </a:lnTo>
                  <a:lnTo>
                    <a:pt x="2565701" y="183198"/>
                  </a:lnTo>
                  <a:lnTo>
                    <a:pt x="2576838" y="182563"/>
                  </a:lnTo>
                  <a:close/>
                  <a:moveTo>
                    <a:pt x="276055" y="174625"/>
                  </a:moveTo>
                  <a:lnTo>
                    <a:pt x="283639" y="174625"/>
                  </a:lnTo>
                  <a:lnTo>
                    <a:pt x="290592" y="174942"/>
                  </a:lnTo>
                  <a:lnTo>
                    <a:pt x="297860" y="175258"/>
                  </a:lnTo>
                  <a:lnTo>
                    <a:pt x="304180" y="176208"/>
                  </a:lnTo>
                  <a:lnTo>
                    <a:pt x="310500" y="177475"/>
                  </a:lnTo>
                  <a:lnTo>
                    <a:pt x="316504" y="179059"/>
                  </a:lnTo>
                  <a:lnTo>
                    <a:pt x="322508" y="180959"/>
                  </a:lnTo>
                  <a:lnTo>
                    <a:pt x="327881" y="182859"/>
                  </a:lnTo>
                  <a:lnTo>
                    <a:pt x="332937" y="185076"/>
                  </a:lnTo>
                  <a:lnTo>
                    <a:pt x="337677" y="187293"/>
                  </a:lnTo>
                  <a:lnTo>
                    <a:pt x="346525" y="191727"/>
                  </a:lnTo>
                  <a:lnTo>
                    <a:pt x="354425" y="196161"/>
                  </a:lnTo>
                  <a:lnTo>
                    <a:pt x="360429" y="200595"/>
                  </a:lnTo>
                  <a:lnTo>
                    <a:pt x="365486" y="204713"/>
                  </a:lnTo>
                  <a:lnTo>
                    <a:pt x="368962" y="207880"/>
                  </a:lnTo>
                  <a:lnTo>
                    <a:pt x="371806" y="210730"/>
                  </a:lnTo>
                  <a:lnTo>
                    <a:pt x="370858" y="212631"/>
                  </a:lnTo>
                  <a:lnTo>
                    <a:pt x="367698" y="218331"/>
                  </a:lnTo>
                  <a:lnTo>
                    <a:pt x="365486" y="221815"/>
                  </a:lnTo>
                  <a:lnTo>
                    <a:pt x="362641" y="225616"/>
                  </a:lnTo>
                  <a:lnTo>
                    <a:pt x="359165" y="229100"/>
                  </a:lnTo>
                  <a:lnTo>
                    <a:pt x="355057" y="232900"/>
                  </a:lnTo>
                  <a:lnTo>
                    <a:pt x="350633" y="236384"/>
                  </a:lnTo>
                  <a:lnTo>
                    <a:pt x="345261" y="239234"/>
                  </a:lnTo>
                  <a:lnTo>
                    <a:pt x="342733" y="240501"/>
                  </a:lnTo>
                  <a:lnTo>
                    <a:pt x="339573" y="241135"/>
                  </a:lnTo>
                  <a:lnTo>
                    <a:pt x="336413" y="242085"/>
                  </a:lnTo>
                  <a:lnTo>
                    <a:pt x="332937" y="242718"/>
                  </a:lnTo>
                  <a:lnTo>
                    <a:pt x="329461" y="243035"/>
                  </a:lnTo>
                  <a:lnTo>
                    <a:pt x="325985" y="243035"/>
                  </a:lnTo>
                  <a:lnTo>
                    <a:pt x="322192" y="242718"/>
                  </a:lnTo>
                  <a:lnTo>
                    <a:pt x="318084" y="242085"/>
                  </a:lnTo>
                  <a:lnTo>
                    <a:pt x="313976" y="240818"/>
                  </a:lnTo>
                  <a:lnTo>
                    <a:pt x="309868" y="239234"/>
                  </a:lnTo>
                  <a:lnTo>
                    <a:pt x="304812" y="237334"/>
                  </a:lnTo>
                  <a:lnTo>
                    <a:pt x="302252" y="236418"/>
                  </a:lnTo>
                  <a:lnTo>
                    <a:pt x="289644" y="230366"/>
                  </a:lnTo>
                  <a:lnTo>
                    <a:pt x="294700" y="232900"/>
                  </a:lnTo>
                  <a:lnTo>
                    <a:pt x="300388" y="235751"/>
                  </a:lnTo>
                  <a:lnTo>
                    <a:pt x="302252" y="236418"/>
                  </a:lnTo>
                  <a:lnTo>
                    <a:pt x="312080" y="241135"/>
                  </a:lnTo>
                  <a:lnTo>
                    <a:pt x="322508" y="246202"/>
                  </a:lnTo>
                  <a:lnTo>
                    <a:pt x="332305" y="250003"/>
                  </a:lnTo>
                  <a:lnTo>
                    <a:pt x="337045" y="251270"/>
                  </a:lnTo>
                  <a:lnTo>
                    <a:pt x="341469" y="252536"/>
                  </a:lnTo>
                  <a:lnTo>
                    <a:pt x="345577" y="253170"/>
                  </a:lnTo>
                  <a:lnTo>
                    <a:pt x="349685" y="253487"/>
                  </a:lnTo>
                  <a:lnTo>
                    <a:pt x="353477" y="253170"/>
                  </a:lnTo>
                  <a:lnTo>
                    <a:pt x="357269" y="252536"/>
                  </a:lnTo>
                  <a:lnTo>
                    <a:pt x="360745" y="251270"/>
                  </a:lnTo>
                  <a:lnTo>
                    <a:pt x="363589" y="249053"/>
                  </a:lnTo>
                  <a:lnTo>
                    <a:pt x="364538" y="256970"/>
                  </a:lnTo>
                  <a:lnTo>
                    <a:pt x="364854" y="263621"/>
                  </a:lnTo>
                  <a:lnTo>
                    <a:pt x="364538" y="270589"/>
                  </a:lnTo>
                  <a:lnTo>
                    <a:pt x="363905" y="277240"/>
                  </a:lnTo>
                  <a:lnTo>
                    <a:pt x="365486" y="275657"/>
                  </a:lnTo>
                  <a:lnTo>
                    <a:pt x="366750" y="275340"/>
                  </a:lnTo>
                  <a:lnTo>
                    <a:pt x="367382" y="275657"/>
                  </a:lnTo>
                  <a:lnTo>
                    <a:pt x="368014" y="275973"/>
                  </a:lnTo>
                  <a:lnTo>
                    <a:pt x="369594" y="277874"/>
                  </a:lnTo>
                  <a:lnTo>
                    <a:pt x="371174" y="281041"/>
                  </a:lnTo>
                  <a:lnTo>
                    <a:pt x="372122" y="285158"/>
                  </a:lnTo>
                  <a:lnTo>
                    <a:pt x="373386" y="289909"/>
                  </a:lnTo>
                  <a:lnTo>
                    <a:pt x="373702" y="295293"/>
                  </a:lnTo>
                  <a:lnTo>
                    <a:pt x="374650" y="301627"/>
                  </a:lnTo>
                  <a:lnTo>
                    <a:pt x="374650" y="307961"/>
                  </a:lnTo>
                  <a:lnTo>
                    <a:pt x="374650" y="314612"/>
                  </a:lnTo>
                  <a:lnTo>
                    <a:pt x="373702" y="320630"/>
                  </a:lnTo>
                  <a:lnTo>
                    <a:pt x="373386" y="326331"/>
                  </a:lnTo>
                  <a:lnTo>
                    <a:pt x="372122" y="331398"/>
                  </a:lnTo>
                  <a:lnTo>
                    <a:pt x="371174" y="335515"/>
                  </a:lnTo>
                  <a:lnTo>
                    <a:pt x="369594" y="338366"/>
                  </a:lnTo>
                  <a:lnTo>
                    <a:pt x="368014" y="340266"/>
                  </a:lnTo>
                  <a:lnTo>
                    <a:pt x="367382" y="340583"/>
                  </a:lnTo>
                  <a:lnTo>
                    <a:pt x="366750" y="340583"/>
                  </a:lnTo>
                  <a:lnTo>
                    <a:pt x="365802" y="340583"/>
                  </a:lnTo>
                  <a:lnTo>
                    <a:pt x="364854" y="340266"/>
                  </a:lnTo>
                  <a:lnTo>
                    <a:pt x="363273" y="338049"/>
                  </a:lnTo>
                  <a:lnTo>
                    <a:pt x="362009" y="334565"/>
                  </a:lnTo>
                  <a:lnTo>
                    <a:pt x="360745" y="330448"/>
                  </a:lnTo>
                  <a:lnTo>
                    <a:pt x="359797" y="336149"/>
                  </a:lnTo>
                  <a:lnTo>
                    <a:pt x="359165" y="341850"/>
                  </a:lnTo>
                  <a:lnTo>
                    <a:pt x="357901" y="346917"/>
                  </a:lnTo>
                  <a:lnTo>
                    <a:pt x="356637" y="352301"/>
                  </a:lnTo>
                  <a:lnTo>
                    <a:pt x="353161" y="362436"/>
                  </a:lnTo>
                  <a:lnTo>
                    <a:pt x="349053" y="372254"/>
                  </a:lnTo>
                  <a:lnTo>
                    <a:pt x="344629" y="380806"/>
                  </a:lnTo>
                  <a:lnTo>
                    <a:pt x="339257" y="389040"/>
                  </a:lnTo>
                  <a:lnTo>
                    <a:pt x="333569" y="396641"/>
                  </a:lnTo>
                  <a:lnTo>
                    <a:pt x="327881" y="403609"/>
                  </a:lnTo>
                  <a:lnTo>
                    <a:pt x="321876" y="409626"/>
                  </a:lnTo>
                  <a:lnTo>
                    <a:pt x="314924" y="415011"/>
                  </a:lnTo>
                  <a:lnTo>
                    <a:pt x="308288" y="419761"/>
                  </a:lnTo>
                  <a:lnTo>
                    <a:pt x="301652" y="423562"/>
                  </a:lnTo>
                  <a:lnTo>
                    <a:pt x="294700" y="426412"/>
                  </a:lnTo>
                  <a:lnTo>
                    <a:pt x="288064" y="428629"/>
                  </a:lnTo>
                  <a:lnTo>
                    <a:pt x="281427" y="429896"/>
                  </a:lnTo>
                  <a:lnTo>
                    <a:pt x="275107" y="430213"/>
                  </a:lnTo>
                  <a:lnTo>
                    <a:pt x="272579" y="430213"/>
                  </a:lnTo>
                  <a:lnTo>
                    <a:pt x="269735" y="429896"/>
                  </a:lnTo>
                  <a:lnTo>
                    <a:pt x="264047" y="428313"/>
                  </a:lnTo>
                  <a:lnTo>
                    <a:pt x="258043" y="426096"/>
                  </a:lnTo>
                  <a:lnTo>
                    <a:pt x="252039" y="423245"/>
                  </a:lnTo>
                  <a:lnTo>
                    <a:pt x="245719" y="419128"/>
                  </a:lnTo>
                  <a:lnTo>
                    <a:pt x="239082" y="414377"/>
                  </a:lnTo>
                  <a:lnTo>
                    <a:pt x="232762" y="408993"/>
                  </a:lnTo>
                  <a:lnTo>
                    <a:pt x="225810" y="402975"/>
                  </a:lnTo>
                  <a:lnTo>
                    <a:pt x="219806" y="396008"/>
                  </a:lnTo>
                  <a:lnTo>
                    <a:pt x="213486" y="389040"/>
                  </a:lnTo>
                  <a:lnTo>
                    <a:pt x="208114" y="380806"/>
                  </a:lnTo>
                  <a:lnTo>
                    <a:pt x="202741" y="372571"/>
                  </a:lnTo>
                  <a:lnTo>
                    <a:pt x="197369" y="363386"/>
                  </a:lnTo>
                  <a:lnTo>
                    <a:pt x="193261" y="354202"/>
                  </a:lnTo>
                  <a:lnTo>
                    <a:pt x="189785" y="344383"/>
                  </a:lnTo>
                  <a:lnTo>
                    <a:pt x="186309" y="334249"/>
                  </a:lnTo>
                  <a:lnTo>
                    <a:pt x="185045" y="337732"/>
                  </a:lnTo>
                  <a:lnTo>
                    <a:pt x="184097" y="340266"/>
                  </a:lnTo>
                  <a:lnTo>
                    <a:pt x="182517" y="341850"/>
                  </a:lnTo>
                  <a:lnTo>
                    <a:pt x="181885" y="342166"/>
                  </a:lnTo>
                  <a:lnTo>
                    <a:pt x="180937" y="342483"/>
                  </a:lnTo>
                  <a:lnTo>
                    <a:pt x="180305" y="342166"/>
                  </a:lnTo>
                  <a:lnTo>
                    <a:pt x="179673" y="341850"/>
                  </a:lnTo>
                  <a:lnTo>
                    <a:pt x="178093" y="339949"/>
                  </a:lnTo>
                  <a:lnTo>
                    <a:pt x="176829" y="336782"/>
                  </a:lnTo>
                  <a:lnTo>
                    <a:pt x="175565" y="332665"/>
                  </a:lnTo>
                  <a:lnTo>
                    <a:pt x="174617" y="327914"/>
                  </a:lnTo>
                  <a:lnTo>
                    <a:pt x="173985" y="322213"/>
                  </a:lnTo>
                  <a:lnTo>
                    <a:pt x="173669" y="316196"/>
                  </a:lnTo>
                  <a:lnTo>
                    <a:pt x="173037" y="309545"/>
                  </a:lnTo>
                  <a:lnTo>
                    <a:pt x="173669" y="303211"/>
                  </a:lnTo>
                  <a:lnTo>
                    <a:pt x="173985" y="296876"/>
                  </a:lnTo>
                  <a:lnTo>
                    <a:pt x="174617" y="291492"/>
                  </a:lnTo>
                  <a:lnTo>
                    <a:pt x="175565" y="286742"/>
                  </a:lnTo>
                  <a:lnTo>
                    <a:pt x="176829" y="282624"/>
                  </a:lnTo>
                  <a:lnTo>
                    <a:pt x="178093" y="279457"/>
                  </a:lnTo>
                  <a:lnTo>
                    <a:pt x="179673" y="277557"/>
                  </a:lnTo>
                  <a:lnTo>
                    <a:pt x="180305" y="277240"/>
                  </a:lnTo>
                  <a:lnTo>
                    <a:pt x="180937" y="276923"/>
                  </a:lnTo>
                  <a:lnTo>
                    <a:pt x="182201" y="277240"/>
                  </a:lnTo>
                  <a:lnTo>
                    <a:pt x="182517" y="268689"/>
                  </a:lnTo>
                  <a:lnTo>
                    <a:pt x="182833" y="264888"/>
                  </a:lnTo>
                  <a:lnTo>
                    <a:pt x="183781" y="261088"/>
                  </a:lnTo>
                  <a:lnTo>
                    <a:pt x="183149" y="252536"/>
                  </a:lnTo>
                  <a:lnTo>
                    <a:pt x="183149" y="244619"/>
                  </a:lnTo>
                  <a:lnTo>
                    <a:pt x="184097" y="237334"/>
                  </a:lnTo>
                  <a:lnTo>
                    <a:pt x="185993" y="231633"/>
                  </a:lnTo>
                  <a:lnTo>
                    <a:pt x="187889" y="226249"/>
                  </a:lnTo>
                  <a:lnTo>
                    <a:pt x="189153" y="223716"/>
                  </a:lnTo>
                  <a:lnTo>
                    <a:pt x="190733" y="221815"/>
                  </a:lnTo>
                  <a:lnTo>
                    <a:pt x="192313" y="219915"/>
                  </a:lnTo>
                  <a:lnTo>
                    <a:pt x="194209" y="218015"/>
                  </a:lnTo>
                  <a:lnTo>
                    <a:pt x="198001" y="214848"/>
                  </a:lnTo>
                  <a:lnTo>
                    <a:pt x="188837" y="214848"/>
                  </a:lnTo>
                  <a:lnTo>
                    <a:pt x="182201" y="215481"/>
                  </a:lnTo>
                  <a:lnTo>
                    <a:pt x="176197" y="215798"/>
                  </a:lnTo>
                  <a:lnTo>
                    <a:pt x="180305" y="213581"/>
                  </a:lnTo>
                  <a:lnTo>
                    <a:pt x="184413" y="210730"/>
                  </a:lnTo>
                  <a:lnTo>
                    <a:pt x="192945" y="204396"/>
                  </a:lnTo>
                  <a:lnTo>
                    <a:pt x="200845" y="198378"/>
                  </a:lnTo>
                  <a:lnTo>
                    <a:pt x="204638" y="195845"/>
                  </a:lnTo>
                  <a:lnTo>
                    <a:pt x="208430" y="193944"/>
                  </a:lnTo>
                  <a:lnTo>
                    <a:pt x="217594" y="189510"/>
                  </a:lnTo>
                  <a:lnTo>
                    <a:pt x="226758" y="185393"/>
                  </a:lnTo>
                  <a:lnTo>
                    <a:pt x="235606" y="182226"/>
                  </a:lnTo>
                  <a:lnTo>
                    <a:pt x="244139" y="179692"/>
                  </a:lnTo>
                  <a:lnTo>
                    <a:pt x="252355" y="177475"/>
                  </a:lnTo>
                  <a:lnTo>
                    <a:pt x="260887" y="175892"/>
                  </a:lnTo>
                  <a:lnTo>
                    <a:pt x="268471" y="175258"/>
                  </a:lnTo>
                  <a:lnTo>
                    <a:pt x="276055" y="174625"/>
                  </a:lnTo>
                  <a:close/>
                  <a:moveTo>
                    <a:pt x="1800062" y="0"/>
                  </a:moveTo>
                  <a:lnTo>
                    <a:pt x="1805766" y="0"/>
                  </a:lnTo>
                  <a:lnTo>
                    <a:pt x="1811153" y="634"/>
                  </a:lnTo>
                  <a:lnTo>
                    <a:pt x="1816857" y="951"/>
                  </a:lnTo>
                  <a:lnTo>
                    <a:pt x="1822244" y="1585"/>
                  </a:lnTo>
                  <a:lnTo>
                    <a:pt x="1826997" y="2853"/>
                  </a:lnTo>
                  <a:lnTo>
                    <a:pt x="1831750" y="3804"/>
                  </a:lnTo>
                  <a:lnTo>
                    <a:pt x="1840939" y="6974"/>
                  </a:lnTo>
                  <a:lnTo>
                    <a:pt x="1848861" y="10144"/>
                  </a:lnTo>
                  <a:lnTo>
                    <a:pt x="1855832" y="13948"/>
                  </a:lnTo>
                  <a:lnTo>
                    <a:pt x="1861853" y="17435"/>
                  </a:lnTo>
                  <a:lnTo>
                    <a:pt x="1866923" y="21239"/>
                  </a:lnTo>
                  <a:lnTo>
                    <a:pt x="1870408" y="24092"/>
                  </a:lnTo>
                  <a:lnTo>
                    <a:pt x="1873577" y="26628"/>
                  </a:lnTo>
                  <a:lnTo>
                    <a:pt x="1875795" y="29164"/>
                  </a:lnTo>
                  <a:lnTo>
                    <a:pt x="1875161" y="30432"/>
                  </a:lnTo>
                  <a:lnTo>
                    <a:pt x="1872626" y="35187"/>
                  </a:lnTo>
                  <a:lnTo>
                    <a:pt x="1871042" y="37723"/>
                  </a:lnTo>
                  <a:lnTo>
                    <a:pt x="1868507" y="40576"/>
                  </a:lnTo>
                  <a:lnTo>
                    <a:pt x="1865655" y="43747"/>
                  </a:lnTo>
                  <a:lnTo>
                    <a:pt x="1862803" y="46600"/>
                  </a:lnTo>
                  <a:lnTo>
                    <a:pt x="1859001" y="49453"/>
                  </a:lnTo>
                  <a:lnTo>
                    <a:pt x="1854881" y="51672"/>
                  </a:lnTo>
                  <a:lnTo>
                    <a:pt x="1850128" y="53574"/>
                  </a:lnTo>
                  <a:lnTo>
                    <a:pt x="1845058" y="54208"/>
                  </a:lnTo>
                  <a:lnTo>
                    <a:pt x="1842523" y="54525"/>
                  </a:lnTo>
                  <a:lnTo>
                    <a:pt x="1839355" y="54525"/>
                  </a:lnTo>
                  <a:lnTo>
                    <a:pt x="1836503" y="54208"/>
                  </a:lnTo>
                  <a:lnTo>
                    <a:pt x="1833017" y="53891"/>
                  </a:lnTo>
                  <a:lnTo>
                    <a:pt x="1829532" y="52940"/>
                  </a:lnTo>
                  <a:lnTo>
                    <a:pt x="1826363" y="51989"/>
                  </a:lnTo>
                  <a:lnTo>
                    <a:pt x="1822877" y="50404"/>
                  </a:lnTo>
                  <a:lnTo>
                    <a:pt x="1819075" y="48502"/>
                  </a:lnTo>
                  <a:lnTo>
                    <a:pt x="1814639" y="46600"/>
                  </a:lnTo>
                  <a:lnTo>
                    <a:pt x="1810202" y="44381"/>
                  </a:lnTo>
                  <a:lnTo>
                    <a:pt x="1828264" y="53574"/>
                  </a:lnTo>
                  <a:lnTo>
                    <a:pt x="1836503" y="57061"/>
                  </a:lnTo>
                  <a:lnTo>
                    <a:pt x="1844742" y="60231"/>
                  </a:lnTo>
                  <a:lnTo>
                    <a:pt x="1847910" y="61182"/>
                  </a:lnTo>
                  <a:lnTo>
                    <a:pt x="1851713" y="62133"/>
                  </a:lnTo>
                  <a:lnTo>
                    <a:pt x="1855198" y="62767"/>
                  </a:lnTo>
                  <a:lnTo>
                    <a:pt x="1858367" y="62767"/>
                  </a:lnTo>
                  <a:lnTo>
                    <a:pt x="1861536" y="62767"/>
                  </a:lnTo>
                  <a:lnTo>
                    <a:pt x="1864071" y="62133"/>
                  </a:lnTo>
                  <a:lnTo>
                    <a:pt x="1866923" y="60865"/>
                  </a:lnTo>
                  <a:lnTo>
                    <a:pt x="1869458" y="59597"/>
                  </a:lnTo>
                  <a:lnTo>
                    <a:pt x="1869775" y="65303"/>
                  </a:lnTo>
                  <a:lnTo>
                    <a:pt x="1870091" y="71009"/>
                  </a:lnTo>
                  <a:lnTo>
                    <a:pt x="1870091" y="76398"/>
                  </a:lnTo>
                  <a:lnTo>
                    <a:pt x="1869775" y="81470"/>
                  </a:lnTo>
                  <a:lnTo>
                    <a:pt x="1870408" y="80836"/>
                  </a:lnTo>
                  <a:lnTo>
                    <a:pt x="1871676" y="80519"/>
                  </a:lnTo>
                  <a:lnTo>
                    <a:pt x="1872310" y="80519"/>
                  </a:lnTo>
                  <a:lnTo>
                    <a:pt x="1872626" y="80836"/>
                  </a:lnTo>
                  <a:lnTo>
                    <a:pt x="1874211" y="82421"/>
                  </a:lnTo>
                  <a:lnTo>
                    <a:pt x="1875161" y="84640"/>
                  </a:lnTo>
                  <a:lnTo>
                    <a:pt x="1876112" y="88127"/>
                  </a:lnTo>
                  <a:lnTo>
                    <a:pt x="1877063" y="91614"/>
                  </a:lnTo>
                  <a:lnTo>
                    <a:pt x="1877696" y="96369"/>
                  </a:lnTo>
                  <a:lnTo>
                    <a:pt x="1878013" y="101124"/>
                  </a:lnTo>
                  <a:lnTo>
                    <a:pt x="1878013" y="106513"/>
                  </a:lnTo>
                  <a:lnTo>
                    <a:pt x="1878013" y="111586"/>
                  </a:lnTo>
                  <a:lnTo>
                    <a:pt x="1877696" y="116658"/>
                  </a:lnTo>
                  <a:lnTo>
                    <a:pt x="1877063" y="120779"/>
                  </a:lnTo>
                  <a:lnTo>
                    <a:pt x="1876112" y="124900"/>
                  </a:lnTo>
                  <a:lnTo>
                    <a:pt x="1875161" y="127753"/>
                  </a:lnTo>
                  <a:lnTo>
                    <a:pt x="1874211" y="129972"/>
                  </a:lnTo>
                  <a:lnTo>
                    <a:pt x="1872626" y="131874"/>
                  </a:lnTo>
                  <a:lnTo>
                    <a:pt x="1872310" y="132191"/>
                  </a:lnTo>
                  <a:lnTo>
                    <a:pt x="1871676" y="132191"/>
                  </a:lnTo>
                  <a:lnTo>
                    <a:pt x="1871042" y="132191"/>
                  </a:lnTo>
                  <a:lnTo>
                    <a:pt x="1870091" y="131557"/>
                  </a:lnTo>
                  <a:lnTo>
                    <a:pt x="1869141" y="129972"/>
                  </a:lnTo>
                  <a:lnTo>
                    <a:pt x="1867873" y="127436"/>
                  </a:lnTo>
                  <a:lnTo>
                    <a:pt x="1867240" y="123949"/>
                  </a:lnTo>
                  <a:lnTo>
                    <a:pt x="1865655" y="133142"/>
                  </a:lnTo>
                  <a:lnTo>
                    <a:pt x="1863754" y="141384"/>
                  </a:lnTo>
                  <a:lnTo>
                    <a:pt x="1861219" y="149626"/>
                  </a:lnTo>
                  <a:lnTo>
                    <a:pt x="1857733" y="156917"/>
                  </a:lnTo>
                  <a:lnTo>
                    <a:pt x="1853931" y="164208"/>
                  </a:lnTo>
                  <a:lnTo>
                    <a:pt x="1850128" y="170548"/>
                  </a:lnTo>
                  <a:lnTo>
                    <a:pt x="1845692" y="176571"/>
                  </a:lnTo>
                  <a:lnTo>
                    <a:pt x="1840939" y="181961"/>
                  </a:lnTo>
                  <a:lnTo>
                    <a:pt x="1835869" y="186716"/>
                  </a:lnTo>
                  <a:lnTo>
                    <a:pt x="1830799" y="191154"/>
                  </a:lnTo>
                  <a:lnTo>
                    <a:pt x="1825412" y="194958"/>
                  </a:lnTo>
                  <a:lnTo>
                    <a:pt x="1820025" y="198128"/>
                  </a:lnTo>
                  <a:lnTo>
                    <a:pt x="1814639" y="200347"/>
                  </a:lnTo>
                  <a:lnTo>
                    <a:pt x="1809252" y="202249"/>
                  </a:lnTo>
                  <a:lnTo>
                    <a:pt x="1804182" y="202883"/>
                  </a:lnTo>
                  <a:lnTo>
                    <a:pt x="1798795" y="203200"/>
                  </a:lnTo>
                  <a:lnTo>
                    <a:pt x="1794676" y="202883"/>
                  </a:lnTo>
                  <a:lnTo>
                    <a:pt x="1790239" y="201615"/>
                  </a:lnTo>
                  <a:lnTo>
                    <a:pt x="1785486" y="200347"/>
                  </a:lnTo>
                  <a:lnTo>
                    <a:pt x="1780416" y="197494"/>
                  </a:lnTo>
                  <a:lnTo>
                    <a:pt x="1775663" y="194641"/>
                  </a:lnTo>
                  <a:lnTo>
                    <a:pt x="1770276" y="190837"/>
                  </a:lnTo>
                  <a:lnTo>
                    <a:pt x="1765206" y="186399"/>
                  </a:lnTo>
                  <a:lnTo>
                    <a:pt x="1759819" y="181327"/>
                  </a:lnTo>
                  <a:lnTo>
                    <a:pt x="1755066" y="176254"/>
                  </a:lnTo>
                  <a:lnTo>
                    <a:pt x="1749996" y="170548"/>
                  </a:lnTo>
                  <a:lnTo>
                    <a:pt x="1745560" y="164208"/>
                  </a:lnTo>
                  <a:lnTo>
                    <a:pt x="1741124" y="157551"/>
                  </a:lnTo>
                  <a:lnTo>
                    <a:pt x="1737321" y="150260"/>
                  </a:lnTo>
                  <a:lnTo>
                    <a:pt x="1733836" y="142652"/>
                  </a:lnTo>
                  <a:lnTo>
                    <a:pt x="1730984" y="135044"/>
                  </a:lnTo>
                  <a:lnTo>
                    <a:pt x="1728449" y="127119"/>
                  </a:lnTo>
                  <a:lnTo>
                    <a:pt x="1727498" y="129655"/>
                  </a:lnTo>
                  <a:lnTo>
                    <a:pt x="1726548" y="131874"/>
                  </a:lnTo>
                  <a:lnTo>
                    <a:pt x="1725280" y="133142"/>
                  </a:lnTo>
                  <a:lnTo>
                    <a:pt x="1724330" y="133459"/>
                  </a:lnTo>
                  <a:lnTo>
                    <a:pt x="1723379" y="133459"/>
                  </a:lnTo>
                  <a:lnTo>
                    <a:pt x="1723062" y="133142"/>
                  </a:lnTo>
                  <a:lnTo>
                    <a:pt x="1721795" y="131557"/>
                  </a:lnTo>
                  <a:lnTo>
                    <a:pt x="1720844" y="129021"/>
                  </a:lnTo>
                  <a:lnTo>
                    <a:pt x="1719576" y="125851"/>
                  </a:lnTo>
                  <a:lnTo>
                    <a:pt x="1718943" y="122047"/>
                  </a:lnTo>
                  <a:lnTo>
                    <a:pt x="1718626" y="117609"/>
                  </a:lnTo>
                  <a:lnTo>
                    <a:pt x="1718309" y="112854"/>
                  </a:lnTo>
                  <a:lnTo>
                    <a:pt x="1717675" y="107464"/>
                  </a:lnTo>
                  <a:lnTo>
                    <a:pt x="1718309" y="102392"/>
                  </a:lnTo>
                  <a:lnTo>
                    <a:pt x="1718626" y="97320"/>
                  </a:lnTo>
                  <a:lnTo>
                    <a:pt x="1718943" y="92882"/>
                  </a:lnTo>
                  <a:lnTo>
                    <a:pt x="1719576" y="89078"/>
                  </a:lnTo>
                  <a:lnTo>
                    <a:pt x="1720844" y="86225"/>
                  </a:lnTo>
                  <a:lnTo>
                    <a:pt x="1721795" y="83372"/>
                  </a:lnTo>
                  <a:lnTo>
                    <a:pt x="1723062" y="82104"/>
                  </a:lnTo>
                  <a:lnTo>
                    <a:pt x="1723379" y="81470"/>
                  </a:lnTo>
                  <a:lnTo>
                    <a:pt x="1724330" y="81470"/>
                  </a:lnTo>
                  <a:lnTo>
                    <a:pt x="1724963" y="82104"/>
                  </a:lnTo>
                  <a:lnTo>
                    <a:pt x="1725280" y="75130"/>
                  </a:lnTo>
                  <a:lnTo>
                    <a:pt x="1726548" y="69107"/>
                  </a:lnTo>
                  <a:lnTo>
                    <a:pt x="1725597" y="62133"/>
                  </a:lnTo>
                  <a:lnTo>
                    <a:pt x="1725914" y="55793"/>
                  </a:lnTo>
                  <a:lnTo>
                    <a:pt x="1726865" y="50087"/>
                  </a:lnTo>
                  <a:lnTo>
                    <a:pt x="1727815" y="45649"/>
                  </a:lnTo>
                  <a:lnTo>
                    <a:pt x="1729400" y="40893"/>
                  </a:lnTo>
                  <a:lnTo>
                    <a:pt x="1731618" y="37723"/>
                  </a:lnTo>
                  <a:lnTo>
                    <a:pt x="1734153" y="34553"/>
                  </a:lnTo>
                  <a:lnTo>
                    <a:pt x="1737638" y="32334"/>
                  </a:lnTo>
                  <a:lnTo>
                    <a:pt x="1724963" y="32651"/>
                  </a:lnTo>
                  <a:lnTo>
                    <a:pt x="1720527" y="32651"/>
                  </a:lnTo>
                  <a:lnTo>
                    <a:pt x="1723379" y="31383"/>
                  </a:lnTo>
                  <a:lnTo>
                    <a:pt x="1726865" y="29164"/>
                  </a:lnTo>
                  <a:lnTo>
                    <a:pt x="1733519" y="24092"/>
                  </a:lnTo>
                  <a:lnTo>
                    <a:pt x="1739856" y="19337"/>
                  </a:lnTo>
                  <a:lnTo>
                    <a:pt x="1743025" y="17435"/>
                  </a:lnTo>
                  <a:lnTo>
                    <a:pt x="1745560" y="15533"/>
                  </a:lnTo>
                  <a:lnTo>
                    <a:pt x="1753165" y="12046"/>
                  </a:lnTo>
                  <a:lnTo>
                    <a:pt x="1760453" y="9193"/>
                  </a:lnTo>
                  <a:lnTo>
                    <a:pt x="1767424" y="6657"/>
                  </a:lnTo>
                  <a:lnTo>
                    <a:pt x="1774396" y="4121"/>
                  </a:lnTo>
                  <a:lnTo>
                    <a:pt x="1780733" y="2853"/>
                  </a:lnTo>
                  <a:lnTo>
                    <a:pt x="1787704" y="1585"/>
                  </a:lnTo>
                  <a:lnTo>
                    <a:pt x="1793725" y="951"/>
                  </a:lnTo>
                  <a:lnTo>
                    <a:pt x="1800062" y="0"/>
                  </a:lnTo>
                  <a:close/>
                </a:path>
              </a:pathLst>
            </a:custGeom>
            <a:solidFill>
              <a:srgbClr val="FFFFFF">
                <a:lumMod val="50000"/>
              </a:srgbClr>
            </a:solidFill>
            <a:ln>
              <a:solidFill>
                <a:srgbClr val="FFFFFF">
                  <a:lumMod val="50000"/>
                </a:srgbClr>
              </a:solidFill>
            </a:ln>
          </p:spPr>
          <p:txBody>
            <a:bodyPr anchor="ctr">
              <a:scene3d>
                <a:camera prst="orthographicFront"/>
                <a:lightRig rig="threePt" dir="t"/>
              </a:scene3d>
              <a:sp3d>
                <a:contourClr>
                  <a:srgbClr val="FFFFFF"/>
                </a:contourClr>
              </a:sp3d>
            </a:bodyPr>
            <a:lstStyle/>
            <a:p>
              <a:pPr algn="ctr" defTabSz="911225">
                <a:defRPr/>
              </a:pPr>
              <a:endParaRPr lang="zh-CN" altLang="en-US" sz="1600" kern="0">
                <a:solidFill>
                  <a:prstClr val="white">
                    <a:lumMod val="65000"/>
                  </a:prstClr>
                </a:solidFill>
              </a:endParaRPr>
            </a:p>
          </p:txBody>
        </p:sp>
        <p:pic>
          <p:nvPicPr>
            <p:cNvPr id="283" name="图片 125"/>
            <p:cNvPicPr>
              <a:picLocks noChangeAspect="1"/>
            </p:cNvPicPr>
            <p:nvPr/>
          </p:nvPicPr>
          <p:blipFill>
            <a:blip r:embed="rId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1301" y="1160019"/>
              <a:ext cx="173312" cy="1861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85" name="右箭头 284"/>
          <p:cNvSpPr/>
          <p:nvPr/>
        </p:nvSpPr>
        <p:spPr>
          <a:xfrm>
            <a:off x="7308851" y="1512889"/>
            <a:ext cx="111125" cy="211137"/>
          </a:xfrm>
          <a:prstGeom prst="rightArrow">
            <a:avLst/>
          </a:prstGeom>
          <a:solidFill>
            <a:srgbClr val="4F81BD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91410" tIns="45705" rIns="91410" bIns="45705" anchor="ctr"/>
          <a:lstStyle/>
          <a:p>
            <a:pPr algn="ctr" defTabSz="911225">
              <a:defRPr/>
            </a:pPr>
            <a:endParaRPr lang="zh-CN" altLang="en-US" sz="3200" kern="0">
              <a:solidFill>
                <a:prstClr val="white"/>
              </a:solidFill>
            </a:endParaRPr>
          </a:p>
        </p:txBody>
      </p:sp>
      <p:sp>
        <p:nvSpPr>
          <p:cNvPr id="286" name="右箭头 285"/>
          <p:cNvSpPr/>
          <p:nvPr/>
        </p:nvSpPr>
        <p:spPr>
          <a:xfrm>
            <a:off x="7308851" y="2598738"/>
            <a:ext cx="111125" cy="209550"/>
          </a:xfrm>
          <a:prstGeom prst="rightArrow">
            <a:avLst/>
          </a:prstGeom>
          <a:solidFill>
            <a:srgbClr val="4F81BD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91410" tIns="45705" rIns="91410" bIns="45705" anchor="ctr"/>
          <a:lstStyle/>
          <a:p>
            <a:pPr algn="ctr" defTabSz="911225">
              <a:defRPr/>
            </a:pPr>
            <a:endParaRPr lang="zh-CN" altLang="en-US" sz="3200" kern="0">
              <a:solidFill>
                <a:prstClr val="white"/>
              </a:solidFill>
            </a:endParaRPr>
          </a:p>
        </p:txBody>
      </p:sp>
      <p:sp>
        <p:nvSpPr>
          <p:cNvPr id="289" name="Oval 13"/>
          <p:cNvSpPr>
            <a:spLocks noChangeArrowheads="1"/>
          </p:cNvSpPr>
          <p:nvPr/>
        </p:nvSpPr>
        <p:spPr bwMode="auto">
          <a:xfrm>
            <a:off x="3665538" y="1358900"/>
            <a:ext cx="107950" cy="112713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90" name="Oval 13"/>
          <p:cNvSpPr>
            <a:spLocks noChangeArrowheads="1"/>
          </p:cNvSpPr>
          <p:nvPr/>
        </p:nvSpPr>
        <p:spPr bwMode="auto">
          <a:xfrm>
            <a:off x="3643314" y="1531939"/>
            <a:ext cx="50800" cy="52387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91" name="Oval 13"/>
          <p:cNvSpPr>
            <a:spLocks noChangeArrowheads="1"/>
          </p:cNvSpPr>
          <p:nvPr/>
        </p:nvSpPr>
        <p:spPr bwMode="auto">
          <a:xfrm>
            <a:off x="3825876" y="1312863"/>
            <a:ext cx="73025" cy="76200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92" name="Oval 13"/>
          <p:cNvSpPr>
            <a:spLocks noChangeArrowheads="1"/>
          </p:cNvSpPr>
          <p:nvPr/>
        </p:nvSpPr>
        <p:spPr bwMode="auto">
          <a:xfrm>
            <a:off x="3995739" y="1265238"/>
            <a:ext cx="104775" cy="107950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93" name="Oval 13"/>
          <p:cNvSpPr>
            <a:spLocks noChangeArrowheads="1"/>
          </p:cNvSpPr>
          <p:nvPr/>
        </p:nvSpPr>
        <p:spPr bwMode="auto">
          <a:xfrm>
            <a:off x="4194175" y="1373188"/>
            <a:ext cx="49213" cy="50800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94" name="Oval 13"/>
          <p:cNvSpPr>
            <a:spLocks noChangeArrowheads="1"/>
          </p:cNvSpPr>
          <p:nvPr/>
        </p:nvSpPr>
        <p:spPr bwMode="auto">
          <a:xfrm>
            <a:off x="3719514" y="1592264"/>
            <a:ext cx="50800" cy="52387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95" name="Oval 13"/>
          <p:cNvSpPr>
            <a:spLocks noChangeArrowheads="1"/>
          </p:cNvSpPr>
          <p:nvPr/>
        </p:nvSpPr>
        <p:spPr bwMode="auto">
          <a:xfrm>
            <a:off x="4238626" y="1639889"/>
            <a:ext cx="50800" cy="52387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96" name="Oval 13"/>
          <p:cNvSpPr>
            <a:spLocks noChangeArrowheads="1"/>
          </p:cNvSpPr>
          <p:nvPr/>
        </p:nvSpPr>
        <p:spPr bwMode="auto">
          <a:xfrm>
            <a:off x="4289425" y="1519239"/>
            <a:ext cx="50800" cy="52387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97" name="Oval 13"/>
          <p:cNvSpPr>
            <a:spLocks noChangeArrowheads="1"/>
          </p:cNvSpPr>
          <p:nvPr/>
        </p:nvSpPr>
        <p:spPr bwMode="auto">
          <a:xfrm>
            <a:off x="4535489" y="1458914"/>
            <a:ext cx="50800" cy="52387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98" name="Oval 13"/>
          <p:cNvSpPr>
            <a:spLocks noChangeArrowheads="1"/>
          </p:cNvSpPr>
          <p:nvPr/>
        </p:nvSpPr>
        <p:spPr bwMode="auto">
          <a:xfrm>
            <a:off x="4551363" y="1609726"/>
            <a:ext cx="50800" cy="52388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299" name="Oval 13"/>
          <p:cNvSpPr>
            <a:spLocks noChangeArrowheads="1"/>
          </p:cNvSpPr>
          <p:nvPr/>
        </p:nvSpPr>
        <p:spPr bwMode="auto">
          <a:xfrm>
            <a:off x="4718050" y="1390651"/>
            <a:ext cx="50800" cy="52388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300" name="Oval 13"/>
          <p:cNvSpPr>
            <a:spLocks noChangeArrowheads="1"/>
          </p:cNvSpPr>
          <p:nvPr/>
        </p:nvSpPr>
        <p:spPr bwMode="auto">
          <a:xfrm>
            <a:off x="4965700" y="1530350"/>
            <a:ext cx="50800" cy="52388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301" name="Oval 13"/>
          <p:cNvSpPr>
            <a:spLocks noChangeArrowheads="1"/>
          </p:cNvSpPr>
          <p:nvPr/>
        </p:nvSpPr>
        <p:spPr bwMode="auto">
          <a:xfrm>
            <a:off x="4995863" y="1646239"/>
            <a:ext cx="50800" cy="52387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302" name="Oval 13"/>
          <p:cNvSpPr>
            <a:spLocks noChangeArrowheads="1"/>
          </p:cNvSpPr>
          <p:nvPr/>
        </p:nvSpPr>
        <p:spPr bwMode="auto">
          <a:xfrm>
            <a:off x="5067300" y="1830389"/>
            <a:ext cx="50800" cy="52387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303" name="Oval 13"/>
          <p:cNvSpPr>
            <a:spLocks noChangeArrowheads="1"/>
          </p:cNvSpPr>
          <p:nvPr/>
        </p:nvSpPr>
        <p:spPr bwMode="auto">
          <a:xfrm>
            <a:off x="3268664" y="1493839"/>
            <a:ext cx="50800" cy="52387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304" name="Oval 13"/>
          <p:cNvSpPr>
            <a:spLocks noChangeArrowheads="1"/>
          </p:cNvSpPr>
          <p:nvPr/>
        </p:nvSpPr>
        <p:spPr bwMode="auto">
          <a:xfrm>
            <a:off x="2863850" y="1543051"/>
            <a:ext cx="50800" cy="52388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305" name="Oval 13"/>
          <p:cNvSpPr>
            <a:spLocks noChangeArrowheads="1"/>
          </p:cNvSpPr>
          <p:nvPr/>
        </p:nvSpPr>
        <p:spPr bwMode="auto">
          <a:xfrm>
            <a:off x="3221039" y="1808164"/>
            <a:ext cx="52387" cy="52387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306" name="Oval 13"/>
          <p:cNvSpPr>
            <a:spLocks noChangeArrowheads="1"/>
          </p:cNvSpPr>
          <p:nvPr/>
        </p:nvSpPr>
        <p:spPr bwMode="auto">
          <a:xfrm>
            <a:off x="4189414" y="1985964"/>
            <a:ext cx="50800" cy="52387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307" name="Oval 13"/>
          <p:cNvSpPr>
            <a:spLocks noChangeArrowheads="1"/>
          </p:cNvSpPr>
          <p:nvPr/>
        </p:nvSpPr>
        <p:spPr bwMode="auto">
          <a:xfrm>
            <a:off x="5084763" y="1995489"/>
            <a:ext cx="50800" cy="52387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308" name="Oval 13"/>
          <p:cNvSpPr>
            <a:spLocks noChangeArrowheads="1"/>
          </p:cNvSpPr>
          <p:nvPr/>
        </p:nvSpPr>
        <p:spPr bwMode="auto">
          <a:xfrm>
            <a:off x="5516564" y="1946275"/>
            <a:ext cx="50800" cy="52388"/>
          </a:xfrm>
          <a:prstGeom prst="ellipse">
            <a:avLst/>
          </a:prstGeom>
          <a:noFill/>
          <a:ln w="3175" cap="flat">
            <a:solidFill>
              <a:srgbClr val="21548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10" tIns="45705" rIns="91410" bIns="45705"/>
          <a:lstStyle/>
          <a:p>
            <a:pPr defTabSz="911225">
              <a:defRPr/>
            </a:pPr>
            <a:endParaRPr lang="zh-CN" altLang="en-US" kern="0">
              <a:solidFill>
                <a:prstClr val="black"/>
              </a:solidFill>
            </a:endParaRPr>
          </a:p>
        </p:txBody>
      </p:sp>
      <p:cxnSp>
        <p:nvCxnSpPr>
          <p:cNvPr id="309" name="直接箭头连接符 151"/>
          <p:cNvCxnSpPr>
            <a:cxnSpLocks noChangeShapeType="1"/>
          </p:cNvCxnSpPr>
          <p:nvPr/>
        </p:nvCxnSpPr>
        <p:spPr bwMode="auto">
          <a:xfrm flipH="1">
            <a:off x="3019425" y="2668588"/>
            <a:ext cx="212725" cy="0"/>
          </a:xfrm>
          <a:prstGeom prst="straightConnector1">
            <a:avLst/>
          </a:prstGeom>
          <a:noFill/>
          <a:ln w="9525" algn="ctr">
            <a:solidFill>
              <a:srgbClr val="00B0F0"/>
            </a:solidFill>
            <a:rou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0" name="直接箭头连接符 152"/>
          <p:cNvCxnSpPr>
            <a:cxnSpLocks noChangeShapeType="1"/>
          </p:cNvCxnSpPr>
          <p:nvPr/>
        </p:nvCxnSpPr>
        <p:spPr bwMode="auto">
          <a:xfrm flipV="1">
            <a:off x="4183063" y="2527301"/>
            <a:ext cx="0" cy="163513"/>
          </a:xfrm>
          <a:prstGeom prst="straightConnector1">
            <a:avLst/>
          </a:prstGeom>
          <a:noFill/>
          <a:ln w="9525" algn="ctr">
            <a:solidFill>
              <a:srgbClr val="00B0F0"/>
            </a:solidFill>
            <a:rou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1" name="直接箭头连接符 153"/>
          <p:cNvCxnSpPr>
            <a:cxnSpLocks noChangeShapeType="1"/>
          </p:cNvCxnSpPr>
          <p:nvPr/>
        </p:nvCxnSpPr>
        <p:spPr bwMode="auto">
          <a:xfrm>
            <a:off x="4946650" y="2668588"/>
            <a:ext cx="231775" cy="0"/>
          </a:xfrm>
          <a:prstGeom prst="straightConnector1">
            <a:avLst/>
          </a:prstGeom>
          <a:noFill/>
          <a:ln w="9525" algn="ctr">
            <a:solidFill>
              <a:srgbClr val="00B0F0"/>
            </a:solidFill>
            <a:rou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2" name="椭圆 311"/>
          <p:cNvSpPr/>
          <p:nvPr/>
        </p:nvSpPr>
        <p:spPr>
          <a:xfrm>
            <a:off x="2872740" y="1677829"/>
            <a:ext cx="2375059" cy="928211"/>
          </a:xfrm>
          <a:prstGeom prst="ellipse">
            <a:avLst/>
          </a:prstGeom>
          <a:solidFill>
            <a:srgbClr val="00B0F0">
              <a:alpha val="38000"/>
            </a:srgbClr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anchor="ctr"/>
          <a:lstStyle/>
          <a:p>
            <a:pPr algn="ctr" defTabSz="911225">
              <a:defRPr/>
            </a:pPr>
            <a:r>
              <a:rPr lang="zh-CN" altLang="en-US" sz="2400" b="1" kern="0">
                <a:solidFill>
                  <a:srgbClr val="2154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机器人云</a:t>
            </a:r>
            <a:endParaRPr lang="zh-CN" altLang="en-US" sz="2400" b="1" kern="0">
              <a:solidFill>
                <a:srgbClr val="2154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3" name="椭圆 312"/>
          <p:cNvSpPr/>
          <p:nvPr/>
        </p:nvSpPr>
        <p:spPr>
          <a:xfrm>
            <a:off x="3505201" y="2667001"/>
            <a:ext cx="295275" cy="219075"/>
          </a:xfrm>
          <a:prstGeom prst="ellipse">
            <a:avLst/>
          </a:prstGeom>
          <a:solidFill>
            <a:srgbClr val="CCECFF">
              <a:alpha val="38000"/>
            </a:srgbClr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anchor="ctr"/>
          <a:lstStyle/>
          <a:p>
            <a:pPr algn="ctr" defTabSz="911225">
              <a:defRPr/>
            </a:pPr>
            <a:r>
              <a:rPr lang="en-US" altLang="zh-CN" sz="900" kern="0">
                <a:solidFill>
                  <a:srgbClr val="2154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</a:t>
            </a:r>
            <a:endParaRPr lang="en-US" altLang="zh-CN" sz="900" kern="0">
              <a:solidFill>
                <a:srgbClr val="2154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4" name="椭圆 313"/>
          <p:cNvSpPr/>
          <p:nvPr/>
        </p:nvSpPr>
        <p:spPr>
          <a:xfrm>
            <a:off x="4486275" y="2690813"/>
            <a:ext cx="293688" cy="219075"/>
          </a:xfrm>
          <a:prstGeom prst="ellipse">
            <a:avLst/>
          </a:prstGeom>
          <a:solidFill>
            <a:srgbClr val="CCECFF">
              <a:alpha val="38000"/>
            </a:srgbClr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anchor="ctr"/>
          <a:lstStyle/>
          <a:p>
            <a:pPr algn="ctr" defTabSz="911225">
              <a:defRPr/>
            </a:pPr>
            <a:r>
              <a:rPr lang="en-US" altLang="zh-CN" sz="900" kern="0">
                <a:solidFill>
                  <a:srgbClr val="2154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</a:t>
            </a:r>
            <a:endParaRPr lang="en-US" altLang="zh-CN" sz="900" kern="0">
              <a:solidFill>
                <a:srgbClr val="2154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5" name="TextBox 189"/>
          <p:cNvSpPr txBox="1">
            <a:spLocks noChangeArrowheads="1"/>
          </p:cNvSpPr>
          <p:nvPr/>
        </p:nvSpPr>
        <p:spPr bwMode="auto">
          <a:xfrm>
            <a:off x="7491413" y="2166461"/>
            <a:ext cx="1640205" cy="13823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0" tIns="45705" rIns="91410" bIns="45705">
            <a:spAutoFit/>
          </a:bodyPr>
          <a:lstStyle>
            <a:lvl1pPr marL="34925" indent="-34925" defTabSz="911225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911225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911225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911225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911225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b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同品牌机器人兼容</a:t>
            </a:r>
            <a:endParaRPr lang="en-US" altLang="zh-CN" b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b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工艺应用精细</a:t>
            </a:r>
            <a:r>
              <a:rPr lang="en-US" altLang="zh-CN" b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endParaRPr lang="en-US" altLang="zh-CN" b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zh-CN" altLang="en-US" b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b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在线体验，</a:t>
            </a:r>
            <a:endParaRPr lang="zh-CN" altLang="en-US" b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b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在线付费，</a:t>
            </a:r>
            <a:endParaRPr lang="zh-CN" altLang="en-US" b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b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立刻物联，</a:t>
            </a:r>
            <a:endParaRPr lang="zh-CN" altLang="en-US" b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b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远程使用</a:t>
            </a:r>
            <a:endParaRPr lang="zh-CN" altLang="en-US" b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8" name="标题 1"/>
          <p:cNvSpPr txBox="1"/>
          <p:nvPr/>
        </p:nvSpPr>
        <p:spPr>
          <a:xfrm>
            <a:off x="106676" y="31625"/>
            <a:ext cx="6005993" cy="430887"/>
          </a:xfrm>
          <a:prstGeom prst="rect">
            <a:avLst/>
          </a:prstGeom>
        </p:spPr>
        <p:txBody>
          <a:bodyPr lIns="91404" tIns="45702" rIns="91404" bIns="45702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5pPr>
            <a:lvl6pPr marL="38862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6pPr>
            <a:lvl7pPr marL="776605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7pPr>
            <a:lvl8pPr marL="1165225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8pPr>
            <a:lvl9pPr marL="1553845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海尔  机器人云  服务体系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63253" y="4012883"/>
            <a:ext cx="2405063" cy="919639"/>
          </a:xfrm>
          <a:prstGeom prst="rect">
            <a:avLst/>
          </a:prstGeom>
        </p:spPr>
      </p:pic>
      <p:grpSp>
        <p:nvGrpSpPr>
          <p:cNvPr id="1042" name="Group 128"/>
          <p:cNvGrpSpPr/>
          <p:nvPr/>
        </p:nvGrpSpPr>
        <p:grpSpPr>
          <a:xfrm>
            <a:off x="2568703" y="3211180"/>
            <a:ext cx="312725" cy="465515"/>
            <a:chOff x="2457907" y="2642930"/>
            <a:chExt cx="416967" cy="620687"/>
          </a:xfrm>
        </p:grpSpPr>
        <p:sp>
          <p:nvSpPr>
            <p:cNvPr id="1043" name="Rounded Rectangle 129"/>
            <p:cNvSpPr/>
            <p:nvPr/>
          </p:nvSpPr>
          <p:spPr>
            <a:xfrm>
              <a:off x="2457907" y="2642930"/>
              <a:ext cx="416967" cy="617507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2870" rIns="102870" bIns="102870" numCol="1" spcCol="0" rtlCol="0" fromWordArt="0" anchor="ctr" anchorCtr="0" forceAA="0" compatLnSpc="1">
              <a:spAutoFit/>
            </a:bodyPr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b="0" dirty="0">
                <a:solidFill>
                  <a:srgbClr val="FFFFFF"/>
                </a:solidFill>
              </a:endParaRPr>
            </a:p>
          </p:txBody>
        </p:sp>
        <p:sp>
          <p:nvSpPr>
            <p:cNvPr id="1044" name="Oval 130"/>
            <p:cNvSpPr/>
            <p:nvPr/>
          </p:nvSpPr>
          <p:spPr>
            <a:xfrm>
              <a:off x="2521862" y="2647223"/>
              <a:ext cx="37651" cy="616394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2870" rIns="102870" bIns="102870" numCol="1" spcCol="0" rtlCol="0" fromWordArt="0" anchor="ctr" anchorCtr="0" forceAA="0" compatLnSpc="1">
              <a:spAutoFit/>
            </a:bodyPr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b="0" dirty="0">
                <a:solidFill>
                  <a:srgbClr val="FFFFFF"/>
                </a:solidFill>
              </a:endParaRPr>
            </a:p>
          </p:txBody>
        </p:sp>
        <p:sp>
          <p:nvSpPr>
            <p:cNvPr id="1045" name="Oval 131"/>
            <p:cNvSpPr/>
            <p:nvPr/>
          </p:nvSpPr>
          <p:spPr>
            <a:xfrm>
              <a:off x="2601517" y="2647223"/>
              <a:ext cx="37651" cy="616394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2870" rIns="102870" bIns="102870" numCol="1" spcCol="0" rtlCol="0" fromWordArt="0" anchor="ctr" anchorCtr="0" forceAA="0" compatLnSpc="1">
              <a:spAutoFit/>
            </a:bodyPr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b="0" dirty="0">
                <a:solidFill>
                  <a:srgbClr val="FFFFFF"/>
                </a:solidFill>
              </a:endParaRPr>
            </a:p>
          </p:txBody>
        </p:sp>
        <p:sp>
          <p:nvSpPr>
            <p:cNvPr id="1046" name="Oval 132"/>
            <p:cNvSpPr/>
            <p:nvPr/>
          </p:nvSpPr>
          <p:spPr>
            <a:xfrm>
              <a:off x="2681172" y="2647223"/>
              <a:ext cx="37651" cy="616394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2870" rIns="102870" bIns="102870" numCol="1" spcCol="0" rtlCol="0" fromWordArt="0" anchor="ctr" anchorCtr="0" forceAA="0" compatLnSpc="1">
              <a:spAutoFit/>
            </a:bodyPr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b="0" dirty="0">
                <a:solidFill>
                  <a:srgbClr val="FFFFFF"/>
                </a:solidFill>
              </a:endParaRPr>
            </a:p>
          </p:txBody>
        </p:sp>
        <p:sp>
          <p:nvSpPr>
            <p:cNvPr id="1047" name="Oval 133"/>
            <p:cNvSpPr/>
            <p:nvPr/>
          </p:nvSpPr>
          <p:spPr>
            <a:xfrm>
              <a:off x="2760827" y="2647223"/>
              <a:ext cx="37651" cy="616394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2870" rIns="102870" bIns="102870" numCol="1" spcCol="0" rtlCol="0" fromWordArt="0" anchor="ctr" anchorCtr="0" forceAA="0" compatLnSpc="1">
              <a:spAutoFit/>
            </a:bodyPr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b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20" name="TextBox 63"/>
          <p:cNvSpPr txBox="1"/>
          <p:nvPr/>
        </p:nvSpPr>
        <p:spPr>
          <a:xfrm>
            <a:off x="2440305" y="3588544"/>
            <a:ext cx="569595" cy="281305"/>
          </a:xfrm>
          <a:prstGeom prst="rect">
            <a:avLst/>
          </a:prstGeom>
          <a:noFill/>
        </p:spPr>
        <p:txBody>
          <a:bodyPr wrap="square" lIns="51434" tIns="25716" rIns="51434" bIns="25716" rtlCol="0">
            <a:spAutoFit/>
          </a:bodyPr>
          <a:p>
            <a:pPr marL="0" lvl="1" indent="0">
              <a:lnSpc>
                <a:spcPts val="1800"/>
              </a:lnSpc>
              <a:buFont typeface="Wingdings" panose="05000000000000000000" pitchFamily="2" charset="2"/>
              <a:buNone/>
            </a:pPr>
            <a:r>
              <a:rPr lang="zh-CN" altLang="en-US" sz="900" dirty="0"/>
              <a:t>云网关</a:t>
            </a:r>
            <a:endParaRPr lang="zh-CN" altLang="en-US" sz="900" dirty="0"/>
          </a:p>
        </p:txBody>
      </p:sp>
      <p:cxnSp>
        <p:nvCxnSpPr>
          <p:cNvPr id="23" name="直接连接符 22"/>
          <p:cNvCxnSpPr/>
          <p:nvPr/>
        </p:nvCxnSpPr>
        <p:spPr>
          <a:xfrm flipV="1">
            <a:off x="2797969" y="3099435"/>
            <a:ext cx="842963" cy="2967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直接连接符 2"/>
          <p:cNvCxnSpPr/>
          <p:nvPr/>
        </p:nvCxnSpPr>
        <p:spPr>
          <a:xfrm flipV="1">
            <a:off x="2692718" y="3811905"/>
            <a:ext cx="11906" cy="2171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文本框 3"/>
          <p:cNvSpPr txBox="1"/>
          <p:nvPr/>
        </p:nvSpPr>
        <p:spPr>
          <a:xfrm>
            <a:off x="292100" y="3985260"/>
            <a:ext cx="367030" cy="701040"/>
          </a:xfrm>
          <a:prstGeom prst="rect">
            <a:avLst/>
          </a:prstGeom>
          <a:noFill/>
        </p:spPr>
        <p:txBody>
          <a:bodyPr vert="eaVert" wrap="none" rtlCol="0">
            <a:spAutoFit/>
            <a:scene3d>
              <a:camera prst="orthographicFront"/>
              <a:lightRig rig="threePt" dir="t"/>
            </a:scene3d>
          </a:bodyPr>
          <a:p>
            <a:r>
              <a:rPr lang="zh-CN" altLang="en-US" sz="120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汽车生产</a:t>
            </a:r>
            <a:endParaRPr lang="zh-CN" altLang="en-US" sz="120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12616" y="3985260"/>
            <a:ext cx="367030" cy="701040"/>
          </a:xfrm>
          <a:prstGeom prst="rect">
            <a:avLst/>
          </a:prstGeom>
          <a:noFill/>
        </p:spPr>
        <p:txBody>
          <a:bodyPr vert="eaVert" wrap="none" rtlCol="0">
            <a:spAutoFit/>
            <a:scene3d>
              <a:camera prst="orthographicFront"/>
              <a:lightRig rig="threePt" dir="t"/>
            </a:scene3d>
          </a:bodyPr>
          <a:p>
            <a:r>
              <a:rPr lang="zh-CN" altLang="en-US" sz="120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轨道客车</a:t>
            </a:r>
            <a:endParaRPr lang="zh-CN" altLang="en-US" sz="120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48373" y="3985260"/>
            <a:ext cx="367030" cy="701040"/>
          </a:xfrm>
          <a:prstGeom prst="rect">
            <a:avLst/>
          </a:prstGeom>
          <a:noFill/>
        </p:spPr>
        <p:txBody>
          <a:bodyPr vert="eaVert" wrap="none" rtlCol="0">
            <a:spAutoFit/>
            <a:scene3d>
              <a:camera prst="orthographicFront"/>
              <a:lightRig rig="threePt" dir="t"/>
            </a:scene3d>
          </a:bodyPr>
          <a:p>
            <a:r>
              <a:rPr lang="zh-CN" altLang="en-US" sz="120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家用电器</a:t>
            </a:r>
            <a:endParaRPr lang="zh-CN" altLang="en-US" sz="120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284129" y="3985260"/>
            <a:ext cx="367030" cy="701040"/>
          </a:xfrm>
          <a:prstGeom prst="rect">
            <a:avLst/>
          </a:prstGeom>
          <a:noFill/>
        </p:spPr>
        <p:txBody>
          <a:bodyPr vert="eaVert" wrap="none" rtlCol="0">
            <a:spAutoFit/>
            <a:scene3d>
              <a:camera prst="orthographicFront"/>
              <a:lightRig rig="threePt" dir="t"/>
            </a:scene3d>
          </a:bodyPr>
          <a:p>
            <a:r>
              <a:rPr lang="zh-CN" altLang="en-US" sz="120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电子制造</a:t>
            </a:r>
            <a:endParaRPr lang="zh-CN" altLang="en-US" sz="120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6132354" y="3811905"/>
            <a:ext cx="367030" cy="1005840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p>
            <a:r>
              <a:rPr lang="zh-CN" altLang="en-US" sz="1200">
                <a:solidFill>
                  <a:schemeClr val="accent2">
                    <a:lumMod val="60000"/>
                    <a:lumOff val="40000"/>
                  </a:schemeClr>
                </a:solidFill>
              </a:rPr>
              <a:t>机加工机器人</a:t>
            </a:r>
            <a:endParaRPr lang="zh-CN" altLang="en-US" sz="120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6452870" y="3811905"/>
            <a:ext cx="367030" cy="1005840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p>
            <a:r>
              <a:rPr lang="zh-CN" altLang="en-US" sz="1200">
                <a:solidFill>
                  <a:schemeClr val="accent2">
                    <a:lumMod val="60000"/>
                    <a:lumOff val="40000"/>
                  </a:schemeClr>
                </a:solidFill>
              </a:rPr>
              <a:t>打磨类机器人</a:t>
            </a:r>
            <a:endParaRPr lang="zh-CN" altLang="en-US" sz="120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6788626" y="3811905"/>
            <a:ext cx="367030" cy="1005840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p>
            <a:r>
              <a:rPr lang="zh-CN" altLang="en-US" sz="1200">
                <a:solidFill>
                  <a:schemeClr val="accent2">
                    <a:lumMod val="60000"/>
                    <a:lumOff val="40000"/>
                  </a:schemeClr>
                </a:solidFill>
              </a:rPr>
              <a:t>码垛类机器人</a:t>
            </a:r>
            <a:endParaRPr lang="zh-CN" altLang="en-US" sz="120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7124383" y="3811905"/>
            <a:ext cx="367030" cy="1005840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p>
            <a:r>
              <a:rPr lang="zh-CN" altLang="en-US" sz="1200">
                <a:solidFill>
                  <a:schemeClr val="accent2">
                    <a:lumMod val="60000"/>
                    <a:lumOff val="40000"/>
                  </a:schemeClr>
                </a:solidFill>
              </a:rPr>
              <a:t>装配类机器人</a:t>
            </a:r>
            <a:endParaRPr lang="zh-CN" altLang="en-US" sz="120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7" name="矩形: 圆角 114"/>
          <p:cNvSpPr/>
          <p:nvPr/>
        </p:nvSpPr>
        <p:spPr>
          <a:xfrm>
            <a:off x="58579" y="3811905"/>
            <a:ext cx="1838801" cy="1120616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1350"/>
          </a:p>
        </p:txBody>
      </p:sp>
      <p:sp>
        <p:nvSpPr>
          <p:cNvPr id="12" name="矩形: 圆角 114"/>
          <p:cNvSpPr/>
          <p:nvPr/>
        </p:nvSpPr>
        <p:spPr>
          <a:xfrm>
            <a:off x="5942648" y="3811905"/>
            <a:ext cx="1838801" cy="1120616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1200"/>
          </a:p>
        </p:txBody>
      </p:sp>
      <p:sp>
        <p:nvSpPr>
          <p:cNvPr id="13" name="TextBox 188"/>
          <p:cNvSpPr txBox="1">
            <a:spLocks noChangeArrowheads="1"/>
          </p:cNvSpPr>
          <p:nvPr/>
        </p:nvSpPr>
        <p:spPr bwMode="auto">
          <a:xfrm>
            <a:off x="263843" y="3459639"/>
            <a:ext cx="1282700" cy="27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0" tIns="45705" rIns="91410" bIns="45705">
            <a:spAutoFit/>
            <a:scene3d>
              <a:camera prst="orthographicFront"/>
              <a:lightRig rig="threePt" dir="t"/>
            </a:scene3d>
          </a:bodyPr>
          <a:lstStyle>
            <a:lvl1pPr marL="34925" indent="-34925" defTabSz="911225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911225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911225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911225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911225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b="1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广泛行业</a:t>
            </a:r>
            <a:endParaRPr lang="zh-CN" altLang="en-US" b="1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TextBox 188"/>
          <p:cNvSpPr txBox="1">
            <a:spLocks noChangeArrowheads="1"/>
          </p:cNvSpPr>
          <p:nvPr/>
        </p:nvSpPr>
        <p:spPr bwMode="auto">
          <a:xfrm>
            <a:off x="6026944" y="3490119"/>
            <a:ext cx="1282700" cy="27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0" tIns="45705" rIns="91410" bIns="45705">
            <a:spAutoFit/>
            <a:scene3d>
              <a:camera prst="orthographicFront"/>
              <a:lightRig rig="threePt" dir="t"/>
            </a:scene3d>
          </a:bodyPr>
          <a:lstStyle>
            <a:lvl1pPr marL="34925" indent="-34925" defTabSz="911225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911225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911225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911225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911225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zh-CN" altLang="en-US" b="1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各类工艺</a:t>
            </a:r>
            <a:endParaRPr lang="zh-CN" altLang="en-US" b="1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6950" y="4012883"/>
            <a:ext cx="814388" cy="73961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483168" y="1704499"/>
            <a:ext cx="481965" cy="437674"/>
          </a:xfrm>
          <a:prstGeom prst="rect">
            <a:avLst/>
          </a:prstGeom>
        </p:spPr>
      </p:pic>
      <p:sp>
        <p:nvSpPr>
          <p:cNvPr id="82" name="文本框 47"/>
          <p:cNvSpPr txBox="1"/>
          <p:nvPr/>
        </p:nvSpPr>
        <p:spPr>
          <a:xfrm>
            <a:off x="148319" y="441364"/>
            <a:ext cx="8657015" cy="1082675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者模式：</a:t>
            </a:r>
            <a:r>
              <a:rPr lang="zh-CN" altLang="en-US" sz="16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依据真实仿真数据开发</a:t>
            </a:r>
            <a:r>
              <a:rPr lang="en-US" altLang="zh-CN" sz="16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6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直接部署平台；</a:t>
            </a:r>
            <a:endParaRPr lang="en-US" altLang="zh-CN" sz="16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3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仿真数据开发：  用户依据现场真实设备，产线数据实现开发，部署；</a:t>
            </a:r>
            <a:endParaRPr lang="en-US" altLang="zh-CN" sz="13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3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应用：  通过海尔云网关，可直接切换到真实设备数据，付费后供客户使用。</a:t>
            </a:r>
            <a:endParaRPr lang="zh-CN" altLang="en-US" sz="13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6" name="文本框 5"/>
          <p:cNvSpPr txBox="1"/>
          <p:nvPr/>
        </p:nvSpPr>
        <p:spPr>
          <a:xfrm>
            <a:off x="-154495" y="3004491"/>
            <a:ext cx="979342" cy="274320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者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7" name="直接箭头连接符 96"/>
          <p:cNvCxnSpPr/>
          <p:nvPr/>
        </p:nvCxnSpPr>
        <p:spPr>
          <a:xfrm flipV="1">
            <a:off x="587932" y="2780751"/>
            <a:ext cx="381730" cy="3347"/>
          </a:xfrm>
          <a:prstGeom prst="straightConnector1">
            <a:avLst/>
          </a:prstGeom>
          <a:noFill/>
          <a:ln w="22225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98" name="直接箭头连接符 97"/>
          <p:cNvCxnSpPr/>
          <p:nvPr/>
        </p:nvCxnSpPr>
        <p:spPr>
          <a:xfrm flipV="1">
            <a:off x="1812761" y="2780751"/>
            <a:ext cx="381730" cy="3347"/>
          </a:xfrm>
          <a:prstGeom prst="straightConnector1">
            <a:avLst/>
          </a:prstGeom>
          <a:noFill/>
          <a:ln w="22225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9" name="文本框 15"/>
          <p:cNvSpPr txBox="1"/>
          <p:nvPr/>
        </p:nvSpPr>
        <p:spPr>
          <a:xfrm>
            <a:off x="720251" y="3010499"/>
            <a:ext cx="1474240" cy="459105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机器人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服务调用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0" name="图片 9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3644" y="2424113"/>
            <a:ext cx="540544" cy="615315"/>
          </a:xfrm>
          <a:prstGeom prst="rect">
            <a:avLst/>
          </a:prstGeom>
        </p:spPr>
      </p:pic>
      <p:pic>
        <p:nvPicPr>
          <p:cNvPr id="104" name="图片 10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6239" y="2462769"/>
            <a:ext cx="669561" cy="541818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106" name="文本框 15"/>
          <p:cNvSpPr txBox="1"/>
          <p:nvPr/>
        </p:nvSpPr>
        <p:spPr>
          <a:xfrm>
            <a:off x="1812608" y="3039428"/>
            <a:ext cx="1977390" cy="1451610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形成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buFont typeface="Wingdings" panose="05000000000000000000" charset="0"/>
              <a:buChar char="Ø"/>
            </a:pPr>
            <a:r>
              <a:rPr lang="zh-CN" altLang="en-US" sz="105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打磨机器人效率评估</a:t>
            </a:r>
            <a:r>
              <a:rPr lang="en-US" altLang="zh-CN" sz="105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endParaRPr lang="en-US" altLang="zh-CN" sz="105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buFont typeface="Wingdings" panose="05000000000000000000" charset="0"/>
              <a:buChar char="Ø"/>
            </a:pPr>
            <a:endParaRPr lang="zh-CN" altLang="en-US" sz="105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buFont typeface="Wingdings" panose="05000000000000000000" charset="0"/>
              <a:buChar char="Ø"/>
            </a:pPr>
            <a:r>
              <a:rPr lang="zh-CN" altLang="en-US" sz="105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打磨机器人维护保养</a:t>
            </a:r>
            <a:r>
              <a:rPr lang="en-US" altLang="zh-CN" sz="105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endParaRPr lang="en-US" altLang="zh-CN" sz="105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buFont typeface="Wingdings" panose="05000000000000000000" charset="0"/>
              <a:buChar char="Ø"/>
            </a:pPr>
            <a:endParaRPr lang="en-US" altLang="zh-CN" sz="105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buFont typeface="Wingdings" panose="05000000000000000000" charset="0"/>
              <a:buChar char="Ø"/>
            </a:pPr>
            <a:r>
              <a:rPr lang="zh-CN" altLang="en-US" sz="105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汽车行业喷漆机器人</a:t>
            </a:r>
            <a:r>
              <a:rPr lang="en-US" altLang="zh-CN" sz="105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7" name="直接箭头连接符 106"/>
          <p:cNvCxnSpPr/>
          <p:nvPr/>
        </p:nvCxnSpPr>
        <p:spPr>
          <a:xfrm flipV="1">
            <a:off x="3339358" y="2784349"/>
            <a:ext cx="950425" cy="0"/>
          </a:xfrm>
          <a:prstGeom prst="straightConnector1">
            <a:avLst/>
          </a:prstGeom>
          <a:noFill/>
          <a:ln w="22225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110" name="Picture 2" descr="C:\Users\wangzhh\Desktop\企业云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2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963103" y="1718310"/>
            <a:ext cx="606266" cy="492443"/>
          </a:xfrm>
          <a:prstGeom prst="rect">
            <a:avLst/>
          </a:prstGeom>
          <a:noFill/>
        </p:spPr>
      </p:pic>
      <p:pic>
        <p:nvPicPr>
          <p:cNvPr id="111" name="图片 1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57486" y="3114675"/>
            <a:ext cx="585311" cy="574834"/>
          </a:xfrm>
          <a:prstGeom prst="rect">
            <a:avLst/>
          </a:prstGeom>
        </p:spPr>
      </p:pic>
      <p:sp>
        <p:nvSpPr>
          <p:cNvPr id="41" name="标题 1"/>
          <p:cNvSpPr txBox="1"/>
          <p:nvPr/>
        </p:nvSpPr>
        <p:spPr>
          <a:xfrm>
            <a:off x="106676" y="31625"/>
            <a:ext cx="6005993" cy="430887"/>
          </a:xfrm>
          <a:prstGeom prst="rect">
            <a:avLst/>
          </a:prstGeom>
        </p:spPr>
        <p:txBody>
          <a:bodyPr lIns="91404" tIns="45702" rIns="91404" bIns="45702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5pPr>
            <a:lvl6pPr marL="38862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6pPr>
            <a:lvl7pPr marL="776605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7pPr>
            <a:lvl8pPr marL="1165225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8pPr>
            <a:lvl9pPr marL="1553845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995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海尔机器人云服务体系</a:t>
            </a:r>
            <a:endParaRPr lang="zh-CN" altLang="en-US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00000"/>
              </a:lnSpc>
            </a:pP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" name="肘形连接符 3"/>
          <p:cNvCxnSpPr>
            <a:stCxn id="104" idx="0"/>
            <a:endCxn id="110" idx="1"/>
          </p:cNvCxnSpPr>
          <p:nvPr/>
        </p:nvCxnSpPr>
        <p:spPr>
          <a:xfrm rot="16200000">
            <a:off x="1428036" y="1927622"/>
            <a:ext cx="498158" cy="571976"/>
          </a:xfrm>
          <a:prstGeom prst="bentConnector2">
            <a:avLst/>
          </a:prstGeom>
          <a:noFill/>
          <a:ln w="22225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" name="文本框 15"/>
          <p:cNvSpPr txBox="1"/>
          <p:nvPr/>
        </p:nvSpPr>
        <p:spPr>
          <a:xfrm>
            <a:off x="6113306" y="3768689"/>
            <a:ext cx="1474240" cy="459105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部客户海尔云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拟数据试用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3" name="Picture 27" descr="男博士图标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" y="2549843"/>
            <a:ext cx="392430" cy="392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文本框 15"/>
          <p:cNvSpPr txBox="1"/>
          <p:nvPr/>
        </p:nvSpPr>
        <p:spPr>
          <a:xfrm>
            <a:off x="1490824" y="2100386"/>
            <a:ext cx="1474240" cy="274320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仿真数据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7" name="Picture 2" descr="C:\Users\wangzhh\Desktop\企业云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2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4438539" y="2237889"/>
            <a:ext cx="843291" cy="685176"/>
          </a:xfrm>
          <a:prstGeom prst="rect">
            <a:avLst/>
          </a:prstGeom>
          <a:noFill/>
        </p:spPr>
      </p:pic>
      <p:sp>
        <p:nvSpPr>
          <p:cNvPr id="18" name="文本框 15"/>
          <p:cNvSpPr txBox="1"/>
          <p:nvPr/>
        </p:nvSpPr>
        <p:spPr>
          <a:xfrm>
            <a:off x="4075909" y="3010499"/>
            <a:ext cx="1474240" cy="459105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署应用市场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定价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80286" y="2210882"/>
            <a:ext cx="339650" cy="442441"/>
          </a:xfrm>
          <a:prstGeom prst="rect">
            <a:avLst/>
          </a:prstGeom>
        </p:spPr>
      </p:pic>
      <p:sp>
        <p:nvSpPr>
          <p:cNvPr id="20" name="文本框 15"/>
          <p:cNvSpPr txBox="1"/>
          <p:nvPr/>
        </p:nvSpPr>
        <p:spPr>
          <a:xfrm>
            <a:off x="6113145" y="1641158"/>
            <a:ext cx="1613059" cy="459105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部客户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切换设备，直接使用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1" name="直接箭头连接符 20"/>
          <p:cNvCxnSpPr/>
          <p:nvPr/>
        </p:nvCxnSpPr>
        <p:spPr>
          <a:xfrm>
            <a:off x="7337749" y="2375558"/>
            <a:ext cx="537429" cy="0"/>
          </a:xfrm>
          <a:prstGeom prst="straightConnector1">
            <a:avLst/>
          </a:prstGeom>
          <a:noFill/>
          <a:ln w="22225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" name="肘形连接符 21"/>
          <p:cNvCxnSpPr>
            <a:endCxn id="111" idx="1"/>
          </p:cNvCxnSpPr>
          <p:nvPr/>
        </p:nvCxnSpPr>
        <p:spPr>
          <a:xfrm>
            <a:off x="5287328" y="2714625"/>
            <a:ext cx="1270159" cy="687705"/>
          </a:xfrm>
          <a:prstGeom prst="bentConnector3">
            <a:avLst>
              <a:gd name="adj1" fmla="val 50019"/>
            </a:avLst>
          </a:prstGeom>
          <a:noFill/>
          <a:ln w="22225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3" name="肘形连接符 22"/>
          <p:cNvCxnSpPr>
            <a:endCxn id="19" idx="1"/>
          </p:cNvCxnSpPr>
          <p:nvPr/>
        </p:nvCxnSpPr>
        <p:spPr>
          <a:xfrm flipV="1">
            <a:off x="5178743" y="2432209"/>
            <a:ext cx="1501616" cy="282416"/>
          </a:xfrm>
          <a:prstGeom prst="bentConnector3">
            <a:avLst>
              <a:gd name="adj1" fmla="val 50016"/>
            </a:avLst>
          </a:prstGeom>
          <a:noFill/>
          <a:ln w="22225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24" name="图片 2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874794" y="1986439"/>
            <a:ext cx="786765" cy="714375"/>
          </a:xfrm>
          <a:prstGeom prst="rect">
            <a:avLst/>
          </a:prstGeom>
        </p:spPr>
      </p:pic>
      <p:grpSp>
        <p:nvGrpSpPr>
          <p:cNvPr id="25" name="Group 128"/>
          <p:cNvGrpSpPr/>
          <p:nvPr/>
        </p:nvGrpSpPr>
        <p:grpSpPr>
          <a:xfrm>
            <a:off x="7425024" y="2337261"/>
            <a:ext cx="312725" cy="465515"/>
            <a:chOff x="2457907" y="2642930"/>
            <a:chExt cx="416967" cy="620687"/>
          </a:xfrm>
        </p:grpSpPr>
        <p:sp>
          <p:nvSpPr>
            <p:cNvPr id="26" name="Rounded Rectangle 129"/>
            <p:cNvSpPr/>
            <p:nvPr/>
          </p:nvSpPr>
          <p:spPr>
            <a:xfrm>
              <a:off x="2457907" y="2642930"/>
              <a:ext cx="416967" cy="617507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2870" rIns="102870" bIns="102870" numCol="1" spcCol="0" rtlCol="0" fromWordArt="0" anchor="ctr" anchorCtr="0" forceAA="0" compatLnSpc="1">
              <a:spAutoFit/>
            </a:bodyPr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b="0" dirty="0">
                <a:solidFill>
                  <a:srgbClr val="FFFFFF"/>
                </a:solidFill>
              </a:endParaRPr>
            </a:p>
          </p:txBody>
        </p:sp>
        <p:sp>
          <p:nvSpPr>
            <p:cNvPr id="27" name="Oval 130"/>
            <p:cNvSpPr/>
            <p:nvPr/>
          </p:nvSpPr>
          <p:spPr>
            <a:xfrm>
              <a:off x="2521862" y="2647223"/>
              <a:ext cx="37651" cy="616394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2870" rIns="102870" bIns="102870" numCol="1" spcCol="0" rtlCol="0" fromWordArt="0" anchor="ctr" anchorCtr="0" forceAA="0" compatLnSpc="1">
              <a:spAutoFit/>
            </a:bodyPr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b="0" dirty="0">
                <a:solidFill>
                  <a:srgbClr val="FFFFFF"/>
                </a:solidFill>
              </a:endParaRPr>
            </a:p>
          </p:txBody>
        </p:sp>
        <p:sp>
          <p:nvSpPr>
            <p:cNvPr id="28" name="Oval 131"/>
            <p:cNvSpPr/>
            <p:nvPr/>
          </p:nvSpPr>
          <p:spPr>
            <a:xfrm>
              <a:off x="2601517" y="2647223"/>
              <a:ext cx="37651" cy="616394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2870" rIns="102870" bIns="102870" numCol="1" spcCol="0" rtlCol="0" fromWordArt="0" anchor="ctr" anchorCtr="0" forceAA="0" compatLnSpc="1">
              <a:spAutoFit/>
            </a:bodyPr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b="0" dirty="0">
                <a:solidFill>
                  <a:srgbClr val="FFFFFF"/>
                </a:solidFill>
              </a:endParaRPr>
            </a:p>
          </p:txBody>
        </p:sp>
        <p:sp>
          <p:nvSpPr>
            <p:cNvPr id="29" name="Oval 132"/>
            <p:cNvSpPr/>
            <p:nvPr/>
          </p:nvSpPr>
          <p:spPr>
            <a:xfrm>
              <a:off x="2681172" y="2647223"/>
              <a:ext cx="37651" cy="616394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2870" rIns="102870" bIns="102870" numCol="1" spcCol="0" rtlCol="0" fromWordArt="0" anchor="ctr" anchorCtr="0" forceAA="0" compatLnSpc="1">
              <a:spAutoFit/>
            </a:bodyPr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b="0" dirty="0">
                <a:solidFill>
                  <a:srgbClr val="FFFFFF"/>
                </a:solidFill>
              </a:endParaRPr>
            </a:p>
          </p:txBody>
        </p:sp>
        <p:sp>
          <p:nvSpPr>
            <p:cNvPr id="30" name="Oval 133"/>
            <p:cNvSpPr/>
            <p:nvPr/>
          </p:nvSpPr>
          <p:spPr>
            <a:xfrm>
              <a:off x="2760827" y="2647223"/>
              <a:ext cx="37651" cy="616394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2870" rIns="102870" bIns="102870" numCol="1" spcCol="0" rtlCol="0" fromWordArt="0" anchor="ctr" anchorCtr="0" forceAA="0" compatLnSpc="1">
              <a:spAutoFit/>
            </a:bodyPr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b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31" name="文本框 15"/>
          <p:cNvSpPr txBox="1"/>
          <p:nvPr/>
        </p:nvSpPr>
        <p:spPr>
          <a:xfrm>
            <a:off x="7254406" y="2678275"/>
            <a:ext cx="1111051" cy="243840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海尔云网关</a:t>
            </a:r>
            <a:endParaRPr lang="zh-CN" alt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右大括号 31"/>
          <p:cNvSpPr/>
          <p:nvPr/>
        </p:nvSpPr>
        <p:spPr>
          <a:xfrm rot="5400000">
            <a:off x="6506051" y="2758440"/>
            <a:ext cx="274796" cy="34437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p>
            <a:pPr algn="ctr"/>
            <a:endParaRPr lang="zh-CN" altLang="en-US" sz="1350"/>
          </a:p>
        </p:txBody>
      </p:sp>
      <p:sp>
        <p:nvSpPr>
          <p:cNvPr id="33" name="文本框 15"/>
          <p:cNvSpPr txBox="1"/>
          <p:nvPr/>
        </p:nvSpPr>
        <p:spPr>
          <a:xfrm>
            <a:off x="5906614" y="4617843"/>
            <a:ext cx="1474240" cy="274320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 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周期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圆角矩形 33"/>
          <p:cNvSpPr/>
          <p:nvPr/>
        </p:nvSpPr>
        <p:spPr>
          <a:xfrm>
            <a:off x="970121" y="1625918"/>
            <a:ext cx="2933700" cy="2991803"/>
          </a:xfrm>
          <a:prstGeom prst="roundRect">
            <a:avLst/>
          </a:prstGeom>
          <a:solidFill>
            <a:schemeClr val="accent1">
              <a:lumMod val="40000"/>
              <a:lumOff val="60000"/>
              <a:alpha val="2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1350"/>
          </a:p>
        </p:txBody>
      </p:sp>
      <p:sp>
        <p:nvSpPr>
          <p:cNvPr id="35" name="文本框 15"/>
          <p:cNvSpPr txBox="1"/>
          <p:nvPr/>
        </p:nvSpPr>
        <p:spPr>
          <a:xfrm>
            <a:off x="1630365" y="4343047"/>
            <a:ext cx="1474240" cy="274320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海尔云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6" name="直接箭头连接符 35"/>
          <p:cNvCxnSpPr/>
          <p:nvPr/>
        </p:nvCxnSpPr>
        <p:spPr>
          <a:xfrm>
            <a:off x="7313936" y="3401876"/>
            <a:ext cx="537429" cy="0"/>
          </a:xfrm>
          <a:prstGeom prst="straightConnector1">
            <a:avLst/>
          </a:prstGeom>
          <a:noFill/>
          <a:ln w="22225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2" name="矩形 171"/>
          <p:cNvSpPr/>
          <p:nvPr/>
        </p:nvSpPr>
        <p:spPr>
          <a:xfrm>
            <a:off x="7937660" y="3325893"/>
            <a:ext cx="660797" cy="15240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rgbClr val="215483"/>
            </a:solidFill>
            <a:prstDash val="solid"/>
          </a:ln>
          <a:effectLst/>
        </p:spPr>
        <p:txBody>
          <a:bodyPr lIns="51418" tIns="25710" rIns="51418" bIns="25710" anchor="ctr"/>
          <a:p>
            <a:pPr algn="ctr" defTabSz="911225">
              <a:defRPr/>
            </a:pPr>
            <a:r>
              <a:rPr lang="zh-CN" altLang="en-US" sz="825" b="1" kern="0" dirty="0">
                <a:solidFill>
                  <a:srgbClr val="21548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购买流程</a:t>
            </a:r>
            <a:endParaRPr lang="zh-CN" altLang="en-US" sz="825" b="1" kern="0" dirty="0">
              <a:solidFill>
                <a:srgbClr val="21548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文本框 47"/>
          <p:cNvSpPr txBox="1"/>
          <p:nvPr/>
        </p:nvSpPr>
        <p:spPr>
          <a:xfrm>
            <a:off x="148319" y="441364"/>
            <a:ext cx="8657015" cy="1082675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购买：</a:t>
            </a:r>
            <a:r>
              <a:rPr lang="zh-CN" altLang="en-US" sz="16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无需关注机器人品牌，即插即用 云端使用</a:t>
            </a:r>
            <a:r>
              <a:rPr lang="en-US" altLang="zh-CN" sz="16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 </a:t>
            </a:r>
            <a:r>
              <a:rPr lang="zh-CN" altLang="en-US" sz="16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6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周期即可完成</a:t>
            </a:r>
            <a:endParaRPr lang="en-US" altLang="zh-CN" sz="16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3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即插即用： 用户选择平台</a:t>
            </a:r>
            <a:r>
              <a:rPr lang="en-US" altLang="zh-CN" sz="13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3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购买海尔云网关，插上现场机器人（多个），即可使用；</a:t>
            </a:r>
            <a:endParaRPr lang="en-US" altLang="zh-CN" sz="13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3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端服务： 无需现场调试，组网建设等，直接通过海尔云端，实现</a:t>
            </a:r>
            <a:r>
              <a:rPr lang="en-US" altLang="zh-CN" sz="13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35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功能。</a:t>
            </a:r>
            <a:endParaRPr lang="zh-CN" altLang="en-US" sz="135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6" name="文本框 5"/>
          <p:cNvSpPr txBox="1"/>
          <p:nvPr/>
        </p:nvSpPr>
        <p:spPr>
          <a:xfrm>
            <a:off x="-154495" y="3004491"/>
            <a:ext cx="979342" cy="274320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7" name="直接箭头连接符 96"/>
          <p:cNvCxnSpPr/>
          <p:nvPr/>
        </p:nvCxnSpPr>
        <p:spPr>
          <a:xfrm flipV="1">
            <a:off x="587932" y="2780751"/>
            <a:ext cx="381730" cy="3347"/>
          </a:xfrm>
          <a:prstGeom prst="straightConnector1">
            <a:avLst/>
          </a:prstGeom>
          <a:noFill/>
          <a:ln w="22225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98" name="直接箭头连接符 97"/>
          <p:cNvCxnSpPr/>
          <p:nvPr/>
        </p:nvCxnSpPr>
        <p:spPr>
          <a:xfrm flipV="1">
            <a:off x="1812761" y="2780751"/>
            <a:ext cx="381730" cy="3347"/>
          </a:xfrm>
          <a:prstGeom prst="straightConnector1">
            <a:avLst/>
          </a:prstGeom>
          <a:noFill/>
          <a:ln w="22225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9" name="文本框 15"/>
          <p:cNvSpPr txBox="1"/>
          <p:nvPr/>
        </p:nvSpPr>
        <p:spPr>
          <a:xfrm>
            <a:off x="720251" y="3010499"/>
            <a:ext cx="1474240" cy="459105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海尔机器人云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拟试用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0" name="图片 9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09657" y="2393489"/>
            <a:ext cx="372879" cy="424311"/>
          </a:xfrm>
          <a:prstGeom prst="rect">
            <a:avLst/>
          </a:prstGeom>
        </p:spPr>
      </p:pic>
      <p:sp>
        <p:nvSpPr>
          <p:cNvPr id="102" name="文本框 15"/>
          <p:cNvSpPr txBox="1"/>
          <p:nvPr/>
        </p:nvSpPr>
        <p:spPr>
          <a:xfrm>
            <a:off x="3572041" y="1907227"/>
            <a:ext cx="1111051" cy="243840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购买海尔云网关</a:t>
            </a:r>
            <a:endParaRPr lang="zh-CN" alt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3" name="图片 10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901" y="2470322"/>
            <a:ext cx="452867" cy="589921"/>
          </a:xfrm>
          <a:prstGeom prst="rect">
            <a:avLst/>
          </a:prstGeom>
        </p:spPr>
      </p:pic>
      <p:pic>
        <p:nvPicPr>
          <p:cNvPr id="104" name="图片 10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7844" y="2400380"/>
            <a:ext cx="669561" cy="541818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105" name="Picture 2" descr="C:\Users\wangzhh\Desktop\企业云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2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2644657" y="2493102"/>
            <a:ext cx="843291" cy="685176"/>
          </a:xfrm>
          <a:prstGeom prst="rect">
            <a:avLst/>
          </a:prstGeom>
          <a:noFill/>
        </p:spPr>
      </p:pic>
      <p:sp>
        <p:nvSpPr>
          <p:cNvPr id="106" name="文本框 15"/>
          <p:cNvSpPr txBox="1"/>
          <p:nvPr/>
        </p:nvSpPr>
        <p:spPr>
          <a:xfrm>
            <a:off x="2255996" y="3039428"/>
            <a:ext cx="1977390" cy="1451610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选择应用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buFont typeface="Wingdings" panose="05000000000000000000" charset="0"/>
              <a:buChar char="Ø"/>
            </a:pPr>
            <a:r>
              <a:rPr lang="zh-CN" altLang="en-US" sz="105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打磨机器人效率评估</a:t>
            </a:r>
            <a:r>
              <a:rPr lang="en-US" altLang="zh-CN" sz="105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endParaRPr lang="en-US" altLang="zh-CN" sz="105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buFont typeface="Wingdings" panose="05000000000000000000" charset="0"/>
              <a:buChar char="Ø"/>
            </a:pPr>
            <a:endParaRPr lang="zh-CN" altLang="en-US" sz="105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buFont typeface="Wingdings" panose="05000000000000000000" charset="0"/>
              <a:buChar char="Ø"/>
            </a:pPr>
            <a:r>
              <a:rPr lang="zh-CN" altLang="en-US" sz="105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打磨机器人维护保养</a:t>
            </a:r>
            <a:r>
              <a:rPr lang="en-US" altLang="zh-CN" sz="105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endParaRPr lang="en-US" altLang="zh-CN" sz="105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buFont typeface="Wingdings" panose="05000000000000000000" charset="0"/>
              <a:buChar char="Ø"/>
            </a:pPr>
            <a:endParaRPr lang="en-US" altLang="zh-CN" sz="105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buFont typeface="Wingdings" panose="05000000000000000000" charset="0"/>
              <a:buChar char="Ø"/>
            </a:pPr>
            <a:r>
              <a:rPr lang="zh-CN" altLang="en-US" sz="105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汽车行业喷漆机器人</a:t>
            </a:r>
            <a:r>
              <a:rPr lang="en-US" altLang="zh-CN" sz="105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7" name="直接箭头连接符 106"/>
          <p:cNvCxnSpPr/>
          <p:nvPr/>
        </p:nvCxnSpPr>
        <p:spPr>
          <a:xfrm flipV="1">
            <a:off x="3487948" y="2704815"/>
            <a:ext cx="950425" cy="0"/>
          </a:xfrm>
          <a:prstGeom prst="straightConnector1">
            <a:avLst/>
          </a:prstGeom>
          <a:noFill/>
          <a:ln w="22225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110" name="Picture 2" descr="C:\Users\wangzhh\Desktop\企业云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2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943340" y="2375049"/>
            <a:ext cx="843291" cy="685176"/>
          </a:xfrm>
          <a:prstGeom prst="rect">
            <a:avLst/>
          </a:prstGeom>
          <a:noFill/>
        </p:spPr>
      </p:pic>
      <p:pic>
        <p:nvPicPr>
          <p:cNvPr id="111" name="图片 1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12541" y="2236460"/>
            <a:ext cx="979729" cy="962393"/>
          </a:xfrm>
          <a:prstGeom prst="rect">
            <a:avLst/>
          </a:prstGeom>
        </p:spPr>
      </p:pic>
      <p:cxnSp>
        <p:nvCxnSpPr>
          <p:cNvPr id="112" name="直接箭头连接符 111"/>
          <p:cNvCxnSpPr/>
          <p:nvPr/>
        </p:nvCxnSpPr>
        <p:spPr>
          <a:xfrm>
            <a:off x="5530856" y="2668451"/>
            <a:ext cx="537429" cy="0"/>
          </a:xfrm>
          <a:prstGeom prst="straightConnector1">
            <a:avLst/>
          </a:prstGeom>
          <a:noFill/>
          <a:ln w="22225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3" name="文本框 71"/>
          <p:cNvSpPr txBox="1"/>
          <p:nvPr/>
        </p:nvSpPr>
        <p:spPr>
          <a:xfrm>
            <a:off x="7763147" y="3308681"/>
            <a:ext cx="1469126" cy="459105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付费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4" name="图片 12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73411" y="2227879"/>
            <a:ext cx="593214" cy="589921"/>
          </a:xfrm>
          <a:prstGeom prst="rect">
            <a:avLst/>
          </a:prstGeom>
        </p:spPr>
      </p:pic>
      <p:cxnSp>
        <p:nvCxnSpPr>
          <p:cNvPr id="125" name="直接箭头连接符 124"/>
          <p:cNvCxnSpPr/>
          <p:nvPr/>
        </p:nvCxnSpPr>
        <p:spPr>
          <a:xfrm>
            <a:off x="7437622" y="2623698"/>
            <a:ext cx="537429" cy="0"/>
          </a:xfrm>
          <a:prstGeom prst="straightConnector1">
            <a:avLst/>
          </a:prstGeom>
          <a:noFill/>
          <a:ln w="22225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6" name="肘形连接符 125"/>
          <p:cNvCxnSpPr>
            <a:stCxn id="104" idx="0"/>
          </p:cNvCxnSpPr>
          <p:nvPr/>
        </p:nvCxnSpPr>
        <p:spPr>
          <a:xfrm rot="16200000">
            <a:off x="3118009" y="1498283"/>
            <a:ext cx="576739" cy="1207770"/>
          </a:xfrm>
          <a:prstGeom prst="bentConnector2">
            <a:avLst/>
          </a:prstGeom>
          <a:noFill/>
          <a:ln w="22225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1" name="标题 1"/>
          <p:cNvSpPr txBox="1"/>
          <p:nvPr/>
        </p:nvSpPr>
        <p:spPr>
          <a:xfrm>
            <a:off x="106676" y="31625"/>
            <a:ext cx="6005993" cy="430887"/>
          </a:xfrm>
          <a:prstGeom prst="rect">
            <a:avLst/>
          </a:prstGeom>
        </p:spPr>
        <p:txBody>
          <a:bodyPr lIns="91404" tIns="45702" rIns="91404" bIns="45702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5pPr>
            <a:lvl6pPr marL="38862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6pPr>
            <a:lvl7pPr marL="776605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7pPr>
            <a:lvl8pPr marL="1165225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8pPr>
            <a:lvl9pPr marL="1553845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>
                <a:solidFill>
                  <a:schemeClr val="tx1"/>
                </a:solidFill>
                <a:latin typeface="Calibri Light" panose="020F030202020403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995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海尔机器人云服务体系</a:t>
            </a:r>
            <a:endParaRPr lang="zh-CN" altLang="en-US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00000"/>
              </a:lnSpc>
            </a:pP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042" name="Group 128"/>
          <p:cNvGrpSpPr/>
          <p:nvPr/>
        </p:nvGrpSpPr>
        <p:grpSpPr>
          <a:xfrm>
            <a:off x="4065557" y="1575261"/>
            <a:ext cx="312725" cy="465515"/>
            <a:chOff x="2457907" y="2642930"/>
            <a:chExt cx="416967" cy="620687"/>
          </a:xfrm>
        </p:grpSpPr>
        <p:sp>
          <p:nvSpPr>
            <p:cNvPr id="1043" name="Rounded Rectangle 129"/>
            <p:cNvSpPr/>
            <p:nvPr/>
          </p:nvSpPr>
          <p:spPr>
            <a:xfrm>
              <a:off x="2457907" y="2642930"/>
              <a:ext cx="416967" cy="617507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2870" rIns="102870" bIns="102870" numCol="1" spcCol="0" rtlCol="0" fromWordArt="0" anchor="ctr" anchorCtr="0" forceAA="0" compatLnSpc="1">
              <a:spAutoFit/>
            </a:bodyPr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b="0" dirty="0">
                <a:solidFill>
                  <a:srgbClr val="FFFFFF"/>
                </a:solidFill>
              </a:endParaRPr>
            </a:p>
          </p:txBody>
        </p:sp>
        <p:sp>
          <p:nvSpPr>
            <p:cNvPr id="1044" name="Oval 130"/>
            <p:cNvSpPr/>
            <p:nvPr/>
          </p:nvSpPr>
          <p:spPr>
            <a:xfrm>
              <a:off x="2521862" y="2647223"/>
              <a:ext cx="37651" cy="616394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2870" rIns="102870" bIns="102870" numCol="1" spcCol="0" rtlCol="0" fromWordArt="0" anchor="ctr" anchorCtr="0" forceAA="0" compatLnSpc="1">
              <a:spAutoFit/>
            </a:bodyPr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b="0" dirty="0">
                <a:solidFill>
                  <a:srgbClr val="FFFFFF"/>
                </a:solidFill>
              </a:endParaRPr>
            </a:p>
          </p:txBody>
        </p:sp>
        <p:sp>
          <p:nvSpPr>
            <p:cNvPr id="1045" name="Oval 131"/>
            <p:cNvSpPr/>
            <p:nvPr/>
          </p:nvSpPr>
          <p:spPr>
            <a:xfrm>
              <a:off x="2601517" y="2647223"/>
              <a:ext cx="37651" cy="616394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2870" rIns="102870" bIns="102870" numCol="1" spcCol="0" rtlCol="0" fromWordArt="0" anchor="ctr" anchorCtr="0" forceAA="0" compatLnSpc="1">
              <a:spAutoFit/>
            </a:bodyPr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b="0" dirty="0">
                <a:solidFill>
                  <a:srgbClr val="FFFFFF"/>
                </a:solidFill>
              </a:endParaRPr>
            </a:p>
          </p:txBody>
        </p:sp>
        <p:sp>
          <p:nvSpPr>
            <p:cNvPr id="1046" name="Oval 132"/>
            <p:cNvSpPr/>
            <p:nvPr/>
          </p:nvSpPr>
          <p:spPr>
            <a:xfrm>
              <a:off x="2681172" y="2647223"/>
              <a:ext cx="37651" cy="616394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2870" rIns="102870" bIns="102870" numCol="1" spcCol="0" rtlCol="0" fromWordArt="0" anchor="ctr" anchorCtr="0" forceAA="0" compatLnSpc="1">
              <a:spAutoFit/>
            </a:bodyPr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b="0" dirty="0">
                <a:solidFill>
                  <a:srgbClr val="FFFFFF"/>
                </a:solidFill>
              </a:endParaRPr>
            </a:p>
          </p:txBody>
        </p:sp>
        <p:sp>
          <p:nvSpPr>
            <p:cNvPr id="1047" name="Oval 133"/>
            <p:cNvSpPr/>
            <p:nvPr/>
          </p:nvSpPr>
          <p:spPr>
            <a:xfrm>
              <a:off x="2760827" y="2647223"/>
              <a:ext cx="37651" cy="616394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2870" rIns="102870" bIns="102870" numCol="1" spcCol="0" rtlCol="0" fromWordArt="0" anchor="ctr" anchorCtr="0" forceAA="0" compatLnSpc="1">
              <a:spAutoFit/>
            </a:bodyPr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b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3" name="文本框 15"/>
          <p:cNvSpPr txBox="1"/>
          <p:nvPr/>
        </p:nvSpPr>
        <p:spPr>
          <a:xfrm>
            <a:off x="4438816" y="3750314"/>
            <a:ext cx="1111051" cy="243840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即插即用</a:t>
            </a:r>
            <a:endParaRPr lang="zh-CN" alt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" name="肘形连接符 3"/>
          <p:cNvCxnSpPr>
            <a:endCxn id="16" idx="0"/>
          </p:cNvCxnSpPr>
          <p:nvPr/>
        </p:nvCxnSpPr>
        <p:spPr>
          <a:xfrm rot="5400000" flipV="1">
            <a:off x="4418648" y="1830229"/>
            <a:ext cx="604838" cy="532448"/>
          </a:xfrm>
          <a:prstGeom prst="bentConnector3">
            <a:avLst>
              <a:gd name="adj1" fmla="val -551"/>
            </a:avLst>
          </a:prstGeom>
          <a:noFill/>
          <a:ln w="22225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" name="文本框 15"/>
          <p:cNvSpPr txBox="1"/>
          <p:nvPr/>
        </p:nvSpPr>
        <p:spPr>
          <a:xfrm>
            <a:off x="5963764" y="3265293"/>
            <a:ext cx="1474240" cy="459105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海尔云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远程使用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右大括号 1"/>
          <p:cNvSpPr/>
          <p:nvPr/>
        </p:nvSpPr>
        <p:spPr>
          <a:xfrm rot="5400000">
            <a:off x="4169569" y="859631"/>
            <a:ext cx="274796" cy="724090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p>
            <a:pPr algn="ctr"/>
            <a:endParaRPr lang="zh-CN" altLang="en-US" sz="1350"/>
          </a:p>
        </p:txBody>
      </p:sp>
      <p:sp>
        <p:nvSpPr>
          <p:cNvPr id="8" name="文本框 15"/>
          <p:cNvSpPr txBox="1"/>
          <p:nvPr/>
        </p:nvSpPr>
        <p:spPr>
          <a:xfrm>
            <a:off x="3652523" y="4618319"/>
            <a:ext cx="1474240" cy="274320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 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周期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82966" y="2375059"/>
            <a:ext cx="814388" cy="739616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82966" y="2942273"/>
            <a:ext cx="814388" cy="739616"/>
          </a:xfrm>
          <a:prstGeom prst="rect">
            <a:avLst/>
          </a:prstGeom>
        </p:spPr>
      </p:pic>
      <p:sp>
        <p:nvSpPr>
          <p:cNvPr id="10" name="文本框 15"/>
          <p:cNvSpPr txBox="1"/>
          <p:nvPr/>
        </p:nvSpPr>
        <p:spPr>
          <a:xfrm>
            <a:off x="6113311" y="3724597"/>
            <a:ext cx="1111051" cy="397510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ctr">
              <a:buFont typeface="Wingdings" panose="05000000000000000000" charset="0"/>
              <a:buChar char="Ø"/>
            </a:pPr>
            <a:r>
              <a:rPr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站端</a:t>
            </a:r>
            <a:endParaRPr lang="zh-CN" alt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ctr">
              <a:buFont typeface="Wingdings" panose="05000000000000000000" charset="0"/>
              <a:buChar char="Ø"/>
            </a:pPr>
            <a:r>
              <a:rPr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手机端</a:t>
            </a:r>
            <a:endParaRPr lang="zh-CN" altLang="en-US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7"/>
          <p:cNvSpPr txBox="1"/>
          <p:nvPr/>
        </p:nvSpPr>
        <p:spPr>
          <a:xfrm>
            <a:off x="1793" y="62359"/>
            <a:ext cx="9109101" cy="349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58011" bIns="0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47053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94107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141160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188214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l" defTabSz="796925"/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普通开发者</a:t>
            </a:r>
            <a:endParaRPr lang="zh-CN" altLang="en-US" sz="2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 flipV="1">
            <a:off x="481965" y="63309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/>
          <p:cNvSpPr/>
          <p:nvPr/>
        </p:nvSpPr>
        <p:spPr>
          <a:xfrm>
            <a:off x="249555" y="633095"/>
            <a:ext cx="2085340" cy="427799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4" name="矩形 23"/>
          <p:cNvSpPr/>
          <p:nvPr/>
        </p:nvSpPr>
        <p:spPr>
          <a:xfrm>
            <a:off x="267335" y="381444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平台模型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241300" y="817245"/>
            <a:ext cx="2049780" cy="2921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开发模板导入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275590" y="4175760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我的设备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275590" y="4565015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我的产线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cxnSp>
        <p:nvCxnSpPr>
          <p:cNvPr id="2" name="直接连接符 1"/>
          <p:cNvCxnSpPr/>
          <p:nvPr/>
        </p:nvCxnSpPr>
        <p:spPr>
          <a:xfrm flipV="1">
            <a:off x="688340" y="491045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圆角矩形 3"/>
          <p:cNvSpPr/>
          <p:nvPr/>
        </p:nvSpPr>
        <p:spPr>
          <a:xfrm>
            <a:off x="2386330" y="633730"/>
            <a:ext cx="6395085" cy="360045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2456815" y="676275"/>
            <a:ext cx="638175" cy="27495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具栏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六边形 6"/>
          <p:cNvSpPr/>
          <p:nvPr/>
        </p:nvSpPr>
        <p:spPr>
          <a:xfrm>
            <a:off x="3094990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模型属性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8" name="六边形 7"/>
          <p:cNvSpPr/>
          <p:nvPr/>
        </p:nvSpPr>
        <p:spPr>
          <a:xfrm>
            <a:off x="3993515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图像库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9" name="六边形 8"/>
          <p:cNvSpPr/>
          <p:nvPr/>
        </p:nvSpPr>
        <p:spPr>
          <a:xfrm>
            <a:off x="4881880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列表组件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11" name="六边形 10"/>
          <p:cNvSpPr/>
          <p:nvPr/>
        </p:nvSpPr>
        <p:spPr>
          <a:xfrm>
            <a:off x="5790565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图像组件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12" name="六边形 11"/>
          <p:cNvSpPr/>
          <p:nvPr/>
        </p:nvSpPr>
        <p:spPr>
          <a:xfrm>
            <a:off x="6688455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监测点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13" name="六边形 12"/>
          <p:cNvSpPr/>
          <p:nvPr/>
        </p:nvSpPr>
        <p:spPr>
          <a:xfrm>
            <a:off x="7592695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。。。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2334895" y="4551045"/>
            <a:ext cx="6395085" cy="360045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2385060" y="4593590"/>
            <a:ext cx="638175" cy="27495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对象类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2980055" y="4580255"/>
            <a:ext cx="7620" cy="2952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图片 1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539365" y="1424305"/>
            <a:ext cx="1241425" cy="920750"/>
          </a:xfrm>
          <a:prstGeom prst="rect">
            <a:avLst/>
          </a:prstGeom>
        </p:spPr>
      </p:pic>
      <p:sp>
        <p:nvSpPr>
          <p:cNvPr id="101" name="TextBox 63"/>
          <p:cNvSpPr txBox="1"/>
          <p:nvPr/>
        </p:nvSpPr>
        <p:spPr>
          <a:xfrm>
            <a:off x="2539365" y="2507615"/>
            <a:ext cx="1241425" cy="297815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p>
            <a:pPr marL="0" lvl="1" indent="0">
              <a:lnSpc>
                <a:spcPts val="1800"/>
              </a:lnSpc>
              <a:buFont typeface="Wingdings" panose="05000000000000000000" pitchFamily="2" charset="2"/>
              <a:buNone/>
            </a:pPr>
            <a:r>
              <a:rPr lang="zh-CN" altLang="en-US" sz="1200" dirty="0"/>
              <a:t>水务监控模板</a:t>
            </a:r>
            <a:endParaRPr lang="zh-CN" altLang="en-US" sz="1200" dirty="0"/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9245" y="1424305"/>
            <a:ext cx="1340485" cy="873760"/>
          </a:xfrm>
          <a:prstGeom prst="rect">
            <a:avLst/>
          </a:prstGeom>
        </p:spPr>
      </p:pic>
      <p:sp>
        <p:nvSpPr>
          <p:cNvPr id="21" name="TextBox 63"/>
          <p:cNvSpPr txBox="1"/>
          <p:nvPr/>
        </p:nvSpPr>
        <p:spPr>
          <a:xfrm>
            <a:off x="4218305" y="2512060"/>
            <a:ext cx="1241425" cy="297815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p>
            <a:pPr marL="0" lvl="1" indent="0">
              <a:lnSpc>
                <a:spcPts val="1800"/>
              </a:lnSpc>
              <a:buFont typeface="Wingdings" panose="05000000000000000000" pitchFamily="2" charset="2"/>
              <a:buNone/>
            </a:pPr>
            <a:r>
              <a:rPr lang="zh-CN" altLang="en-US" sz="1200" dirty="0"/>
              <a:t>电力监控模板</a:t>
            </a:r>
            <a:endParaRPr lang="zh-CN" altLang="en-US" sz="1200" dirty="0"/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0565" y="1434465"/>
            <a:ext cx="1229995" cy="863600"/>
          </a:xfrm>
          <a:prstGeom prst="rect">
            <a:avLst/>
          </a:prstGeom>
        </p:spPr>
      </p:pic>
      <p:sp>
        <p:nvSpPr>
          <p:cNvPr id="25" name="TextBox 63"/>
          <p:cNvSpPr txBox="1"/>
          <p:nvPr/>
        </p:nvSpPr>
        <p:spPr>
          <a:xfrm>
            <a:off x="5790565" y="2507615"/>
            <a:ext cx="1241425" cy="297815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p>
            <a:pPr marL="0" lvl="1" indent="0">
              <a:lnSpc>
                <a:spcPts val="1800"/>
              </a:lnSpc>
              <a:buFont typeface="Wingdings" panose="05000000000000000000" pitchFamily="2" charset="2"/>
              <a:buNone/>
            </a:pPr>
            <a:r>
              <a:rPr lang="zh-CN" altLang="en-US" sz="1200" dirty="0"/>
              <a:t>售电监控模板</a:t>
            </a:r>
            <a:endParaRPr lang="zh-CN" altLang="en-US" sz="1200" dirty="0"/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9365" y="2928620"/>
            <a:ext cx="1241425" cy="878840"/>
          </a:xfrm>
          <a:prstGeom prst="rect">
            <a:avLst/>
          </a:prstGeom>
        </p:spPr>
      </p:pic>
      <p:sp>
        <p:nvSpPr>
          <p:cNvPr id="28" name="TextBox 63"/>
          <p:cNvSpPr txBox="1"/>
          <p:nvPr/>
        </p:nvSpPr>
        <p:spPr>
          <a:xfrm>
            <a:off x="2539365" y="3938905"/>
            <a:ext cx="1241425" cy="528955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p>
            <a:pPr marL="0" lvl="1" indent="0">
              <a:lnSpc>
                <a:spcPts val="1800"/>
              </a:lnSpc>
              <a:buFont typeface="Wingdings" panose="05000000000000000000" pitchFamily="2" charset="2"/>
              <a:buNone/>
            </a:pPr>
            <a:r>
              <a:rPr lang="zh-CN" altLang="en-US" sz="1200" dirty="0"/>
              <a:t>锅炉风烟监控</a:t>
            </a:r>
            <a:endParaRPr lang="zh-CN" altLang="en-US" sz="1200" dirty="0"/>
          </a:p>
          <a:p>
            <a:pPr marL="0" lvl="1" indent="0">
              <a:lnSpc>
                <a:spcPts val="1800"/>
              </a:lnSpc>
              <a:buFont typeface="Wingdings" panose="05000000000000000000" pitchFamily="2" charset="2"/>
              <a:buNone/>
            </a:pPr>
            <a:r>
              <a:rPr lang="zh-CN" altLang="en-US" sz="1200" dirty="0"/>
              <a:t>模板</a:t>
            </a:r>
            <a:endParaRPr lang="zh-CN" altLang="en-US" sz="1200" dirty="0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09415" y="2928620"/>
            <a:ext cx="1159510" cy="822960"/>
          </a:xfrm>
          <a:prstGeom prst="rect">
            <a:avLst/>
          </a:prstGeom>
        </p:spPr>
      </p:pic>
      <p:sp>
        <p:nvSpPr>
          <p:cNvPr id="32" name="TextBox 63"/>
          <p:cNvSpPr txBox="1"/>
          <p:nvPr/>
        </p:nvSpPr>
        <p:spPr>
          <a:xfrm>
            <a:off x="4119245" y="3919220"/>
            <a:ext cx="1241425" cy="528955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p>
            <a:pPr marL="0" lvl="1" indent="0">
              <a:lnSpc>
                <a:spcPts val="1800"/>
              </a:lnSpc>
              <a:buFont typeface="Wingdings" panose="05000000000000000000" pitchFamily="2" charset="2"/>
              <a:buNone/>
            </a:pPr>
            <a:r>
              <a:rPr lang="zh-CN" altLang="en-US" sz="1200" dirty="0"/>
              <a:t>机器人能耗分析</a:t>
            </a:r>
            <a:endParaRPr lang="zh-CN" altLang="en-US" sz="1200" dirty="0"/>
          </a:p>
          <a:p>
            <a:pPr marL="0" lvl="1" indent="0">
              <a:lnSpc>
                <a:spcPts val="1800"/>
              </a:lnSpc>
              <a:buFont typeface="Wingdings" panose="05000000000000000000" pitchFamily="2" charset="2"/>
              <a:buNone/>
            </a:pPr>
            <a:r>
              <a:rPr lang="zh-CN" altLang="en-US" sz="1200" dirty="0"/>
              <a:t>模板</a:t>
            </a:r>
            <a:endParaRPr lang="zh-CN" altLang="en-US" sz="1200" dirty="0"/>
          </a:p>
        </p:txBody>
      </p:sp>
      <p:sp>
        <p:nvSpPr>
          <p:cNvPr id="33" name="圆角矩形 32"/>
          <p:cNvSpPr/>
          <p:nvPr/>
        </p:nvSpPr>
        <p:spPr>
          <a:xfrm>
            <a:off x="312420" y="1184910"/>
            <a:ext cx="1879600" cy="253047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grpSp>
        <p:nvGrpSpPr>
          <p:cNvPr id="41" name="组合 40"/>
          <p:cNvGrpSpPr/>
          <p:nvPr/>
        </p:nvGrpSpPr>
        <p:grpSpPr>
          <a:xfrm>
            <a:off x="523875" y="1236980"/>
            <a:ext cx="1456690" cy="1239520"/>
            <a:chOff x="847" y="3389"/>
            <a:chExt cx="2294" cy="1952"/>
          </a:xfrm>
        </p:grpSpPr>
        <p:sp>
          <p:nvSpPr>
            <p:cNvPr id="35" name="文本框 34"/>
            <p:cNvSpPr txBox="1"/>
            <p:nvPr/>
          </p:nvSpPr>
          <p:spPr>
            <a:xfrm>
              <a:off x="847" y="3389"/>
              <a:ext cx="2295" cy="1952"/>
            </a:xfrm>
            <a:prstGeom prst="rect">
              <a:avLst/>
            </a:prstGeom>
            <a:noFill/>
          </p:spPr>
          <p:txBody>
            <a:bodyPr wrap="none" rtlCol="0" anchor="ctr" anchorCtr="1">
              <a:noAutofit/>
            </a:bodyPr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通用模板</a:t>
              </a: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   行业应用</a:t>
              </a: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   设备监控</a:t>
              </a: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        电力设备   </a:t>
              </a: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36" name="直接连接符 35"/>
            <p:cNvCxnSpPr/>
            <p:nvPr/>
          </p:nvCxnSpPr>
          <p:spPr>
            <a:xfrm flipH="1">
              <a:off x="1406" y="3912"/>
              <a:ext cx="1" cy="65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直接连接符 36"/>
            <p:cNvCxnSpPr/>
            <p:nvPr/>
          </p:nvCxnSpPr>
          <p:spPr>
            <a:xfrm>
              <a:off x="1406" y="4109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接连接符 37"/>
            <p:cNvCxnSpPr/>
            <p:nvPr/>
          </p:nvCxnSpPr>
          <p:spPr>
            <a:xfrm flipH="1">
              <a:off x="1743" y="4690"/>
              <a:ext cx="1" cy="65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直接连接符 38"/>
            <p:cNvCxnSpPr/>
            <p:nvPr/>
          </p:nvCxnSpPr>
          <p:spPr>
            <a:xfrm>
              <a:off x="1744" y="5016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连接符 39"/>
            <p:cNvCxnSpPr/>
            <p:nvPr/>
          </p:nvCxnSpPr>
          <p:spPr>
            <a:xfrm>
              <a:off x="1744" y="5341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接连接符 41"/>
            <p:cNvCxnSpPr/>
            <p:nvPr/>
          </p:nvCxnSpPr>
          <p:spPr>
            <a:xfrm>
              <a:off x="1406" y="4563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7"/>
          <p:cNvSpPr txBox="1"/>
          <p:nvPr/>
        </p:nvSpPr>
        <p:spPr>
          <a:xfrm>
            <a:off x="1793" y="62359"/>
            <a:ext cx="9109101" cy="349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58011" bIns="0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47053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94107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1411605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1882140" algn="ctr" rtl="0" fontAlgn="base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l" defTabSz="796925"/>
            <a:r>
              <a:rPr lang="en-US" altLang="zh-CN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sz="20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普通开发者</a:t>
            </a:r>
            <a:endParaRPr lang="zh-CN" altLang="en-US" sz="20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 flipV="1">
            <a:off x="481965" y="63309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/>
          <p:cNvSpPr/>
          <p:nvPr/>
        </p:nvSpPr>
        <p:spPr>
          <a:xfrm>
            <a:off x="249555" y="633095"/>
            <a:ext cx="2085340" cy="427799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24" name="矩形 23"/>
          <p:cNvSpPr/>
          <p:nvPr/>
        </p:nvSpPr>
        <p:spPr>
          <a:xfrm>
            <a:off x="241300" y="1228725"/>
            <a:ext cx="2049780" cy="2921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平台模型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241300" y="817245"/>
            <a:ext cx="2049780" cy="2921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开发模板导入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285115" y="4227830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我的设备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cxnSp>
        <p:nvCxnSpPr>
          <p:cNvPr id="2" name="直接连接符 1"/>
          <p:cNvCxnSpPr/>
          <p:nvPr/>
        </p:nvCxnSpPr>
        <p:spPr>
          <a:xfrm flipV="1">
            <a:off x="688340" y="4910455"/>
            <a:ext cx="7736840" cy="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圆角矩形 3"/>
          <p:cNvSpPr/>
          <p:nvPr/>
        </p:nvSpPr>
        <p:spPr>
          <a:xfrm>
            <a:off x="2386330" y="633730"/>
            <a:ext cx="6395085" cy="360045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2456815" y="676275"/>
            <a:ext cx="638175" cy="27495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具栏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六边形 6"/>
          <p:cNvSpPr/>
          <p:nvPr/>
        </p:nvSpPr>
        <p:spPr>
          <a:xfrm>
            <a:off x="3094990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模型属性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8" name="六边形 7"/>
          <p:cNvSpPr/>
          <p:nvPr/>
        </p:nvSpPr>
        <p:spPr>
          <a:xfrm>
            <a:off x="3993515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图像库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9" name="六边形 8"/>
          <p:cNvSpPr/>
          <p:nvPr/>
        </p:nvSpPr>
        <p:spPr>
          <a:xfrm>
            <a:off x="4881880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列表组件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11" name="六边形 10"/>
          <p:cNvSpPr/>
          <p:nvPr/>
        </p:nvSpPr>
        <p:spPr>
          <a:xfrm>
            <a:off x="5790565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图像组件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12" name="六边形 11"/>
          <p:cNvSpPr/>
          <p:nvPr/>
        </p:nvSpPr>
        <p:spPr>
          <a:xfrm>
            <a:off x="6688455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监测点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13" name="六边形 12"/>
          <p:cNvSpPr/>
          <p:nvPr/>
        </p:nvSpPr>
        <p:spPr>
          <a:xfrm>
            <a:off x="7592695" y="690245"/>
            <a:ext cx="832485" cy="247015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。。。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2334895" y="4551045"/>
            <a:ext cx="6395085" cy="360045"/>
          </a:xfrm>
          <a:prstGeom prst="roundRect">
            <a:avLst/>
          </a:prstGeom>
          <a:solidFill>
            <a:schemeClr val="bg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2385060" y="4593590"/>
            <a:ext cx="638175" cy="27495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对象类</a:t>
            </a:r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2980055" y="4580255"/>
            <a:ext cx="7620" cy="2952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圆角矩形 16"/>
          <p:cNvSpPr/>
          <p:nvPr/>
        </p:nvSpPr>
        <p:spPr>
          <a:xfrm>
            <a:off x="321945" y="1599565"/>
            <a:ext cx="1879600" cy="253047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grpSp>
        <p:nvGrpSpPr>
          <p:cNvPr id="41" name="组合 40"/>
          <p:cNvGrpSpPr/>
          <p:nvPr/>
        </p:nvGrpSpPr>
        <p:grpSpPr>
          <a:xfrm>
            <a:off x="533400" y="1651635"/>
            <a:ext cx="1456690" cy="1239520"/>
            <a:chOff x="847" y="3389"/>
            <a:chExt cx="2294" cy="1952"/>
          </a:xfrm>
        </p:grpSpPr>
        <p:sp>
          <p:nvSpPr>
            <p:cNvPr id="18" name="文本框 17"/>
            <p:cNvSpPr txBox="1"/>
            <p:nvPr/>
          </p:nvSpPr>
          <p:spPr>
            <a:xfrm>
              <a:off x="847" y="3389"/>
              <a:ext cx="2295" cy="1952"/>
            </a:xfrm>
            <a:prstGeom prst="rect">
              <a:avLst/>
            </a:prstGeom>
            <a:noFill/>
          </p:spPr>
          <p:txBody>
            <a:bodyPr wrap="none" rtlCol="0" anchor="ctr" anchorCtr="1">
              <a:noAutofit/>
            </a:bodyPr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通用设备</a:t>
              </a: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   注塑机</a:t>
              </a: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   机器人</a:t>
              </a: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indent="0" algn="l">
                <a:buFont typeface="Wingdings" panose="05000000000000000000" charset="0"/>
                <a:buNone/>
              </a:pPr>
              <a:r>
                <a:rPr lang="zh-CN" altLang="en-US" sz="9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          现代机器人</a:t>
              </a:r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26" name="直接连接符 25"/>
            <p:cNvCxnSpPr/>
            <p:nvPr/>
          </p:nvCxnSpPr>
          <p:spPr>
            <a:xfrm flipH="1">
              <a:off x="1406" y="3912"/>
              <a:ext cx="1" cy="65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/>
            <p:cNvCxnSpPr/>
            <p:nvPr/>
          </p:nvCxnSpPr>
          <p:spPr>
            <a:xfrm>
              <a:off x="1406" y="4109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直接连接符 36"/>
            <p:cNvCxnSpPr/>
            <p:nvPr/>
          </p:nvCxnSpPr>
          <p:spPr>
            <a:xfrm flipH="1">
              <a:off x="1743" y="4690"/>
              <a:ext cx="1" cy="65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接连接符 37"/>
            <p:cNvCxnSpPr/>
            <p:nvPr/>
          </p:nvCxnSpPr>
          <p:spPr>
            <a:xfrm>
              <a:off x="1744" y="5016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直接连接符 38"/>
            <p:cNvCxnSpPr/>
            <p:nvPr/>
          </p:nvCxnSpPr>
          <p:spPr>
            <a:xfrm>
              <a:off x="1744" y="5341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连接符 39"/>
            <p:cNvCxnSpPr/>
            <p:nvPr/>
          </p:nvCxnSpPr>
          <p:spPr>
            <a:xfrm>
              <a:off x="1406" y="4563"/>
              <a:ext cx="22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剪去同侧角的矩形 41"/>
          <p:cNvSpPr/>
          <p:nvPr/>
        </p:nvSpPr>
        <p:spPr>
          <a:xfrm>
            <a:off x="3257550" y="4519930"/>
            <a:ext cx="669925" cy="340995"/>
          </a:xfrm>
          <a:prstGeom prst="snip2Same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机器人模型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285115" y="4583430"/>
            <a:ext cx="2049780" cy="292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20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我的产线</a:t>
            </a:r>
            <a:endParaRPr lang="zh-CN" altLang="en-US" sz="120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pic>
        <p:nvPicPr>
          <p:cNvPr id="45" name="图片 4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987675" y="1225550"/>
            <a:ext cx="4948555" cy="3093085"/>
          </a:xfrm>
          <a:prstGeom prst="rect">
            <a:avLst/>
          </a:prstGeom>
        </p:spPr>
      </p:pic>
      <p:sp>
        <p:nvSpPr>
          <p:cNvPr id="46" name="剪去同侧角的矩形 45"/>
          <p:cNvSpPr/>
          <p:nvPr/>
        </p:nvSpPr>
        <p:spPr>
          <a:xfrm>
            <a:off x="5469255" y="4527550"/>
            <a:ext cx="778510" cy="340995"/>
          </a:xfrm>
          <a:prstGeom prst="snip2Same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现代机器人模型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49" name="椭圆形标注 48"/>
          <p:cNvSpPr/>
          <p:nvPr/>
        </p:nvSpPr>
        <p:spPr>
          <a:xfrm>
            <a:off x="4241165" y="3841115"/>
            <a:ext cx="914400" cy="611505"/>
          </a:xfrm>
          <a:prstGeom prst="wedgeEllipseCallout">
            <a:avLst>
              <a:gd name="adj1" fmla="val -86666"/>
              <a:gd name="adj2" fmla="val 60903"/>
            </a:avLst>
          </a:prstGeom>
          <a:noFill/>
          <a:ln w="28575" cmpd="thickThin">
            <a:solidFill>
              <a:schemeClr val="accent1">
                <a:shade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适合所有机器人设备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50" name="椭圆形标注 49"/>
          <p:cNvSpPr/>
          <p:nvPr/>
        </p:nvSpPr>
        <p:spPr>
          <a:xfrm>
            <a:off x="6606540" y="3821430"/>
            <a:ext cx="914400" cy="611505"/>
          </a:xfrm>
          <a:prstGeom prst="wedgeEllipseCallout">
            <a:avLst>
              <a:gd name="adj1" fmla="val -86666"/>
              <a:gd name="adj2" fmla="val 60903"/>
            </a:avLst>
          </a:prstGeom>
          <a:noFill/>
          <a:ln w="28575" cmpd="thickThin">
            <a:solidFill>
              <a:schemeClr val="accent1">
                <a:shade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适合所有现代机器人设备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51" name="剪去同侧角的矩形 50"/>
          <p:cNvSpPr/>
          <p:nvPr/>
        </p:nvSpPr>
        <p:spPr>
          <a:xfrm>
            <a:off x="7266305" y="4527550"/>
            <a:ext cx="669925" cy="340995"/>
          </a:xfrm>
          <a:prstGeom prst="snip2Same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注塑机模型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52" name="椭圆形标注 51"/>
          <p:cNvSpPr/>
          <p:nvPr/>
        </p:nvSpPr>
        <p:spPr>
          <a:xfrm>
            <a:off x="8196580" y="3841115"/>
            <a:ext cx="914400" cy="611505"/>
          </a:xfrm>
          <a:prstGeom prst="wedgeEllipseCallout">
            <a:avLst>
              <a:gd name="adj1" fmla="val -86666"/>
              <a:gd name="adj2" fmla="val 60903"/>
            </a:avLst>
          </a:prstGeom>
          <a:noFill/>
          <a:ln w="28575" cmpd="thickThin">
            <a:solidFill>
              <a:schemeClr val="accent1">
                <a:shade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>
                <a:solidFill>
                  <a:schemeClr val="tx1"/>
                </a:solidFill>
              </a:rPr>
              <a:t>多种类型设备组合编程</a:t>
            </a:r>
            <a:endParaRPr lang="zh-CN" altLang="en-US" sz="900">
              <a:solidFill>
                <a:schemeClr val="tx1"/>
              </a:solidFill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1377315" y="2743200"/>
            <a:ext cx="613410" cy="296545"/>
          </a:xfrm>
          <a:prstGeom prst="rect">
            <a:avLst/>
          </a:prstGeom>
          <a:noFill/>
        </p:spPr>
        <p:txBody>
          <a:bodyPr wrap="none" rtlCol="0" anchor="ctr" anchorCtr="1">
            <a:noAutofit/>
          </a:bodyPr>
          <a:p>
            <a:pPr algn="ctr"/>
            <a:r>
              <a:rPr lang="en-US" altLang="zh-CN" sz="9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BB</a:t>
            </a:r>
            <a:r>
              <a: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机器人</a:t>
            </a:r>
            <a:endParaRPr lang="zh-CN" altLang="en-US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tx1">
              <a:lumMod val="75000"/>
              <a:lumOff val="25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 anchor="ctr" anchorCtr="1">
        <a:noAutofit/>
      </a:bodyPr>
      <a:lstStyle>
        <a:defPPr algn="ctr">
          <a:defRPr sz="1600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412</Words>
  <Application>WPS 演示</Application>
  <PresentationFormat>全屏显示(16:9)</PresentationFormat>
  <Paragraphs>883</Paragraphs>
  <Slides>22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38" baseType="lpstr">
      <vt:lpstr>Arial</vt:lpstr>
      <vt:lpstr>宋体</vt:lpstr>
      <vt:lpstr>Wingdings</vt:lpstr>
      <vt:lpstr>微软雅黑</vt:lpstr>
      <vt:lpstr>Verdana</vt:lpstr>
      <vt:lpstr>华文细黑</vt:lpstr>
      <vt:lpstr>Arial Narrow</vt:lpstr>
      <vt:lpstr>Calibri</vt:lpstr>
      <vt:lpstr>仿宋_GB2312</vt:lpstr>
      <vt:lpstr>Wingdings</vt:lpstr>
      <vt:lpstr>Arial Unicode MS</vt:lpstr>
      <vt:lpstr>仿宋</vt:lpstr>
      <vt:lpstr>微软雅黑 Light</vt:lpstr>
      <vt:lpstr>Calibri Light</vt:lpstr>
      <vt:lpstr>2_Office 主题​​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海尔集团COSMO-IM技术方案设计项目汇报</dc:title>
  <dc:creator>田志争;Windows 用户</dc:creator>
  <cp:keywords>tianzhzh@haier.com</cp:keywords>
  <cp:category>COSMO-IM</cp:category>
  <cp:lastModifiedBy>马骏</cp:lastModifiedBy>
  <cp:revision>845</cp:revision>
  <cp:lastPrinted>2016-05-23T01:13:00Z</cp:lastPrinted>
  <dcterms:created xsi:type="dcterms:W3CDTF">2016-04-01T03:09:00Z</dcterms:created>
  <dcterms:modified xsi:type="dcterms:W3CDTF">2018-07-02T08:04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400</vt:lpwstr>
  </property>
</Properties>
</file>